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5.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6.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7.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8.xml" ContentType="application/vnd.openxmlformats-officedocument.theme+xml"/>
  <Override PartName="/ppt/tags/tag22.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2.xml" ContentType="application/vnd.openxmlformats-officedocument.drawingml.chartshapes+xml"/>
  <Override PartName="/ppt/notesSlides/notesSlide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2.xml" ContentType="application/vnd.openxmlformats-officedocument.themeOverride+xml"/>
  <Override PartName="/ppt/drawings/drawing3.xml" ContentType="application/vnd.openxmlformats-officedocument.drawingml.chartshape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3.xml" ContentType="application/vnd.openxmlformats-officedocument.themeOverride+xml"/>
  <Override PartName="/ppt/drawings/drawing4.xml" ContentType="application/vnd.openxmlformats-officedocument.drawingml.chartshapes+xml"/>
  <Override PartName="/ppt/notesSlides/notesSlide5.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4.xml" ContentType="application/vnd.openxmlformats-officedocument.themeOverride+xml"/>
  <Override PartName="/ppt/drawings/drawing5.xml" ContentType="application/vnd.openxmlformats-officedocument.drawingml.chartshape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5.xml" ContentType="application/vnd.openxmlformats-officedocument.themeOverride+xml"/>
  <Override PartName="/ppt/drawings/drawing6.xml" ContentType="application/vnd.openxmlformats-officedocument.drawingml.chartshapes+xml"/>
  <Override PartName="/ppt/notesSlides/notesSlide6.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6.xml" ContentType="application/vnd.openxmlformats-officedocument.themeOverride+xml"/>
  <Override PartName="/ppt/drawings/drawing7.xml" ContentType="application/vnd.openxmlformats-officedocument.drawingml.chartshape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8.xml" ContentType="application/vnd.openxmlformats-officedocument.drawingml.chartshapes+xml"/>
  <Override PartName="/ppt/notesSlides/notesSlide7.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7.xml" ContentType="application/vnd.openxmlformats-officedocument.themeOverride+xml"/>
  <Override PartName="/ppt/drawings/drawing9.xml" ContentType="application/vnd.openxmlformats-officedocument.drawingml.chartshape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8.xml" ContentType="application/vnd.openxmlformats-officedocument.themeOverride+xml"/>
  <Override PartName="/ppt/drawings/drawing10.xml" ContentType="application/vnd.openxmlformats-officedocument.drawingml.chartshapes+xml"/>
  <Override PartName="/ppt/notesSlides/notesSlide8.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9.xml" ContentType="application/vnd.openxmlformats-officedocument.themeOverride+xml"/>
  <Override PartName="/ppt/drawings/drawing11.xml" ContentType="application/vnd.openxmlformats-officedocument.drawingml.chartshapes+xml"/>
  <Override PartName="/ppt/charts/chart12.xml" ContentType="application/vnd.openxmlformats-officedocument.drawingml.chart+xml"/>
  <Override PartName="/ppt/drawings/drawing12.xml" ContentType="application/vnd.openxmlformats-officedocument.drawingml.chartshape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omments/modernComment_7FFFEE33_90621E3.xml" ContentType="application/vnd.ms-powerpoint.comments+xml"/>
  <Override PartName="/ppt/authors.xml" ContentType="application/vnd.ms-powerpoint.author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38" r:id="rId4"/>
    <p:sldMasterId id="2147483843" r:id="rId5"/>
    <p:sldMasterId id="2147483866" r:id="rId6"/>
    <p:sldMasterId id="2147483831" r:id="rId7"/>
    <p:sldMasterId id="2147484308" r:id="rId8"/>
    <p:sldMasterId id="2147484328" r:id="rId9"/>
    <p:sldMasterId id="2147484442" r:id="rId10"/>
    <p:sldMasterId id="2147484466" r:id="rId11"/>
  </p:sldMasterIdLst>
  <p:notesMasterIdLst>
    <p:notesMasterId r:id="rId23"/>
  </p:notesMasterIdLst>
  <p:handoutMasterIdLst>
    <p:handoutMasterId r:id="rId24"/>
  </p:handoutMasterIdLst>
  <p:sldIdLst>
    <p:sldId id="2147477456" r:id="rId12"/>
    <p:sldId id="297" r:id="rId13"/>
    <p:sldId id="2146848421" r:id="rId14"/>
    <p:sldId id="267" r:id="rId15"/>
    <p:sldId id="2147479083" r:id="rId16"/>
    <p:sldId id="2147479084" r:id="rId17"/>
    <p:sldId id="2147479087" r:id="rId18"/>
    <p:sldId id="2147479086" r:id="rId19"/>
    <p:sldId id="2147479089" r:id="rId20"/>
    <p:sldId id="2147479090" r:id="rId21"/>
    <p:sldId id="2147479091" r:id="rId22"/>
  </p:sldIdLst>
  <p:sldSz cx="12192000" cy="6858000"/>
  <p:notesSz cx="6797675" cy="9926638"/>
  <p:custDataLst>
    <p:tags r:id="rId25"/>
  </p:custDataLst>
  <p:defaultTextStyle>
    <a:defPPr>
      <a:defRPr lang="en-US"/>
    </a:defPPr>
    <a:lvl1pPr marL="0" algn="l" defTabSz="834179" rtl="0" eaLnBrk="1" latinLnBrk="0" hangingPunct="1">
      <a:defRPr sz="1700" kern="1200">
        <a:solidFill>
          <a:schemeClr val="tx1"/>
        </a:solidFill>
        <a:latin typeface="+mn-lt"/>
        <a:ea typeface="+mn-ea"/>
        <a:cs typeface="+mn-cs"/>
      </a:defRPr>
    </a:lvl1pPr>
    <a:lvl2pPr marL="417069" algn="l" defTabSz="834179" rtl="0" eaLnBrk="1" latinLnBrk="0" hangingPunct="1">
      <a:defRPr sz="1700" kern="1200">
        <a:solidFill>
          <a:schemeClr val="tx1"/>
        </a:solidFill>
        <a:latin typeface="+mn-lt"/>
        <a:ea typeface="+mn-ea"/>
        <a:cs typeface="+mn-cs"/>
      </a:defRPr>
    </a:lvl2pPr>
    <a:lvl3pPr marL="834179" algn="l" defTabSz="834179" rtl="0" eaLnBrk="1" latinLnBrk="0" hangingPunct="1">
      <a:defRPr sz="1700" kern="1200">
        <a:solidFill>
          <a:schemeClr val="tx1"/>
        </a:solidFill>
        <a:latin typeface="+mn-lt"/>
        <a:ea typeface="+mn-ea"/>
        <a:cs typeface="+mn-cs"/>
      </a:defRPr>
    </a:lvl3pPr>
    <a:lvl4pPr marL="1251269" algn="l" defTabSz="834179" rtl="0" eaLnBrk="1" latinLnBrk="0" hangingPunct="1">
      <a:defRPr sz="1700" kern="1200">
        <a:solidFill>
          <a:schemeClr val="tx1"/>
        </a:solidFill>
        <a:latin typeface="+mn-lt"/>
        <a:ea typeface="+mn-ea"/>
        <a:cs typeface="+mn-cs"/>
      </a:defRPr>
    </a:lvl4pPr>
    <a:lvl5pPr marL="1668363" algn="l" defTabSz="834179" rtl="0" eaLnBrk="1" latinLnBrk="0" hangingPunct="1">
      <a:defRPr sz="1700" kern="1200">
        <a:solidFill>
          <a:schemeClr val="tx1"/>
        </a:solidFill>
        <a:latin typeface="+mn-lt"/>
        <a:ea typeface="+mn-ea"/>
        <a:cs typeface="+mn-cs"/>
      </a:defRPr>
    </a:lvl5pPr>
    <a:lvl6pPr marL="2085458" algn="l" defTabSz="834179" rtl="0" eaLnBrk="1" latinLnBrk="0" hangingPunct="1">
      <a:defRPr sz="1700" kern="1200">
        <a:solidFill>
          <a:schemeClr val="tx1"/>
        </a:solidFill>
        <a:latin typeface="+mn-lt"/>
        <a:ea typeface="+mn-ea"/>
        <a:cs typeface="+mn-cs"/>
      </a:defRPr>
    </a:lvl6pPr>
    <a:lvl7pPr marL="2502548" algn="l" defTabSz="834179" rtl="0" eaLnBrk="1" latinLnBrk="0" hangingPunct="1">
      <a:defRPr sz="1700" kern="1200">
        <a:solidFill>
          <a:schemeClr val="tx1"/>
        </a:solidFill>
        <a:latin typeface="+mn-lt"/>
        <a:ea typeface="+mn-ea"/>
        <a:cs typeface="+mn-cs"/>
      </a:defRPr>
    </a:lvl7pPr>
    <a:lvl8pPr marL="2919644" algn="l" defTabSz="834179" rtl="0" eaLnBrk="1" latinLnBrk="0" hangingPunct="1">
      <a:defRPr sz="1700" kern="1200">
        <a:solidFill>
          <a:schemeClr val="tx1"/>
        </a:solidFill>
        <a:latin typeface="+mn-lt"/>
        <a:ea typeface="+mn-ea"/>
        <a:cs typeface="+mn-cs"/>
      </a:defRPr>
    </a:lvl8pPr>
    <a:lvl9pPr marL="3336734" algn="l" defTabSz="834179" rtl="0" eaLnBrk="1" latinLnBrk="0" hangingPunct="1">
      <a:defRPr sz="17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3952" userDrawn="1">
          <p15:clr>
            <a:srgbClr val="A4A3A4"/>
          </p15:clr>
        </p15:guide>
        <p15:guide id="4"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DDBC805-6D4A-211C-B2B8-1EFC87B90608}" name="Martin Jackson" initials="MJ" userId="S::martin.jackson@crugroup.com::97a74bf7-978c-4bd1-9e89-7886de99cba4" providerId="AD"/>
  <p188:author id="{6F03910C-3743-4985-B1CE-EE1AF114B766}" name="Alex Christopher" initials="AC" userId="S::alex.christopher@crugroup.com::4a7a0638-de2d-4dc7-9e11-8d858cfca283" providerId="AD"/>
  <p188:author id="{85471617-E846-D89C-83D6-3C6060EF1987}" name="Aisling Hubert" initials="AH" userId="S::aisling.hubert@crugroup.com::f05246bf-2e6a-4039-9de8-20365c5f2abb" providerId="AD"/>
  <p188:author id="{3088BA20-BF79-CDF3-7D1A-46641D20F756}" name="Frank Nikolic" initials="FN" userId="S::Frank.Nikolic@crugroup.com::7af48039-879a-49ca-a80a-8c0322868b5a" providerId="AD"/>
  <p188:author id="{478AD925-F6EF-E4C5-21B0-73E4D195684B}" name="Chris Lawson" initials="CL" userId="S::clawson@crugroup.com::6141edb3-badb-4657-8d39-54d5d823cdd0" providerId="AD"/>
  <p188:author id="{40469429-1FB6-75C2-7313-ED3BCF794900}" name="Yuming Chang" initials="" userId="S::Yuming.Chang@crugroup.com::28bdd94c-c117-46f6-9b73-f7010fb0e2ba" providerId="AD"/>
  <p188:author id="{CB49A32E-0E5F-4AE1-FED0-F648B3B05FD9}" name="David Leah" initials="DL" userId="S::David.Leah@crugroup.com::b54adb5d-7812-4bb6-97dd-dd665db4cc69" providerId="AD"/>
  <p188:author id="{A07DD42E-9AF6-3858-9D3D-D799AF1AF6DD}" name="Piers Montgomery" initials="PM" userId="S::piers.montgomery@crugroup.com::32d067a7-1e23-467f-929b-006a9dfa5069" providerId="AD"/>
  <p188:author id="{B6704C35-7BE3-4DFA-7CDC-2ED32B96E738}" name="Robert Edwards" initials="RE" userId="S::Redwards@crugroup.com::07e30a3e-dc07-4236-afc7-9fcdad6d9bcb" providerId="AD"/>
  <p188:author id="{98B8D444-0E9D-16D0-4365-B40852DF0F26}" name="David Leah" initials="DL" userId="S::david.leah@crugroup.com::b54adb5d-7812-4bb6-97dd-dd665db4cc69" providerId="AD"/>
  <p188:author id="{DADCD856-A1CF-8113-1588-BD89C051FD37}" name="Tianyu He" initials="TH" userId="S::Tianyu.He@crugroup.com::3261de3c-7e7c-40a0-b8bf-da3da2cd3a41" providerId="AD"/>
  <p188:author id="{14A65563-53B5-B771-F3F5-17EFE57B2274}" name="Edward Rackley" initials="ER" userId="S::Edward.Rackley@crugroup.com::a5c774b6-acce-49f4-b4df-803f3a160e73" providerId="AD"/>
  <p188:author id="{DD97AC6B-1232-B82A-3CB9-0F88B7C6E609}" name="Charlie Durant" initials="CD" userId="S::charlie.durant@crugroup.com::c42275ce-ec91-496e-be55-78f8ceefaa78" providerId="AD"/>
  <p188:author id="{288FDA6B-BF38-B636-33F5-EDF9861C5A05}" name="Linda Zhang" initials="LZ" userId="S::Linda.Zhang@crugroup.com::a6fde5bb-522d-499c-b58a-f5bbe4c78e88" providerId="AD"/>
  <p188:author id="{2A31FA78-6E40-DC61-675E-1E2B33B7828C}" name="Max Reid" initials="MR" userId="S::Max.Reid@crugroup.com::378766c4-4692-41ba-aff5-f80ed48249d3" providerId="AD"/>
  <p188:author id="{0217227A-C3C6-1D86-B21F-685F830F7747}" name="Xiaowei Mei" initials="XM" userId="S::Xiaowei.Mei@crugroup.com::fcce477c-f525-47f0-960a-3175877e568b" providerId="AD"/>
  <p188:author id="{BB74E37A-F762-7DD6-2CCA-7E31D65BCD3A}" name="Aaron Wade" initials="" userId="S::Aaron.Wade@crugroup.com::1fd30db9-0a64-401a-8816-318f16487ae8" providerId="AD"/>
  <p188:author id="{CDCFBA84-165F-2FCF-A477-00A1B39C2477}" name="Erik Heimlich" initials="EH" userId="S::eheimlic@crugroup.com::8e83e482-d433-4427-b062-12d693322a06" providerId="AD"/>
  <p188:author id="{D3AB9898-AB3B-CCEE-691A-DCA18D800728}" name="Edward Rackley" initials="ER" userId="S::edward.rackley@crugroup.com::a5c774b6-acce-49f4-b4df-803f3a160e73" providerId="AD"/>
  <p188:author id="{AF5CD8A3-4E90-C201-40BD-496E6A0AB7AC}" name="Panos Kotseras" initials="PK" userId="S::Panos.Kotseras@crugroup.com::6f7e7790-34dd-4f9a-b623-3613f729e2db" providerId="AD"/>
  <p188:author id="{3A1E4EA4-67AB-AD8D-280A-D89E47256E10}" name="Cameron Hughes" initials="CH" userId="S::Cameron.Hughes@crugroup.com::45166216-6c0a-441c-8d35-3e33d031b71d" providerId="AD"/>
  <p188:author id="{3C1647B4-98F3-CE73-AE95-A9B51C7EBB27}" name="Thomas Matthews" initials="TM" userId="S::Thomas.Matthews@crugroup.com::6bea4393-92f7-4cf9-9f90-2bad089bf8c1" providerId="AD"/>
  <p188:author id="{A148DDC0-75EA-A08F-0C42-53B5017C08F8}" name="Valerie Miller" initials="VM" userId="S::Valerie.Miller@crugroup.com::98b85223-b956-4920-b7ed-f661cd96f544" providerId="AD"/>
  <p188:author id="{9B0566D4-3327-6555-54A7-81100F59B1AE}" name="Alex Townsend" initials="AT" userId="S::alex.townsend@crugroup.com::b5e5f1f7-7ee1-4caf-9655-d8874aad81c8" providerId="AD"/>
  <p188:author id="{D03D8AE2-D020-1C9F-FB63-3A571F2E6D86}" name="Sam Adham" initials="SA" userId="S::sam.adham@crugroup.com::c5375344-8b48-4444-a082-eebd27dd7aaf" providerId="AD"/>
  <p188:author id="{490C7FE5-56D0-C1C1-B5DC-501E046B1BE0}" name="Ruiming Zhang" initials="RZ" userId="S::ruiming.zhang@crugroup.com::98894155-118e-49af-8ce7-365ffa05aceb" providerId="AD"/>
  <p188:author id="{A7C982F0-767B-DC52-0C49-518B854CFECC}" name="Martin Jackson" initials="MJ" userId="S::Martin.Jackson@crugroup.com::97a74bf7-978c-4bd1-9e89-7886de99cba4" providerId="AD"/>
  <p188:author id="{EFC9B5F7-8DEB-73BD-03F4-992323ADF246}" name="Trevor Green" initials="TG" userId="S::trevor.green@crugroup.com::c08762dc-7c0b-47bd-ad62-2b954bf61740" providerId="AD"/>
  <p188:author id="{B7E9B9FC-AF0C-6214-E8EB-1139A9F1CF67}" name="Dimitrina Dyakova" initials="DD" userId="S::dimitrina.dyakova@crugroup.com::2a633d61-80e3-4577-b375-e55d92b2c2c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myakub" initials="m" lastIdx="8"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0A3FD"/>
    <a:srgbClr val="BF59A6"/>
    <a:srgbClr val="FFFFFF"/>
    <a:srgbClr val="18517F"/>
    <a:srgbClr val="C3DEF4"/>
    <a:srgbClr val="86BCE8"/>
    <a:srgbClr val="4A9BDD"/>
    <a:srgbClr val="123D5F"/>
    <a:srgbClr val="296763"/>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0C612E2-0A4F-447D-A0FF-3242D67CF3FA}" v="257" dt="2025-10-08T16:22:09.590"/>
    <p1510:client id="{51BD3621-0270-4EAF-B6D1-110D2914983B}" v="700" dt="2025-10-08T16:15:54.813"/>
    <p1510:client id="{D1C2F696-6EB0-4BCE-B054-39DF04DCC6DA}" v="17" dt="2025-10-08T16:37:12.4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6247" autoAdjust="0"/>
  </p:normalViewPr>
  <p:slideViewPr>
    <p:cSldViewPr snapToGrid="0">
      <p:cViewPr varScale="1">
        <p:scale>
          <a:sx n="111" d="100"/>
          <a:sy n="111" d="100"/>
        </p:scale>
        <p:origin x="558" y="96"/>
      </p:cViewPr>
      <p:guideLst>
        <p:guide orient="horz" pos="3952"/>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0.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tags" Target="tags/tag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handoutMaster" Target="handoutMasters/handoutMaster1.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8.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presProps" Target="presProps.xml"/><Relationship Id="rId30" Type="http://schemas.openxmlformats.org/officeDocument/2006/relationships/tableStyles" Target="tableStyles.xml"/><Relationship Id="rId8" Type="http://schemas.openxmlformats.org/officeDocument/2006/relationships/slideMaster" Target="slideMasters/slideMaster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tin Jackson" userId="97a74bf7-978c-4bd1-9e89-7886de99cba4" providerId="ADAL" clId="{1E36FE96-891B-4D05-AB75-0A5E5180E94D}"/>
    <pc:docChg chg="custSel addSld delSld modSld delMainMaster delSection modSection">
      <pc:chgData name="Martin Jackson" userId="97a74bf7-978c-4bd1-9e89-7886de99cba4" providerId="ADAL" clId="{1E36FE96-891B-4D05-AB75-0A5E5180E94D}" dt="2025-10-06T08:49:59.167" v="22" actId="47"/>
      <pc:docMkLst>
        <pc:docMk/>
      </pc:docMkLst>
      <pc:sldChg chg="modSp mod">
        <pc:chgData name="Martin Jackson" userId="97a74bf7-978c-4bd1-9e89-7886de99cba4" providerId="ADAL" clId="{1E36FE96-891B-4D05-AB75-0A5E5180E94D}" dt="2025-10-06T08:48:57.349" v="6" actId="6549"/>
        <pc:sldMkLst>
          <pc:docMk/>
          <pc:sldMk cId="1557093184" sldId="256"/>
        </pc:sldMkLst>
      </pc:sldChg>
      <pc:sldChg chg="del">
        <pc:chgData name="Martin Jackson" userId="97a74bf7-978c-4bd1-9e89-7886de99cba4" providerId="ADAL" clId="{1E36FE96-891B-4D05-AB75-0A5E5180E94D}" dt="2025-10-06T08:41:41.547" v="0" actId="47"/>
        <pc:sldMkLst>
          <pc:docMk/>
          <pc:sldMk cId="3780252595" sldId="257"/>
        </pc:sldMkLst>
      </pc:sldChg>
      <pc:sldChg chg="del">
        <pc:chgData name="Martin Jackson" userId="97a74bf7-978c-4bd1-9e89-7886de99cba4" providerId="ADAL" clId="{1E36FE96-891B-4D05-AB75-0A5E5180E94D}" dt="2025-10-06T08:41:51.529" v="1" actId="47"/>
        <pc:sldMkLst>
          <pc:docMk/>
          <pc:sldMk cId="2365046811" sldId="263"/>
        </pc:sldMkLst>
      </pc:sldChg>
      <pc:sldChg chg="del">
        <pc:chgData name="Martin Jackson" userId="97a74bf7-978c-4bd1-9e89-7886de99cba4" providerId="ADAL" clId="{1E36FE96-891B-4D05-AB75-0A5E5180E94D}" dt="2025-10-06T08:42:12.740" v="2" actId="47"/>
        <pc:sldMkLst>
          <pc:docMk/>
          <pc:sldMk cId="2229841385" sldId="406"/>
        </pc:sldMkLst>
      </pc:sldChg>
      <pc:sldChg chg="del">
        <pc:chgData name="Martin Jackson" userId="97a74bf7-978c-4bd1-9e89-7886de99cba4" providerId="ADAL" clId="{1E36FE96-891B-4D05-AB75-0A5E5180E94D}" dt="2025-10-06T08:42:12.740" v="2" actId="47"/>
        <pc:sldMkLst>
          <pc:docMk/>
          <pc:sldMk cId="226580921" sldId="2147477062"/>
        </pc:sldMkLst>
      </pc:sldChg>
      <pc:sldChg chg="del">
        <pc:chgData name="Martin Jackson" userId="97a74bf7-978c-4bd1-9e89-7886de99cba4" providerId="ADAL" clId="{1E36FE96-891B-4D05-AB75-0A5E5180E94D}" dt="2025-10-06T08:42:12.740" v="2" actId="47"/>
        <pc:sldMkLst>
          <pc:docMk/>
          <pc:sldMk cId="277144057" sldId="2147477302"/>
        </pc:sldMkLst>
      </pc:sldChg>
      <pc:sldChg chg="del">
        <pc:chgData name="Martin Jackson" userId="97a74bf7-978c-4bd1-9e89-7886de99cba4" providerId="ADAL" clId="{1E36FE96-891B-4D05-AB75-0A5E5180E94D}" dt="2025-10-06T08:41:41.547" v="0" actId="47"/>
        <pc:sldMkLst>
          <pc:docMk/>
          <pc:sldMk cId="3386830031" sldId="2147477350"/>
        </pc:sldMkLst>
      </pc:sldChg>
      <pc:sldChg chg="del">
        <pc:chgData name="Martin Jackson" userId="97a74bf7-978c-4bd1-9e89-7886de99cba4" providerId="ADAL" clId="{1E36FE96-891B-4D05-AB75-0A5E5180E94D}" dt="2025-10-06T08:41:41.547" v="0" actId="47"/>
        <pc:sldMkLst>
          <pc:docMk/>
          <pc:sldMk cId="3380750536" sldId="2147477536"/>
        </pc:sldMkLst>
      </pc:sldChg>
      <pc:sldChg chg="del">
        <pc:chgData name="Martin Jackson" userId="97a74bf7-978c-4bd1-9e89-7886de99cba4" providerId="ADAL" clId="{1E36FE96-891B-4D05-AB75-0A5E5180E94D}" dt="2025-10-06T08:49:59.167" v="22" actId="47"/>
        <pc:sldMkLst>
          <pc:docMk/>
          <pc:sldMk cId="4098706987" sldId="2147477573"/>
        </pc:sldMkLst>
      </pc:sldChg>
      <pc:sldChg chg="del">
        <pc:chgData name="Martin Jackson" userId="97a74bf7-978c-4bd1-9e89-7886de99cba4" providerId="ADAL" clId="{1E36FE96-891B-4D05-AB75-0A5E5180E94D}" dt="2025-10-06T08:41:51.529" v="1" actId="47"/>
        <pc:sldMkLst>
          <pc:docMk/>
          <pc:sldMk cId="3820910379" sldId="2147477583"/>
        </pc:sldMkLst>
      </pc:sldChg>
      <pc:sldChg chg="del">
        <pc:chgData name="Martin Jackson" userId="97a74bf7-978c-4bd1-9e89-7886de99cba4" providerId="ADAL" clId="{1E36FE96-891B-4D05-AB75-0A5E5180E94D}" dt="2025-10-06T08:41:41.547" v="0" actId="47"/>
        <pc:sldMkLst>
          <pc:docMk/>
          <pc:sldMk cId="1975879486" sldId="2147477664"/>
        </pc:sldMkLst>
      </pc:sldChg>
      <pc:sldChg chg="del">
        <pc:chgData name="Martin Jackson" userId="97a74bf7-978c-4bd1-9e89-7886de99cba4" providerId="ADAL" clId="{1E36FE96-891B-4D05-AB75-0A5E5180E94D}" dt="2025-10-06T08:41:51.529" v="1" actId="47"/>
        <pc:sldMkLst>
          <pc:docMk/>
          <pc:sldMk cId="3812730775" sldId="2147477736"/>
        </pc:sldMkLst>
      </pc:sldChg>
      <pc:sldChg chg="del">
        <pc:chgData name="Martin Jackson" userId="97a74bf7-978c-4bd1-9e89-7886de99cba4" providerId="ADAL" clId="{1E36FE96-891B-4D05-AB75-0A5E5180E94D}" dt="2025-10-06T08:41:41.547" v="0" actId="47"/>
        <pc:sldMkLst>
          <pc:docMk/>
          <pc:sldMk cId="303936050" sldId="2147477758"/>
        </pc:sldMkLst>
      </pc:sldChg>
      <pc:sldChg chg="del">
        <pc:chgData name="Martin Jackson" userId="97a74bf7-978c-4bd1-9e89-7886de99cba4" providerId="ADAL" clId="{1E36FE96-891B-4D05-AB75-0A5E5180E94D}" dt="2025-10-06T08:41:41.547" v="0" actId="47"/>
        <pc:sldMkLst>
          <pc:docMk/>
          <pc:sldMk cId="2784546932" sldId="2147477829"/>
        </pc:sldMkLst>
      </pc:sldChg>
      <pc:sldChg chg="del">
        <pc:chgData name="Martin Jackson" userId="97a74bf7-978c-4bd1-9e89-7886de99cba4" providerId="ADAL" clId="{1E36FE96-891B-4D05-AB75-0A5E5180E94D}" dt="2025-10-06T08:42:12.740" v="2" actId="47"/>
        <pc:sldMkLst>
          <pc:docMk/>
          <pc:sldMk cId="3648135521" sldId="2147478984"/>
        </pc:sldMkLst>
      </pc:sldChg>
      <pc:sldChg chg="del">
        <pc:chgData name="Martin Jackson" userId="97a74bf7-978c-4bd1-9e89-7886de99cba4" providerId="ADAL" clId="{1E36FE96-891B-4D05-AB75-0A5E5180E94D}" dt="2025-10-06T08:42:12.740" v="2" actId="47"/>
        <pc:sldMkLst>
          <pc:docMk/>
          <pc:sldMk cId="1985737013" sldId="2147478997"/>
        </pc:sldMkLst>
      </pc:sldChg>
      <pc:sldChg chg="del">
        <pc:chgData name="Martin Jackson" userId="97a74bf7-978c-4bd1-9e89-7886de99cba4" providerId="ADAL" clId="{1E36FE96-891B-4D05-AB75-0A5E5180E94D}" dt="2025-10-06T08:41:41.547" v="0" actId="47"/>
        <pc:sldMkLst>
          <pc:docMk/>
          <pc:sldMk cId="3268054390" sldId="2147478998"/>
        </pc:sldMkLst>
      </pc:sldChg>
      <pc:sldChg chg="del">
        <pc:chgData name="Martin Jackson" userId="97a74bf7-978c-4bd1-9e89-7886de99cba4" providerId="ADAL" clId="{1E36FE96-891B-4D05-AB75-0A5E5180E94D}" dt="2025-10-06T08:42:12.740" v="2" actId="47"/>
        <pc:sldMkLst>
          <pc:docMk/>
          <pc:sldMk cId="3475162710" sldId="2147478999"/>
        </pc:sldMkLst>
      </pc:sldChg>
      <pc:sldChg chg="del">
        <pc:chgData name="Martin Jackson" userId="97a74bf7-978c-4bd1-9e89-7886de99cba4" providerId="ADAL" clId="{1E36FE96-891B-4D05-AB75-0A5E5180E94D}" dt="2025-10-06T08:42:12.740" v="2" actId="47"/>
        <pc:sldMkLst>
          <pc:docMk/>
          <pc:sldMk cId="1779380353" sldId="2147479000"/>
        </pc:sldMkLst>
      </pc:sldChg>
      <pc:sldChg chg="del">
        <pc:chgData name="Martin Jackson" userId="97a74bf7-978c-4bd1-9e89-7886de99cba4" providerId="ADAL" clId="{1E36FE96-891B-4D05-AB75-0A5E5180E94D}" dt="2025-10-06T08:41:41.547" v="0" actId="47"/>
        <pc:sldMkLst>
          <pc:docMk/>
          <pc:sldMk cId="3926189853" sldId="2147479001"/>
        </pc:sldMkLst>
      </pc:sldChg>
      <pc:sldChg chg="del">
        <pc:chgData name="Martin Jackson" userId="97a74bf7-978c-4bd1-9e89-7886de99cba4" providerId="ADAL" clId="{1E36FE96-891B-4D05-AB75-0A5E5180E94D}" dt="2025-10-06T08:42:12.740" v="2" actId="47"/>
        <pc:sldMkLst>
          <pc:docMk/>
          <pc:sldMk cId="3686463736" sldId="2147479007"/>
        </pc:sldMkLst>
      </pc:sldChg>
      <pc:sldChg chg="del">
        <pc:chgData name="Martin Jackson" userId="97a74bf7-978c-4bd1-9e89-7886de99cba4" providerId="ADAL" clId="{1E36FE96-891B-4D05-AB75-0A5E5180E94D}" dt="2025-10-06T08:41:41.547" v="0" actId="47"/>
        <pc:sldMkLst>
          <pc:docMk/>
          <pc:sldMk cId="1325946213" sldId="2147479008"/>
        </pc:sldMkLst>
      </pc:sldChg>
      <pc:sldChg chg="del">
        <pc:chgData name="Martin Jackson" userId="97a74bf7-978c-4bd1-9e89-7886de99cba4" providerId="ADAL" clId="{1E36FE96-891B-4D05-AB75-0A5E5180E94D}" dt="2025-10-06T08:41:51.529" v="1" actId="47"/>
        <pc:sldMkLst>
          <pc:docMk/>
          <pc:sldMk cId="3354649616" sldId="2147479025"/>
        </pc:sldMkLst>
      </pc:sldChg>
      <pc:sldChg chg="del">
        <pc:chgData name="Martin Jackson" userId="97a74bf7-978c-4bd1-9e89-7886de99cba4" providerId="ADAL" clId="{1E36FE96-891B-4D05-AB75-0A5E5180E94D}" dt="2025-10-06T08:41:41.547" v="0" actId="47"/>
        <pc:sldMkLst>
          <pc:docMk/>
          <pc:sldMk cId="627359794" sldId="2147479034"/>
        </pc:sldMkLst>
      </pc:sldChg>
      <pc:sldChg chg="del">
        <pc:chgData name="Martin Jackson" userId="97a74bf7-978c-4bd1-9e89-7886de99cba4" providerId="ADAL" clId="{1E36FE96-891B-4D05-AB75-0A5E5180E94D}" dt="2025-10-06T08:41:41.547" v="0" actId="47"/>
        <pc:sldMkLst>
          <pc:docMk/>
          <pc:sldMk cId="4141450618" sldId="2147479062"/>
        </pc:sldMkLst>
      </pc:sldChg>
      <pc:sldChg chg="del">
        <pc:chgData name="Martin Jackson" userId="97a74bf7-978c-4bd1-9e89-7886de99cba4" providerId="ADAL" clId="{1E36FE96-891B-4D05-AB75-0A5E5180E94D}" dt="2025-10-06T08:41:41.547" v="0" actId="47"/>
        <pc:sldMkLst>
          <pc:docMk/>
          <pc:sldMk cId="2697401083" sldId="2147479063"/>
        </pc:sldMkLst>
      </pc:sldChg>
      <pc:sldChg chg="del">
        <pc:chgData name="Martin Jackson" userId="97a74bf7-978c-4bd1-9e89-7886de99cba4" providerId="ADAL" clId="{1E36FE96-891B-4D05-AB75-0A5E5180E94D}" dt="2025-10-06T08:41:51.529" v="1" actId="47"/>
        <pc:sldMkLst>
          <pc:docMk/>
          <pc:sldMk cId="1291745089" sldId="2147479064"/>
        </pc:sldMkLst>
      </pc:sldChg>
      <pc:sldChg chg="del">
        <pc:chgData name="Martin Jackson" userId="97a74bf7-978c-4bd1-9e89-7886de99cba4" providerId="ADAL" clId="{1E36FE96-891B-4D05-AB75-0A5E5180E94D}" dt="2025-10-06T08:41:51.529" v="1" actId="47"/>
        <pc:sldMkLst>
          <pc:docMk/>
          <pc:sldMk cId="2153489732" sldId="2147479065"/>
        </pc:sldMkLst>
      </pc:sldChg>
      <pc:sldChg chg="del">
        <pc:chgData name="Martin Jackson" userId="97a74bf7-978c-4bd1-9e89-7886de99cba4" providerId="ADAL" clId="{1E36FE96-891B-4D05-AB75-0A5E5180E94D}" dt="2025-10-06T08:49:59.167" v="22" actId="47"/>
        <pc:sldMkLst>
          <pc:docMk/>
          <pc:sldMk cId="1369475377" sldId="2147479067"/>
        </pc:sldMkLst>
      </pc:sldChg>
      <pc:sldChg chg="del">
        <pc:chgData name="Martin Jackson" userId="97a74bf7-978c-4bd1-9e89-7886de99cba4" providerId="ADAL" clId="{1E36FE96-891B-4D05-AB75-0A5E5180E94D}" dt="2025-10-06T08:41:51.529" v="1" actId="47"/>
        <pc:sldMkLst>
          <pc:docMk/>
          <pc:sldMk cId="2302294406" sldId="2147479068"/>
        </pc:sldMkLst>
      </pc:sldChg>
      <pc:sldChg chg="del">
        <pc:chgData name="Martin Jackson" userId="97a74bf7-978c-4bd1-9e89-7886de99cba4" providerId="ADAL" clId="{1E36FE96-891B-4D05-AB75-0A5E5180E94D}" dt="2025-10-06T08:41:41.547" v="0" actId="47"/>
        <pc:sldMkLst>
          <pc:docMk/>
          <pc:sldMk cId="2555662921" sldId="2147479070"/>
        </pc:sldMkLst>
      </pc:sldChg>
      <pc:sldChg chg="del">
        <pc:chgData name="Martin Jackson" userId="97a74bf7-978c-4bd1-9e89-7886de99cba4" providerId="ADAL" clId="{1E36FE96-891B-4D05-AB75-0A5E5180E94D}" dt="2025-10-06T08:41:41.547" v="0" actId="47"/>
        <pc:sldMkLst>
          <pc:docMk/>
          <pc:sldMk cId="1288855049" sldId="2147479071"/>
        </pc:sldMkLst>
      </pc:sldChg>
      <pc:sldChg chg="del">
        <pc:chgData name="Martin Jackson" userId="97a74bf7-978c-4bd1-9e89-7886de99cba4" providerId="ADAL" clId="{1E36FE96-891B-4D05-AB75-0A5E5180E94D}" dt="2025-10-06T08:41:51.529" v="1" actId="47"/>
        <pc:sldMkLst>
          <pc:docMk/>
          <pc:sldMk cId="496196431" sldId="2147479074"/>
        </pc:sldMkLst>
      </pc:sldChg>
      <pc:sldChg chg="del">
        <pc:chgData name="Martin Jackson" userId="97a74bf7-978c-4bd1-9e89-7886de99cba4" providerId="ADAL" clId="{1E36FE96-891B-4D05-AB75-0A5E5180E94D}" dt="2025-10-06T08:41:41.547" v="0" actId="47"/>
        <pc:sldMkLst>
          <pc:docMk/>
          <pc:sldMk cId="3864493835" sldId="2147479075"/>
        </pc:sldMkLst>
      </pc:sldChg>
      <pc:sldChg chg="del">
        <pc:chgData name="Martin Jackson" userId="97a74bf7-978c-4bd1-9e89-7886de99cba4" providerId="ADAL" clId="{1E36FE96-891B-4D05-AB75-0A5E5180E94D}" dt="2025-10-06T08:49:33.412" v="14" actId="47"/>
        <pc:sldMkLst>
          <pc:docMk/>
          <pc:sldMk cId="2032453659" sldId="2147479077"/>
        </pc:sldMkLst>
      </pc:sldChg>
      <pc:sldChg chg="addSp delSp modSp new mod modClrScheme chgLayout">
        <pc:chgData name="Martin Jackson" userId="97a74bf7-978c-4bd1-9e89-7886de99cba4" providerId="ADAL" clId="{1E36FE96-891B-4D05-AB75-0A5E5180E94D}" dt="2025-10-06T08:49:16.891" v="10" actId="700"/>
        <pc:sldMkLst>
          <pc:docMk/>
          <pc:sldMk cId="1109731150" sldId="2147479078"/>
        </pc:sldMkLst>
      </pc:sldChg>
      <pc:sldChg chg="addSp delSp modSp new mod modClrScheme chgLayout">
        <pc:chgData name="Martin Jackson" userId="97a74bf7-978c-4bd1-9e89-7886de99cba4" providerId="ADAL" clId="{1E36FE96-891B-4D05-AB75-0A5E5180E94D}" dt="2025-10-06T08:49:12.599" v="9" actId="700"/>
        <pc:sldMkLst>
          <pc:docMk/>
          <pc:sldMk cId="1278466156" sldId="2147479079"/>
        </pc:sldMkLst>
      </pc:sldChg>
      <pc:sldChg chg="del">
        <pc:chgData name="Martin Jackson" userId="97a74bf7-978c-4bd1-9e89-7886de99cba4" providerId="ADAL" clId="{1E36FE96-891B-4D05-AB75-0A5E5180E94D}" dt="2025-10-06T08:41:41.547" v="0" actId="47"/>
        <pc:sldMkLst>
          <pc:docMk/>
          <pc:sldMk cId="1830322045" sldId="2147479079"/>
        </pc:sldMkLst>
      </pc:sldChg>
      <pc:sldChg chg="addSp delSp modSp new">
        <pc:chgData name="Martin Jackson" userId="97a74bf7-978c-4bd1-9e89-7886de99cba4" providerId="ADAL" clId="{1E36FE96-891B-4D05-AB75-0A5E5180E94D}" dt="2025-10-06T08:49:30.676" v="13"/>
        <pc:sldMkLst>
          <pc:docMk/>
          <pc:sldMk cId="3145850463" sldId="2147479080"/>
        </pc:sldMkLst>
        <pc:graphicFrameChg chg="add mod">
          <ac:chgData name="Martin Jackson" userId="97a74bf7-978c-4bd1-9e89-7886de99cba4" providerId="ADAL" clId="{1E36FE96-891B-4D05-AB75-0A5E5180E94D}" dt="2025-10-06T08:49:30.676" v="13"/>
          <ac:graphicFrameMkLst>
            <pc:docMk/>
            <pc:sldMk cId="3145850463" sldId="2147479080"/>
            <ac:graphicFrameMk id="7" creationId="{FD6C180C-7747-4174-2B8E-9A9AF2F0C96A}"/>
          </ac:graphicFrameMkLst>
        </pc:graphicFrameChg>
      </pc:sldChg>
      <pc:sldChg chg="addSp delSp modSp new">
        <pc:chgData name="Martin Jackson" userId="97a74bf7-978c-4bd1-9e89-7886de99cba4" providerId="ADAL" clId="{1E36FE96-891B-4D05-AB75-0A5E5180E94D}" dt="2025-10-06T08:49:52.629" v="21"/>
        <pc:sldMkLst>
          <pc:docMk/>
          <pc:sldMk cId="1771982066" sldId="2147479081"/>
        </pc:sldMkLst>
        <pc:graphicFrameChg chg="add mod">
          <ac:chgData name="Martin Jackson" userId="97a74bf7-978c-4bd1-9e89-7886de99cba4" providerId="ADAL" clId="{1E36FE96-891B-4D05-AB75-0A5E5180E94D}" dt="2025-10-06T08:49:52.629" v="21"/>
          <ac:graphicFrameMkLst>
            <pc:docMk/>
            <pc:sldMk cId="1771982066" sldId="2147479081"/>
            <ac:graphicFrameMk id="6" creationId="{8F1784CA-A5DF-8BE8-BA62-84EED12E858D}"/>
          </ac:graphicFrameMkLst>
        </pc:graphicFrameChg>
      </pc:sldChg>
      <pc:sldChg chg="del">
        <pc:chgData name="Martin Jackson" userId="97a74bf7-978c-4bd1-9e89-7886de99cba4" providerId="ADAL" clId="{1E36FE96-891B-4D05-AB75-0A5E5180E94D}" dt="2025-10-06T08:41:41.547" v="0" actId="47"/>
        <pc:sldMkLst>
          <pc:docMk/>
          <pc:sldMk cId="2199926387" sldId="2147479081"/>
        </pc:sldMkLst>
      </pc:sldChg>
      <pc:sldChg chg="del">
        <pc:chgData name="Martin Jackson" userId="97a74bf7-978c-4bd1-9e89-7886de99cba4" providerId="ADAL" clId="{1E36FE96-891B-4D05-AB75-0A5E5180E94D}" dt="2025-10-06T08:41:41.547" v="0" actId="47"/>
        <pc:sldMkLst>
          <pc:docMk/>
          <pc:sldMk cId="1409960280" sldId="2147479083"/>
        </pc:sldMkLst>
      </pc:sldChg>
      <pc:sldChg chg="del">
        <pc:chgData name="Martin Jackson" userId="97a74bf7-978c-4bd1-9e89-7886de99cba4" providerId="ADAL" clId="{1E36FE96-891B-4D05-AB75-0A5E5180E94D}" dt="2025-10-06T08:41:41.547" v="0" actId="47"/>
        <pc:sldMkLst>
          <pc:docMk/>
          <pc:sldMk cId="1826207110" sldId="2147479085"/>
        </pc:sldMkLst>
      </pc:sldChg>
      <pc:sldChg chg="del">
        <pc:chgData name="Martin Jackson" userId="97a74bf7-978c-4bd1-9e89-7886de99cba4" providerId="ADAL" clId="{1E36FE96-891B-4D05-AB75-0A5E5180E94D}" dt="2025-10-06T08:41:41.547" v="0" actId="47"/>
        <pc:sldMkLst>
          <pc:docMk/>
          <pc:sldMk cId="3051061874" sldId="2147479087"/>
        </pc:sldMkLst>
      </pc:sldChg>
      <pc:sldChg chg="del">
        <pc:chgData name="Martin Jackson" userId="97a74bf7-978c-4bd1-9e89-7886de99cba4" providerId="ADAL" clId="{1E36FE96-891B-4D05-AB75-0A5E5180E94D}" dt="2025-10-06T08:41:41.547" v="0" actId="47"/>
        <pc:sldMkLst>
          <pc:docMk/>
          <pc:sldMk cId="2118671830" sldId="2147479089"/>
        </pc:sldMkLst>
      </pc:sldChg>
      <pc:sldChg chg="del">
        <pc:chgData name="Martin Jackson" userId="97a74bf7-978c-4bd1-9e89-7886de99cba4" providerId="ADAL" clId="{1E36FE96-891B-4D05-AB75-0A5E5180E94D}" dt="2025-10-06T08:41:41.547" v="0" actId="47"/>
        <pc:sldMkLst>
          <pc:docMk/>
          <pc:sldMk cId="1909817260" sldId="2147479090"/>
        </pc:sldMkLst>
      </pc:sldChg>
      <pc:sldChg chg="del">
        <pc:chgData name="Martin Jackson" userId="97a74bf7-978c-4bd1-9e89-7886de99cba4" providerId="ADAL" clId="{1E36FE96-891B-4D05-AB75-0A5E5180E94D}" dt="2025-10-06T08:41:51.529" v="1" actId="47"/>
        <pc:sldMkLst>
          <pc:docMk/>
          <pc:sldMk cId="2010693047" sldId="2147479091"/>
        </pc:sldMkLst>
      </pc:sldChg>
      <pc:sldChg chg="del">
        <pc:chgData name="Martin Jackson" userId="97a74bf7-978c-4bd1-9e89-7886de99cba4" providerId="ADAL" clId="{1E36FE96-891B-4D05-AB75-0A5E5180E94D}" dt="2025-10-06T08:41:51.529" v="1" actId="47"/>
        <pc:sldMkLst>
          <pc:docMk/>
          <pc:sldMk cId="3574007884" sldId="2147479092"/>
        </pc:sldMkLst>
      </pc:sldChg>
      <pc:sldChg chg="del">
        <pc:chgData name="Martin Jackson" userId="97a74bf7-978c-4bd1-9e89-7886de99cba4" providerId="ADAL" clId="{1E36FE96-891B-4D05-AB75-0A5E5180E94D}" dt="2025-10-06T08:41:41.547" v="0" actId="47"/>
        <pc:sldMkLst>
          <pc:docMk/>
          <pc:sldMk cId="1596766088" sldId="2147479093"/>
        </pc:sldMkLst>
      </pc:sldChg>
      <pc:sldChg chg="del">
        <pc:chgData name="Martin Jackson" userId="97a74bf7-978c-4bd1-9e89-7886de99cba4" providerId="ADAL" clId="{1E36FE96-891B-4D05-AB75-0A5E5180E94D}" dt="2025-10-06T08:41:41.547" v="0" actId="47"/>
        <pc:sldMkLst>
          <pc:docMk/>
          <pc:sldMk cId="2940421590" sldId="2147479094"/>
        </pc:sldMkLst>
      </pc:sldChg>
      <pc:sldMasterChg chg="delSldLayout">
        <pc:chgData name="Martin Jackson" userId="97a74bf7-978c-4bd1-9e89-7886de99cba4" providerId="ADAL" clId="{1E36FE96-891B-4D05-AB75-0A5E5180E94D}" dt="2025-10-06T08:42:12.740" v="2" actId="47"/>
        <pc:sldMasterMkLst>
          <pc:docMk/>
          <pc:sldMasterMk cId="987808660" sldId="2147483831"/>
        </pc:sldMasterMkLst>
        <pc:sldLayoutChg chg="del">
          <pc:chgData name="Martin Jackson" userId="97a74bf7-978c-4bd1-9e89-7886de99cba4" providerId="ADAL" clId="{1E36FE96-891B-4D05-AB75-0A5E5180E94D}" dt="2025-10-06T08:42:12.740" v="2" actId="47"/>
          <pc:sldLayoutMkLst>
            <pc:docMk/>
            <pc:sldMasterMk cId="987808660" sldId="2147483831"/>
            <pc:sldLayoutMk cId="1439957107" sldId="2147483930"/>
          </pc:sldLayoutMkLst>
        </pc:sldLayoutChg>
      </pc:sldMasterChg>
      <pc:sldMasterChg chg="del delSldLayout">
        <pc:chgData name="Martin Jackson" userId="97a74bf7-978c-4bd1-9e89-7886de99cba4" providerId="ADAL" clId="{1E36FE96-891B-4D05-AB75-0A5E5180E94D}" dt="2025-10-06T08:42:12.740" v="2" actId="47"/>
        <pc:sldMasterMkLst>
          <pc:docMk/>
          <pc:sldMasterMk cId="589269044" sldId="2147483931"/>
        </pc:sldMasterMkLst>
        <pc:sldLayoutChg chg="del">
          <pc:chgData name="Martin Jackson" userId="97a74bf7-978c-4bd1-9e89-7886de99cba4" providerId="ADAL" clId="{1E36FE96-891B-4D05-AB75-0A5E5180E94D}" dt="2025-10-06T08:42:12.740" v="2" actId="47"/>
          <pc:sldLayoutMkLst>
            <pc:docMk/>
            <pc:sldMasterMk cId="589269044" sldId="2147483931"/>
            <pc:sldLayoutMk cId="3374592740" sldId="2147483932"/>
          </pc:sldLayoutMkLst>
        </pc:sldLayoutChg>
        <pc:sldLayoutChg chg="del">
          <pc:chgData name="Martin Jackson" userId="97a74bf7-978c-4bd1-9e89-7886de99cba4" providerId="ADAL" clId="{1E36FE96-891B-4D05-AB75-0A5E5180E94D}" dt="2025-10-06T08:42:12.740" v="2" actId="47"/>
          <pc:sldLayoutMkLst>
            <pc:docMk/>
            <pc:sldMasterMk cId="589269044" sldId="2147483931"/>
            <pc:sldLayoutMk cId="2547323809" sldId="2147483933"/>
          </pc:sldLayoutMkLst>
        </pc:sldLayoutChg>
        <pc:sldLayoutChg chg="del">
          <pc:chgData name="Martin Jackson" userId="97a74bf7-978c-4bd1-9e89-7886de99cba4" providerId="ADAL" clId="{1E36FE96-891B-4D05-AB75-0A5E5180E94D}" dt="2025-10-06T08:42:12.740" v="2" actId="47"/>
          <pc:sldLayoutMkLst>
            <pc:docMk/>
            <pc:sldMasterMk cId="589269044" sldId="2147483931"/>
            <pc:sldLayoutMk cId="2283010947" sldId="2147483934"/>
          </pc:sldLayoutMkLst>
        </pc:sldLayoutChg>
        <pc:sldLayoutChg chg="del">
          <pc:chgData name="Martin Jackson" userId="97a74bf7-978c-4bd1-9e89-7886de99cba4" providerId="ADAL" clId="{1E36FE96-891B-4D05-AB75-0A5E5180E94D}" dt="2025-10-06T08:42:12.740" v="2" actId="47"/>
          <pc:sldLayoutMkLst>
            <pc:docMk/>
            <pc:sldMasterMk cId="589269044" sldId="2147483931"/>
            <pc:sldLayoutMk cId="1204297410" sldId="2147483935"/>
          </pc:sldLayoutMkLst>
        </pc:sldLayoutChg>
        <pc:sldLayoutChg chg="del">
          <pc:chgData name="Martin Jackson" userId="97a74bf7-978c-4bd1-9e89-7886de99cba4" providerId="ADAL" clId="{1E36FE96-891B-4D05-AB75-0A5E5180E94D}" dt="2025-10-06T08:42:12.740" v="2" actId="47"/>
          <pc:sldLayoutMkLst>
            <pc:docMk/>
            <pc:sldMasterMk cId="589269044" sldId="2147483931"/>
            <pc:sldLayoutMk cId="2169338198" sldId="2147483936"/>
          </pc:sldLayoutMkLst>
        </pc:sldLayoutChg>
        <pc:sldLayoutChg chg="del">
          <pc:chgData name="Martin Jackson" userId="97a74bf7-978c-4bd1-9e89-7886de99cba4" providerId="ADAL" clId="{1E36FE96-891B-4D05-AB75-0A5E5180E94D}" dt="2025-10-06T08:42:12.740" v="2" actId="47"/>
          <pc:sldLayoutMkLst>
            <pc:docMk/>
            <pc:sldMasterMk cId="589269044" sldId="2147483931"/>
            <pc:sldLayoutMk cId="845437120" sldId="2147483937"/>
          </pc:sldLayoutMkLst>
        </pc:sldLayoutChg>
        <pc:sldLayoutChg chg="del">
          <pc:chgData name="Martin Jackson" userId="97a74bf7-978c-4bd1-9e89-7886de99cba4" providerId="ADAL" clId="{1E36FE96-891B-4D05-AB75-0A5E5180E94D}" dt="2025-10-06T08:42:12.740" v="2" actId="47"/>
          <pc:sldLayoutMkLst>
            <pc:docMk/>
            <pc:sldMasterMk cId="589269044" sldId="2147483931"/>
            <pc:sldLayoutMk cId="629058247" sldId="2147483938"/>
          </pc:sldLayoutMkLst>
        </pc:sldLayoutChg>
        <pc:sldLayoutChg chg="del">
          <pc:chgData name="Martin Jackson" userId="97a74bf7-978c-4bd1-9e89-7886de99cba4" providerId="ADAL" clId="{1E36FE96-891B-4D05-AB75-0A5E5180E94D}" dt="2025-10-06T08:42:12.740" v="2" actId="47"/>
          <pc:sldLayoutMkLst>
            <pc:docMk/>
            <pc:sldMasterMk cId="589269044" sldId="2147483931"/>
            <pc:sldLayoutMk cId="3849672905" sldId="2147483939"/>
          </pc:sldLayoutMkLst>
        </pc:sldLayoutChg>
        <pc:sldLayoutChg chg="del">
          <pc:chgData name="Martin Jackson" userId="97a74bf7-978c-4bd1-9e89-7886de99cba4" providerId="ADAL" clId="{1E36FE96-891B-4D05-AB75-0A5E5180E94D}" dt="2025-10-06T08:42:12.740" v="2" actId="47"/>
          <pc:sldLayoutMkLst>
            <pc:docMk/>
            <pc:sldMasterMk cId="589269044" sldId="2147483931"/>
            <pc:sldLayoutMk cId="2555685544" sldId="2147483940"/>
          </pc:sldLayoutMkLst>
        </pc:sldLayoutChg>
        <pc:sldLayoutChg chg="del">
          <pc:chgData name="Martin Jackson" userId="97a74bf7-978c-4bd1-9e89-7886de99cba4" providerId="ADAL" clId="{1E36FE96-891B-4D05-AB75-0A5E5180E94D}" dt="2025-10-06T08:42:12.740" v="2" actId="47"/>
          <pc:sldLayoutMkLst>
            <pc:docMk/>
            <pc:sldMasterMk cId="589269044" sldId="2147483931"/>
            <pc:sldLayoutMk cId="3196586747" sldId="2147483941"/>
          </pc:sldLayoutMkLst>
        </pc:sldLayoutChg>
        <pc:sldLayoutChg chg="del">
          <pc:chgData name="Martin Jackson" userId="97a74bf7-978c-4bd1-9e89-7886de99cba4" providerId="ADAL" clId="{1E36FE96-891B-4D05-AB75-0A5E5180E94D}" dt="2025-10-06T08:42:12.740" v="2" actId="47"/>
          <pc:sldLayoutMkLst>
            <pc:docMk/>
            <pc:sldMasterMk cId="589269044" sldId="2147483931"/>
            <pc:sldLayoutMk cId="4118422817" sldId="2147483942"/>
          </pc:sldLayoutMkLst>
        </pc:sldLayoutChg>
        <pc:sldLayoutChg chg="del">
          <pc:chgData name="Martin Jackson" userId="97a74bf7-978c-4bd1-9e89-7886de99cba4" providerId="ADAL" clId="{1E36FE96-891B-4D05-AB75-0A5E5180E94D}" dt="2025-10-06T08:42:12.740" v="2" actId="47"/>
          <pc:sldLayoutMkLst>
            <pc:docMk/>
            <pc:sldMasterMk cId="589269044" sldId="2147483931"/>
            <pc:sldLayoutMk cId="2580394799" sldId="2147483943"/>
          </pc:sldLayoutMkLst>
        </pc:sldLayoutChg>
        <pc:sldLayoutChg chg="del">
          <pc:chgData name="Martin Jackson" userId="97a74bf7-978c-4bd1-9e89-7886de99cba4" providerId="ADAL" clId="{1E36FE96-891B-4D05-AB75-0A5E5180E94D}" dt="2025-10-06T08:42:12.740" v="2" actId="47"/>
          <pc:sldLayoutMkLst>
            <pc:docMk/>
            <pc:sldMasterMk cId="589269044" sldId="2147483931"/>
            <pc:sldLayoutMk cId="955903579" sldId="2147483944"/>
          </pc:sldLayoutMkLst>
        </pc:sldLayoutChg>
        <pc:sldLayoutChg chg="del">
          <pc:chgData name="Martin Jackson" userId="97a74bf7-978c-4bd1-9e89-7886de99cba4" providerId="ADAL" clId="{1E36FE96-891B-4D05-AB75-0A5E5180E94D}" dt="2025-10-06T08:42:12.740" v="2" actId="47"/>
          <pc:sldLayoutMkLst>
            <pc:docMk/>
            <pc:sldMasterMk cId="589269044" sldId="2147483931"/>
            <pc:sldLayoutMk cId="2540752723" sldId="2147483945"/>
          </pc:sldLayoutMkLst>
        </pc:sldLayoutChg>
      </pc:sldMasterChg>
      <pc:sldMasterChg chg="delSldLayout">
        <pc:chgData name="Martin Jackson" userId="97a74bf7-978c-4bd1-9e89-7886de99cba4" providerId="ADAL" clId="{1E36FE96-891B-4D05-AB75-0A5E5180E94D}" dt="2025-10-06T08:41:41.547" v="0" actId="47"/>
        <pc:sldMasterMkLst>
          <pc:docMk/>
          <pc:sldMasterMk cId="2507635641" sldId="2147484308"/>
        </pc:sldMasterMkLst>
        <pc:sldLayoutChg chg="del">
          <pc:chgData name="Martin Jackson" userId="97a74bf7-978c-4bd1-9e89-7886de99cba4" providerId="ADAL" clId="{1E36FE96-891B-4D05-AB75-0A5E5180E94D}" dt="2025-10-06T08:41:41.547" v="0" actId="47"/>
          <pc:sldLayoutMkLst>
            <pc:docMk/>
            <pc:sldMasterMk cId="2507635641" sldId="2147484308"/>
            <pc:sldLayoutMk cId="235785711" sldId="2147484325"/>
          </pc:sldLayoutMkLst>
        </pc:sldLayoutChg>
      </pc:sldMasterChg>
    </pc:docChg>
  </pc:docChgLst>
  <pc:docChgLst>
    <pc:chgData name="Martin Jackson" userId="97a74bf7-978c-4bd1-9e89-7886de99cba4" providerId="ADAL" clId="{D1C2F696-6EB0-4BCE-B054-39DF04DCC6DA}"/>
    <pc:docChg chg="undo custSel mod addSld modSld">
      <pc:chgData name="Martin Jackson" userId="97a74bf7-978c-4bd1-9e89-7886de99cba4" providerId="ADAL" clId="{D1C2F696-6EB0-4BCE-B054-39DF04DCC6DA}" dt="2025-10-08T16:37:12.413" v="15"/>
      <pc:docMkLst>
        <pc:docMk/>
      </pc:docMkLst>
      <pc:sldChg chg="add">
        <pc:chgData name="Martin Jackson" userId="97a74bf7-978c-4bd1-9e89-7886de99cba4" providerId="ADAL" clId="{D1C2F696-6EB0-4BCE-B054-39DF04DCC6DA}" dt="2025-10-08T16:06:21.334" v="3"/>
        <pc:sldMkLst>
          <pc:docMk/>
          <pc:sldMk cId="2171190252" sldId="2146848421"/>
        </pc:sldMkLst>
      </pc:sldChg>
      <pc:sldChg chg="addSp delSp mod">
        <pc:chgData name="Martin Jackson" userId="97a74bf7-978c-4bd1-9e89-7886de99cba4" providerId="ADAL" clId="{D1C2F696-6EB0-4BCE-B054-39DF04DCC6DA}" dt="2025-10-08T09:21:10.579" v="2" actId="478"/>
        <pc:sldMkLst>
          <pc:docMk/>
          <pc:sldMk cId="3476876094" sldId="2147479088"/>
        </pc:sldMkLst>
        <pc:spChg chg="add del">
          <ac:chgData name="Martin Jackson" userId="97a74bf7-978c-4bd1-9e89-7886de99cba4" providerId="ADAL" clId="{D1C2F696-6EB0-4BCE-B054-39DF04DCC6DA}" dt="2025-10-08T09:21:10.579" v="2" actId="478"/>
          <ac:spMkLst>
            <pc:docMk/>
            <pc:sldMk cId="3476876094" sldId="2147479088"/>
            <ac:spMk id="10" creationId="{A7432DEA-3522-62DD-0E36-6C7BB91A6292}"/>
          </ac:spMkLst>
        </pc:spChg>
      </pc:sldChg>
      <pc:sldChg chg="modSp mod">
        <pc:chgData name="Martin Jackson" userId="97a74bf7-978c-4bd1-9e89-7886de99cba4" providerId="ADAL" clId="{D1C2F696-6EB0-4BCE-B054-39DF04DCC6DA}" dt="2025-10-08T16:37:12.413" v="15"/>
        <pc:sldMkLst>
          <pc:docMk/>
          <pc:sldMk cId="1938596554" sldId="2147479089"/>
        </pc:sldMkLst>
        <pc:graphicFrameChg chg="mod">
          <ac:chgData name="Martin Jackson" userId="97a74bf7-978c-4bd1-9e89-7886de99cba4" providerId="ADAL" clId="{D1C2F696-6EB0-4BCE-B054-39DF04DCC6DA}" dt="2025-10-08T16:37:12.413" v="15"/>
          <ac:graphicFrameMkLst>
            <pc:docMk/>
            <pc:sldMk cId="1938596554" sldId="2147479089"/>
            <ac:graphicFrameMk id="19" creationId="{5D2AEC9C-77B3-71A0-E6DA-06641D49D322}"/>
          </ac:graphicFrameMkLst>
        </pc:graphicFrameChg>
      </pc:sldChg>
      <pc:sldChg chg="addSp delSp modSp mod modClrScheme chgLayout">
        <pc:chgData name="Martin Jackson" userId="97a74bf7-978c-4bd1-9e89-7886de99cba4" providerId="ADAL" clId="{D1C2F696-6EB0-4BCE-B054-39DF04DCC6DA}" dt="2025-10-08T16:32:47.322" v="12" actId="14100"/>
        <pc:sldMkLst>
          <pc:docMk/>
          <pc:sldMk cId="151396835" sldId="2147479091"/>
        </pc:sldMkLst>
        <pc:spChg chg="mod ord">
          <ac:chgData name="Martin Jackson" userId="97a74bf7-978c-4bd1-9e89-7886de99cba4" providerId="ADAL" clId="{D1C2F696-6EB0-4BCE-B054-39DF04DCC6DA}" dt="2025-10-08T16:29:05.473" v="6" actId="700"/>
          <ac:spMkLst>
            <pc:docMk/>
            <pc:sldMk cId="151396835" sldId="2147479091"/>
            <ac:spMk id="2" creationId="{FA59F079-63A3-8F22-49EA-8C44E78DA7DC}"/>
          </ac:spMkLst>
        </pc:spChg>
        <pc:spChg chg="mod ord">
          <ac:chgData name="Martin Jackson" userId="97a74bf7-978c-4bd1-9e89-7886de99cba4" providerId="ADAL" clId="{D1C2F696-6EB0-4BCE-B054-39DF04DCC6DA}" dt="2025-10-08T16:29:05.473" v="6" actId="700"/>
          <ac:spMkLst>
            <pc:docMk/>
            <pc:sldMk cId="151396835" sldId="2147479091"/>
            <ac:spMk id="3" creationId="{82F77CF3-9452-3CC7-731E-FD4C4504E69D}"/>
          </ac:spMkLst>
        </pc:spChg>
        <pc:spChg chg="mod ord">
          <ac:chgData name="Martin Jackson" userId="97a74bf7-978c-4bd1-9e89-7886de99cba4" providerId="ADAL" clId="{D1C2F696-6EB0-4BCE-B054-39DF04DCC6DA}" dt="2025-10-08T16:29:05.473" v="6" actId="700"/>
          <ac:spMkLst>
            <pc:docMk/>
            <pc:sldMk cId="151396835" sldId="2147479091"/>
            <ac:spMk id="4" creationId="{09FB0B5E-9850-A42A-5433-484DD778CD63}"/>
          </ac:spMkLst>
        </pc:spChg>
        <pc:spChg chg="mod ord">
          <ac:chgData name="Martin Jackson" userId="97a74bf7-978c-4bd1-9e89-7886de99cba4" providerId="ADAL" clId="{D1C2F696-6EB0-4BCE-B054-39DF04DCC6DA}" dt="2025-10-08T16:29:05.473" v="6" actId="700"/>
          <ac:spMkLst>
            <pc:docMk/>
            <pc:sldMk cId="151396835" sldId="2147479091"/>
            <ac:spMk id="5" creationId="{B70E1E4C-5C12-7763-993A-F96CF7A5AF02}"/>
          </ac:spMkLst>
        </pc:spChg>
        <pc:spChg chg="add del mod ord">
          <ac:chgData name="Martin Jackson" userId="97a74bf7-978c-4bd1-9e89-7886de99cba4" providerId="ADAL" clId="{D1C2F696-6EB0-4BCE-B054-39DF04DCC6DA}" dt="2025-10-08T16:29:05.473" v="6" actId="700"/>
          <ac:spMkLst>
            <pc:docMk/>
            <pc:sldMk cId="151396835" sldId="2147479091"/>
            <ac:spMk id="7" creationId="{57FC67AD-7E64-BEFD-22A0-1FB122CDB203}"/>
          </ac:spMkLst>
        </pc:spChg>
        <pc:spChg chg="add del mod">
          <ac:chgData name="Martin Jackson" userId="97a74bf7-978c-4bd1-9e89-7886de99cba4" providerId="ADAL" clId="{D1C2F696-6EB0-4BCE-B054-39DF04DCC6DA}" dt="2025-10-08T16:29:05.473" v="6" actId="700"/>
          <ac:spMkLst>
            <pc:docMk/>
            <pc:sldMk cId="151396835" sldId="2147479091"/>
            <ac:spMk id="10" creationId="{21233F13-0EFC-C61A-945B-13B8FDCF30C7}"/>
          </ac:spMkLst>
        </pc:spChg>
        <pc:spChg chg="add mod ord">
          <ac:chgData name="Martin Jackson" userId="97a74bf7-978c-4bd1-9e89-7886de99cba4" providerId="ADAL" clId="{D1C2F696-6EB0-4BCE-B054-39DF04DCC6DA}" dt="2025-10-08T16:29:05.473" v="6" actId="700"/>
          <ac:spMkLst>
            <pc:docMk/>
            <pc:sldMk cId="151396835" sldId="2147479091"/>
            <ac:spMk id="11" creationId="{F656DC09-253E-8C65-4830-5DA4350A723B}"/>
          </ac:spMkLst>
        </pc:spChg>
        <pc:graphicFrameChg chg="del">
          <ac:chgData name="Martin Jackson" userId="97a74bf7-978c-4bd1-9e89-7886de99cba4" providerId="ADAL" clId="{D1C2F696-6EB0-4BCE-B054-39DF04DCC6DA}" dt="2025-10-08T16:28:27.765" v="4" actId="478"/>
          <ac:graphicFrameMkLst>
            <pc:docMk/>
            <pc:sldMk cId="151396835" sldId="2147479091"/>
            <ac:graphicFrameMk id="8" creationId="{405DFAFC-75B7-FB0B-3862-D500D452AB88}"/>
          </ac:graphicFrameMkLst>
        </pc:graphicFrameChg>
        <pc:graphicFrameChg chg="del">
          <ac:chgData name="Martin Jackson" userId="97a74bf7-978c-4bd1-9e89-7886de99cba4" providerId="ADAL" clId="{D1C2F696-6EB0-4BCE-B054-39DF04DCC6DA}" dt="2025-10-08T16:28:29.387" v="5" actId="478"/>
          <ac:graphicFrameMkLst>
            <pc:docMk/>
            <pc:sldMk cId="151396835" sldId="2147479091"/>
            <ac:graphicFrameMk id="17" creationId="{DDFA7232-4EFA-0C84-4142-B86A38F35C01}"/>
          </ac:graphicFrameMkLst>
        </pc:graphicFrameChg>
        <pc:picChg chg="add mod">
          <ac:chgData name="Martin Jackson" userId="97a74bf7-978c-4bd1-9e89-7886de99cba4" providerId="ADAL" clId="{D1C2F696-6EB0-4BCE-B054-39DF04DCC6DA}" dt="2025-10-08T16:32:47.322" v="12" actId="14100"/>
          <ac:picMkLst>
            <pc:docMk/>
            <pc:sldMk cId="151396835" sldId="2147479091"/>
            <ac:picMk id="1026" creationId="{6A9B6069-CBEF-EFF3-26DB-DD5C3D809A14}"/>
          </ac:picMkLst>
        </pc:picChg>
      </pc:sldChg>
    </pc:docChg>
  </pc:docChgLst>
  <pc:docChgLst>
    <pc:chgData name="Cameron Hughes" userId="45166216-6c0a-441c-8d35-3e33d031b71d" providerId="ADAL" clId="{10C612E2-0A4F-447D-A0FF-3242D67CF3FA}"/>
    <pc:docChg chg="undo custSel addSld delSld modSld">
      <pc:chgData name="Cameron Hughes" userId="45166216-6c0a-441c-8d35-3e33d031b71d" providerId="ADAL" clId="{10C612E2-0A4F-447D-A0FF-3242D67CF3FA}" dt="2025-10-08T16:22:09.590" v="226" actId="27918"/>
      <pc:docMkLst>
        <pc:docMk/>
      </pc:docMkLst>
      <pc:sldChg chg="addSp delSp modSp del mod modClrScheme chgLayout">
        <pc:chgData name="Cameron Hughes" userId="45166216-6c0a-441c-8d35-3e33d031b71d" providerId="ADAL" clId="{10C612E2-0A4F-447D-A0FF-3242D67CF3FA}" dt="2025-10-08T08:38:21.118" v="36" actId="47"/>
        <pc:sldMkLst>
          <pc:docMk/>
          <pc:sldMk cId="3145850463" sldId="2147479080"/>
        </pc:sldMkLst>
        <pc:spChg chg="del mod ord">
          <ac:chgData name="Cameron Hughes" userId="45166216-6c0a-441c-8d35-3e33d031b71d" providerId="ADAL" clId="{10C612E2-0A4F-447D-A0FF-3242D67CF3FA}" dt="2025-10-08T08:31:58.990" v="0" actId="700"/>
          <ac:spMkLst>
            <pc:docMk/>
            <pc:sldMk cId="3145850463" sldId="2147479080"/>
            <ac:spMk id="2" creationId="{877E9669-20A3-E6EE-E1DB-502C603775F7}"/>
          </ac:spMkLst>
        </pc:spChg>
        <pc:spChg chg="del mod ord">
          <ac:chgData name="Cameron Hughes" userId="45166216-6c0a-441c-8d35-3e33d031b71d" providerId="ADAL" clId="{10C612E2-0A4F-447D-A0FF-3242D67CF3FA}" dt="2025-10-08T08:31:58.990" v="0" actId="700"/>
          <ac:spMkLst>
            <pc:docMk/>
            <pc:sldMk cId="3145850463" sldId="2147479080"/>
            <ac:spMk id="3" creationId="{4121C19B-DACE-705D-80AE-3C4FCDFA14A4}"/>
          </ac:spMkLst>
        </pc:spChg>
        <pc:spChg chg="add mod ord">
          <ac:chgData name="Cameron Hughes" userId="45166216-6c0a-441c-8d35-3e33d031b71d" providerId="ADAL" clId="{10C612E2-0A4F-447D-A0FF-3242D67CF3FA}" dt="2025-10-08T08:31:58.990" v="0" actId="700"/>
          <ac:spMkLst>
            <pc:docMk/>
            <pc:sldMk cId="3145850463" sldId="2147479080"/>
            <ac:spMk id="4" creationId="{CD9584D0-1F93-AE30-C7E2-D75569C72261}"/>
          </ac:spMkLst>
        </pc:spChg>
        <pc:spChg chg="mod ord">
          <ac:chgData name="Cameron Hughes" userId="45166216-6c0a-441c-8d35-3e33d031b71d" providerId="ADAL" clId="{10C612E2-0A4F-447D-A0FF-3242D67CF3FA}" dt="2025-10-08T08:31:58.990" v="0" actId="700"/>
          <ac:spMkLst>
            <pc:docMk/>
            <pc:sldMk cId="3145850463" sldId="2147479080"/>
            <ac:spMk id="5" creationId="{90E8550F-3135-1FC6-42FE-D497BBF16843}"/>
          </ac:spMkLst>
        </pc:spChg>
        <pc:spChg chg="add mod ord">
          <ac:chgData name="Cameron Hughes" userId="45166216-6c0a-441c-8d35-3e33d031b71d" providerId="ADAL" clId="{10C612E2-0A4F-447D-A0FF-3242D67CF3FA}" dt="2025-10-08T08:31:58.990" v="0" actId="700"/>
          <ac:spMkLst>
            <pc:docMk/>
            <pc:sldMk cId="3145850463" sldId="2147479080"/>
            <ac:spMk id="6" creationId="{D9C95928-2F67-22E2-9085-49D6A9A67164}"/>
          </ac:spMkLst>
        </pc:spChg>
        <pc:spChg chg="add del mod ord">
          <ac:chgData name="Cameron Hughes" userId="45166216-6c0a-441c-8d35-3e33d031b71d" providerId="ADAL" clId="{10C612E2-0A4F-447D-A0FF-3242D67CF3FA}" dt="2025-10-08T08:32:02.316" v="1" actId="478"/>
          <ac:spMkLst>
            <pc:docMk/>
            <pc:sldMk cId="3145850463" sldId="2147479080"/>
            <ac:spMk id="8" creationId="{FCDDFDA7-B930-43F9-1ED1-1B72F5BA1BE2}"/>
          </ac:spMkLst>
        </pc:spChg>
        <pc:spChg chg="add mod ord">
          <ac:chgData name="Cameron Hughes" userId="45166216-6c0a-441c-8d35-3e33d031b71d" providerId="ADAL" clId="{10C612E2-0A4F-447D-A0FF-3242D67CF3FA}" dt="2025-10-08T08:31:58.990" v="0" actId="700"/>
          <ac:spMkLst>
            <pc:docMk/>
            <pc:sldMk cId="3145850463" sldId="2147479080"/>
            <ac:spMk id="9" creationId="{CF17F8F8-7B79-34BF-AE71-F58B835B1A8E}"/>
          </ac:spMkLst>
        </pc:spChg>
        <pc:spChg chg="add mod ord">
          <ac:chgData name="Cameron Hughes" userId="45166216-6c0a-441c-8d35-3e33d031b71d" providerId="ADAL" clId="{10C612E2-0A4F-447D-A0FF-3242D67CF3FA}" dt="2025-10-08T08:31:58.990" v="0" actId="700"/>
          <ac:spMkLst>
            <pc:docMk/>
            <pc:sldMk cId="3145850463" sldId="2147479080"/>
            <ac:spMk id="10" creationId="{846C1933-111F-E142-C061-CFCD98E3BE70}"/>
          </ac:spMkLst>
        </pc:spChg>
        <pc:spChg chg="add mod ord">
          <ac:chgData name="Cameron Hughes" userId="45166216-6c0a-441c-8d35-3e33d031b71d" providerId="ADAL" clId="{10C612E2-0A4F-447D-A0FF-3242D67CF3FA}" dt="2025-10-08T08:31:58.990" v="0" actId="700"/>
          <ac:spMkLst>
            <pc:docMk/>
            <pc:sldMk cId="3145850463" sldId="2147479080"/>
            <ac:spMk id="11" creationId="{124FE33E-9EE8-0CF8-7E6C-B60465E9B7D8}"/>
          </ac:spMkLst>
        </pc:spChg>
        <pc:graphicFrameChg chg="mod ord">
          <ac:chgData name="Cameron Hughes" userId="45166216-6c0a-441c-8d35-3e33d031b71d" providerId="ADAL" clId="{10C612E2-0A4F-447D-A0FF-3242D67CF3FA}" dt="2025-10-08T08:31:58.990" v="0" actId="700"/>
          <ac:graphicFrameMkLst>
            <pc:docMk/>
            <pc:sldMk cId="3145850463" sldId="2147479080"/>
            <ac:graphicFrameMk id="7" creationId="{FD6C180C-7747-4174-2B8E-9A9AF2F0C96A}"/>
          </ac:graphicFrameMkLst>
        </pc:graphicFrameChg>
      </pc:sldChg>
      <pc:sldChg chg="del">
        <pc:chgData name="Cameron Hughes" userId="45166216-6c0a-441c-8d35-3e33d031b71d" providerId="ADAL" clId="{10C612E2-0A4F-447D-A0FF-3242D67CF3FA}" dt="2025-10-08T08:39:48.800" v="46" actId="2696"/>
        <pc:sldMkLst>
          <pc:docMk/>
          <pc:sldMk cId="1771982066" sldId="2147479081"/>
        </pc:sldMkLst>
      </pc:sldChg>
      <pc:sldChg chg="addSp delSp modSp add mod">
        <pc:chgData name="Cameron Hughes" userId="45166216-6c0a-441c-8d35-3e33d031b71d" providerId="ADAL" clId="{10C612E2-0A4F-447D-A0FF-3242D67CF3FA}" dt="2025-10-08T09:02:03.826" v="191" actId="20577"/>
        <pc:sldMkLst>
          <pc:docMk/>
          <pc:sldMk cId="1938596554" sldId="2147479089"/>
        </pc:sldMkLst>
        <pc:spChg chg="mod">
          <ac:chgData name="Cameron Hughes" userId="45166216-6c0a-441c-8d35-3e33d031b71d" providerId="ADAL" clId="{10C612E2-0A4F-447D-A0FF-3242D67CF3FA}" dt="2025-10-08T09:02:03.826" v="191" actId="20577"/>
          <ac:spMkLst>
            <pc:docMk/>
            <pc:sldMk cId="1938596554" sldId="2147479089"/>
            <ac:spMk id="2" creationId="{71AC729A-5FD9-EDAA-FF47-43EE78A4CFA0}"/>
          </ac:spMkLst>
        </pc:spChg>
        <pc:spChg chg="add del mod">
          <ac:chgData name="Cameron Hughes" userId="45166216-6c0a-441c-8d35-3e33d031b71d" providerId="ADAL" clId="{10C612E2-0A4F-447D-A0FF-3242D67CF3FA}" dt="2025-10-08T08:32:41.338" v="5"/>
          <ac:spMkLst>
            <pc:docMk/>
            <pc:sldMk cId="1938596554" sldId="2147479089"/>
            <ac:spMk id="7" creationId="{A494B15F-802A-C13A-6B01-3195740A7F0B}"/>
          </ac:spMkLst>
        </pc:spChg>
        <pc:spChg chg="del">
          <ac:chgData name="Cameron Hughes" userId="45166216-6c0a-441c-8d35-3e33d031b71d" providerId="ADAL" clId="{10C612E2-0A4F-447D-A0FF-3242D67CF3FA}" dt="2025-10-08T08:33:51.651" v="14"/>
          <ac:spMkLst>
            <pc:docMk/>
            <pc:sldMk cId="1938596554" sldId="2147479089"/>
            <ac:spMk id="10" creationId="{11955DAA-4802-8811-8812-A9FF192C0EA5}"/>
          </ac:spMkLst>
        </pc:spChg>
        <pc:spChg chg="add del mod">
          <ac:chgData name="Cameron Hughes" userId="45166216-6c0a-441c-8d35-3e33d031b71d" providerId="ADAL" clId="{10C612E2-0A4F-447D-A0FF-3242D67CF3FA}" dt="2025-10-08T08:33:58.059" v="15"/>
          <ac:spMkLst>
            <pc:docMk/>
            <pc:sldMk cId="1938596554" sldId="2147479089"/>
            <ac:spMk id="12" creationId="{A19615D3-FB74-874A-12FD-BF04250876CB}"/>
          </ac:spMkLst>
        </pc:spChg>
        <pc:spChg chg="add del mod">
          <ac:chgData name="Cameron Hughes" userId="45166216-6c0a-441c-8d35-3e33d031b71d" providerId="ADAL" clId="{10C612E2-0A4F-447D-A0FF-3242D67CF3FA}" dt="2025-10-08T08:58:57.698" v="93"/>
          <ac:spMkLst>
            <pc:docMk/>
            <pc:sldMk cId="1938596554" sldId="2147479089"/>
            <ac:spMk id="16" creationId="{13BBED83-AEBE-B04B-CCA8-4CD1C031BCD4}"/>
          </ac:spMkLst>
        </pc:spChg>
        <pc:spChg chg="add del mod">
          <ac:chgData name="Cameron Hughes" userId="45166216-6c0a-441c-8d35-3e33d031b71d" providerId="ADAL" clId="{10C612E2-0A4F-447D-A0FF-3242D67CF3FA}" dt="2025-10-08T08:59:14.592" v="94"/>
          <ac:spMkLst>
            <pc:docMk/>
            <pc:sldMk cId="1938596554" sldId="2147479089"/>
            <ac:spMk id="18" creationId="{C1F8B071-B462-212B-7748-DFF888EDD7C0}"/>
          </ac:spMkLst>
        </pc:spChg>
        <pc:graphicFrameChg chg="add del mod">
          <ac:chgData name="Cameron Hughes" userId="45166216-6c0a-441c-8d35-3e33d031b71d" providerId="ADAL" clId="{10C612E2-0A4F-447D-A0FF-3242D67CF3FA}" dt="2025-10-08T08:33:50.506" v="13" actId="21"/>
          <ac:graphicFrameMkLst>
            <pc:docMk/>
            <pc:sldMk cId="1938596554" sldId="2147479089"/>
            <ac:graphicFrameMk id="8" creationId="{5D2AEC9C-77B3-71A0-E6DA-06641D49D322}"/>
          </ac:graphicFrameMkLst>
        </pc:graphicFrameChg>
        <pc:graphicFrameChg chg="del mod">
          <ac:chgData name="Cameron Hughes" userId="45166216-6c0a-441c-8d35-3e33d031b71d" providerId="ADAL" clId="{10C612E2-0A4F-447D-A0FF-3242D67CF3FA}" dt="2025-10-08T08:32:40.161" v="4" actId="478"/>
          <ac:graphicFrameMkLst>
            <pc:docMk/>
            <pc:sldMk cId="1938596554" sldId="2147479089"/>
            <ac:graphicFrameMk id="11" creationId="{979CEFC4-2AAF-7606-B870-F0A65F5A4F41}"/>
          </ac:graphicFrameMkLst>
        </pc:graphicFrameChg>
        <pc:graphicFrameChg chg="add del mod">
          <ac:chgData name="Cameron Hughes" userId="45166216-6c0a-441c-8d35-3e33d031b71d" providerId="ADAL" clId="{10C612E2-0A4F-447D-A0FF-3242D67CF3FA}" dt="2025-10-08T08:58:57.014" v="92" actId="21"/>
          <ac:graphicFrameMkLst>
            <pc:docMk/>
            <pc:sldMk cId="1938596554" sldId="2147479089"/>
            <ac:graphicFrameMk id="13" creationId="{5D2AEC9C-77B3-71A0-E6DA-06641D49D322}"/>
          </ac:graphicFrameMkLst>
        </pc:graphicFrameChg>
        <pc:graphicFrameChg chg="add del mod">
          <ac:chgData name="Cameron Hughes" userId="45166216-6c0a-441c-8d35-3e33d031b71d" providerId="ADAL" clId="{10C612E2-0A4F-447D-A0FF-3242D67CF3FA}" dt="2025-10-08T08:58:55.280" v="90" actId="478"/>
          <ac:graphicFrameMkLst>
            <pc:docMk/>
            <pc:sldMk cId="1938596554" sldId="2147479089"/>
            <ac:graphicFrameMk id="14" creationId="{76B63A62-0527-9AA0-00B6-71DAC4A4DF5F}"/>
          </ac:graphicFrameMkLst>
        </pc:graphicFrameChg>
        <pc:graphicFrameChg chg="add mod">
          <ac:chgData name="Cameron Hughes" userId="45166216-6c0a-441c-8d35-3e33d031b71d" providerId="ADAL" clId="{10C612E2-0A4F-447D-A0FF-3242D67CF3FA}" dt="2025-10-08T08:59:54.305" v="100" actId="403"/>
          <ac:graphicFrameMkLst>
            <pc:docMk/>
            <pc:sldMk cId="1938596554" sldId="2147479089"/>
            <ac:graphicFrameMk id="19" creationId="{5D2AEC9C-77B3-71A0-E6DA-06641D49D322}"/>
          </ac:graphicFrameMkLst>
        </pc:graphicFrameChg>
        <pc:graphicFrameChg chg="add mod">
          <ac:chgData name="Cameron Hughes" userId="45166216-6c0a-441c-8d35-3e33d031b71d" providerId="ADAL" clId="{10C612E2-0A4F-447D-A0FF-3242D67CF3FA}" dt="2025-10-08T08:59:59.480" v="101"/>
          <ac:graphicFrameMkLst>
            <pc:docMk/>
            <pc:sldMk cId="1938596554" sldId="2147479089"/>
            <ac:graphicFrameMk id="20" creationId="{CD9A0391-C51C-4977-EF2C-580CD93F023E}"/>
          </ac:graphicFrameMkLst>
        </pc:graphicFrameChg>
      </pc:sldChg>
      <pc:sldChg chg="addSp delSp modSp add mod">
        <pc:chgData name="Cameron Hughes" userId="45166216-6c0a-441c-8d35-3e33d031b71d" providerId="ADAL" clId="{10C612E2-0A4F-447D-A0FF-3242D67CF3FA}" dt="2025-10-08T16:22:09.590" v="226" actId="27918"/>
        <pc:sldMkLst>
          <pc:docMk/>
          <pc:sldMk cId="3641083194" sldId="2147479090"/>
        </pc:sldMkLst>
        <pc:spChg chg="mod">
          <ac:chgData name="Cameron Hughes" userId="45166216-6c0a-441c-8d35-3e33d031b71d" providerId="ADAL" clId="{10C612E2-0A4F-447D-A0FF-3242D67CF3FA}" dt="2025-10-08T09:02:20.841" v="221" actId="20577"/>
          <ac:spMkLst>
            <pc:docMk/>
            <pc:sldMk cId="3641083194" sldId="2147479090"/>
            <ac:spMk id="2" creationId="{A803F54D-D39E-048A-EA0E-74007BFC7B80}"/>
          </ac:spMkLst>
        </pc:spChg>
        <pc:spChg chg="add del mod">
          <ac:chgData name="Cameron Hughes" userId="45166216-6c0a-441c-8d35-3e33d031b71d" providerId="ADAL" clId="{10C612E2-0A4F-447D-A0FF-3242D67CF3FA}" dt="2025-10-08T08:38:32.049" v="39"/>
          <ac:spMkLst>
            <pc:docMk/>
            <pc:sldMk cId="3641083194" sldId="2147479090"/>
            <ac:spMk id="7" creationId="{7DC66C22-689D-BB74-F659-68D8465AF42C}"/>
          </ac:spMkLst>
        </pc:spChg>
        <pc:spChg chg="add del mod">
          <ac:chgData name="Cameron Hughes" userId="45166216-6c0a-441c-8d35-3e33d031b71d" providerId="ADAL" clId="{10C612E2-0A4F-447D-A0FF-3242D67CF3FA}" dt="2025-10-08T08:53:45.598" v="53" actId="22"/>
          <ac:spMkLst>
            <pc:docMk/>
            <pc:sldMk cId="3641083194" sldId="2147479090"/>
            <ac:spMk id="10" creationId="{33D0B294-CF38-B30D-07D3-224E38E4D582}"/>
          </ac:spMkLst>
        </pc:spChg>
        <pc:spChg chg="add del mod">
          <ac:chgData name="Cameron Hughes" userId="45166216-6c0a-441c-8d35-3e33d031b71d" providerId="ADAL" clId="{10C612E2-0A4F-447D-A0FF-3242D67CF3FA}" dt="2025-10-08T08:54:06.478" v="60"/>
          <ac:spMkLst>
            <pc:docMk/>
            <pc:sldMk cId="3641083194" sldId="2147479090"/>
            <ac:spMk id="16" creationId="{9F8CE899-C1FA-71AB-2AF1-19F1DC5701E9}"/>
          </ac:spMkLst>
        </pc:spChg>
        <pc:graphicFrameChg chg="add mod">
          <ac:chgData name="Cameron Hughes" userId="45166216-6c0a-441c-8d35-3e33d031b71d" providerId="ADAL" clId="{10C612E2-0A4F-447D-A0FF-3242D67CF3FA}" dt="2025-10-08T08:41:24.599" v="52"/>
          <ac:graphicFrameMkLst>
            <pc:docMk/>
            <pc:sldMk cId="3641083194" sldId="2147479090"/>
            <ac:graphicFrameMk id="8" creationId="{08C331BE-90A6-9090-AED1-BA2A41D64937}"/>
          </ac:graphicFrameMkLst>
        </pc:graphicFrameChg>
        <pc:graphicFrameChg chg="del">
          <ac:chgData name="Cameron Hughes" userId="45166216-6c0a-441c-8d35-3e33d031b71d" providerId="ADAL" clId="{10C612E2-0A4F-447D-A0FF-3242D67CF3FA}" dt="2025-10-08T08:39:44.070" v="45" actId="478"/>
          <ac:graphicFrameMkLst>
            <pc:docMk/>
            <pc:sldMk cId="3641083194" sldId="2147479090"/>
            <ac:graphicFrameMk id="13" creationId="{0B89774B-DEFC-8BDC-E6F6-9766E0148A36}"/>
          </ac:graphicFrameMkLst>
        </pc:graphicFrameChg>
        <pc:graphicFrameChg chg="del">
          <ac:chgData name="Cameron Hughes" userId="45166216-6c0a-441c-8d35-3e33d031b71d" providerId="ADAL" clId="{10C612E2-0A4F-447D-A0FF-3242D67CF3FA}" dt="2025-10-08T08:38:26.535" v="38" actId="478"/>
          <ac:graphicFrameMkLst>
            <pc:docMk/>
            <pc:sldMk cId="3641083194" sldId="2147479090"/>
            <ac:graphicFrameMk id="14" creationId="{283639A7-76A4-3E20-5538-2FF324281B0C}"/>
          </ac:graphicFrameMkLst>
        </pc:graphicFrameChg>
        <pc:graphicFrameChg chg="add mod">
          <ac:chgData name="Cameron Hughes" userId="45166216-6c0a-441c-8d35-3e33d031b71d" providerId="ADAL" clId="{10C612E2-0A4F-447D-A0FF-3242D67CF3FA}" dt="2025-10-08T08:56:36.459" v="89"/>
          <ac:graphicFrameMkLst>
            <pc:docMk/>
            <pc:sldMk cId="3641083194" sldId="2147479090"/>
            <ac:graphicFrameMk id="17" creationId="{36B5D3E7-20D8-4245-B95A-183FC827D0A5}"/>
          </ac:graphicFrameMkLst>
        </pc:graphicFrameChg>
        <pc:picChg chg="add del mod ord">
          <ac:chgData name="Cameron Hughes" userId="45166216-6c0a-441c-8d35-3e33d031b71d" providerId="ADAL" clId="{10C612E2-0A4F-447D-A0FF-3242D67CF3FA}" dt="2025-10-08T08:54:00.091" v="58" actId="478"/>
          <ac:picMkLst>
            <pc:docMk/>
            <pc:sldMk cId="3641083194" sldId="2147479090"/>
            <ac:picMk id="12" creationId="{73C286C8-1014-A175-8962-2BA573D5F4AC}"/>
          </ac:picMkLst>
        </pc:picChg>
      </pc:sldChg>
    </pc:docChg>
  </pc:docChgLst>
  <pc:docChgLst>
    <pc:chgData name="Thomas Matthews" userId="6bea4393-92f7-4cf9-9f90-2bad089bf8c1" providerId="ADAL" clId="{51BD3621-0270-4EAF-B6D1-110D2914983B}"/>
    <pc:docChg chg="undo redo custSel addSld delSld modSld sldOrd modMainMaster">
      <pc:chgData name="Thomas Matthews" userId="6bea4393-92f7-4cf9-9f90-2bad089bf8c1" providerId="ADAL" clId="{51BD3621-0270-4EAF-B6D1-110D2914983B}" dt="2025-10-08T16:15:54.814" v="890"/>
      <pc:docMkLst>
        <pc:docMk/>
      </pc:docMkLst>
      <pc:sldChg chg="modSp del">
        <pc:chgData name="Thomas Matthews" userId="6bea4393-92f7-4cf9-9f90-2bad089bf8c1" providerId="ADAL" clId="{51BD3621-0270-4EAF-B6D1-110D2914983B}" dt="2025-10-06T14:51:01.678" v="79" actId="47"/>
        <pc:sldMkLst>
          <pc:docMk/>
          <pc:sldMk cId="1557093184" sldId="256"/>
        </pc:sldMkLst>
      </pc:sldChg>
      <pc:sldChg chg="modSp add mod modShow">
        <pc:chgData name="Thomas Matthews" userId="6bea4393-92f7-4cf9-9f90-2bad089bf8c1" providerId="ADAL" clId="{51BD3621-0270-4EAF-B6D1-110D2914983B}" dt="2025-10-08T16:07:01.718" v="888" actId="729"/>
        <pc:sldMkLst>
          <pc:docMk/>
          <pc:sldMk cId="4050463464" sldId="267"/>
        </pc:sldMkLst>
        <pc:spChg chg="mod">
          <ac:chgData name="Thomas Matthews" userId="6bea4393-92f7-4cf9-9f90-2bad089bf8c1" providerId="ADAL" clId="{51BD3621-0270-4EAF-B6D1-110D2914983B}" dt="2025-10-06T15:25:00.929" v="218" actId="20577"/>
          <ac:spMkLst>
            <pc:docMk/>
            <pc:sldMk cId="4050463464" sldId="267"/>
            <ac:spMk id="2" creationId="{1FB9B1DB-8727-04A4-188D-33EAEFBB7BAA}"/>
          </ac:spMkLst>
        </pc:spChg>
        <pc:spChg chg="mod">
          <ac:chgData name="Thomas Matthews" userId="6bea4393-92f7-4cf9-9f90-2bad089bf8c1" providerId="ADAL" clId="{51BD3621-0270-4EAF-B6D1-110D2914983B}" dt="2025-10-06T15:25:06.875" v="219"/>
          <ac:spMkLst>
            <pc:docMk/>
            <pc:sldMk cId="4050463464" sldId="267"/>
            <ac:spMk id="3" creationId="{BC620C9C-2579-423E-2DC6-316FDF4F8F28}"/>
          </ac:spMkLst>
        </pc:spChg>
      </pc:sldChg>
      <pc:sldChg chg="modSp add del mod">
        <pc:chgData name="Thomas Matthews" userId="6bea4393-92f7-4cf9-9f90-2bad089bf8c1" providerId="ADAL" clId="{51BD3621-0270-4EAF-B6D1-110D2914983B}" dt="2025-10-06T14:58:34.115" v="124"/>
        <pc:sldMkLst>
          <pc:docMk/>
          <pc:sldMk cId="3797091797" sldId="297"/>
        </pc:sldMkLst>
        <pc:spChg chg="mod">
          <ac:chgData name="Thomas Matthews" userId="6bea4393-92f7-4cf9-9f90-2bad089bf8c1" providerId="ADAL" clId="{51BD3621-0270-4EAF-B6D1-110D2914983B}" dt="2025-10-06T14:58:34.115" v="124"/>
          <ac:spMkLst>
            <pc:docMk/>
            <pc:sldMk cId="3797091797" sldId="297"/>
            <ac:spMk id="6" creationId="{B46A2EB4-4CC1-70D4-BF5D-B7B1CAABF221}"/>
          </ac:spMkLst>
        </pc:spChg>
      </pc:sldChg>
      <pc:sldChg chg="modSp add del mod modShow">
        <pc:chgData name="Thomas Matthews" userId="6bea4393-92f7-4cf9-9f90-2bad089bf8c1" providerId="ADAL" clId="{51BD3621-0270-4EAF-B6D1-110D2914983B}" dt="2025-10-08T16:06:59.383" v="887" actId="47"/>
        <pc:sldMkLst>
          <pc:docMk/>
          <pc:sldMk cId="1680594123" sldId="354"/>
        </pc:sldMkLst>
      </pc:sldChg>
      <pc:sldChg chg="addSp delSp modSp add del mod">
        <pc:chgData name="Thomas Matthews" userId="6bea4393-92f7-4cf9-9f90-2bad089bf8c1" providerId="ADAL" clId="{51BD3621-0270-4EAF-B6D1-110D2914983B}" dt="2025-10-07T09:03:42.673" v="288" actId="47"/>
        <pc:sldMkLst>
          <pc:docMk/>
          <pc:sldMk cId="662599783" sldId="427"/>
        </pc:sldMkLst>
        <pc:spChg chg="mod">
          <ac:chgData name="Thomas Matthews" userId="6bea4393-92f7-4cf9-9f90-2bad089bf8c1" providerId="ADAL" clId="{51BD3621-0270-4EAF-B6D1-110D2914983B}" dt="2025-10-07T08:57:04.602" v="254"/>
          <ac:spMkLst>
            <pc:docMk/>
            <pc:sldMk cId="662599783" sldId="427"/>
            <ac:spMk id="2" creationId="{BF74D745-FEC6-ABD7-5228-7B9C22A05E89}"/>
          </ac:spMkLst>
        </pc:spChg>
        <pc:spChg chg="mod">
          <ac:chgData name="Thomas Matthews" userId="6bea4393-92f7-4cf9-9f90-2bad089bf8c1" providerId="ADAL" clId="{51BD3621-0270-4EAF-B6D1-110D2914983B}" dt="2025-10-07T08:55:12.988" v="247"/>
          <ac:spMkLst>
            <pc:docMk/>
            <pc:sldMk cId="662599783" sldId="427"/>
            <ac:spMk id="3" creationId="{3215675B-687A-5D89-E3A7-C41A29FE2ED2}"/>
          </ac:spMkLst>
        </pc:spChg>
        <pc:spChg chg="mod">
          <ac:chgData name="Thomas Matthews" userId="6bea4393-92f7-4cf9-9f90-2bad089bf8c1" providerId="ADAL" clId="{51BD3621-0270-4EAF-B6D1-110D2914983B}" dt="2025-10-07T08:55:17.753" v="248"/>
          <ac:spMkLst>
            <pc:docMk/>
            <pc:sldMk cId="662599783" sldId="427"/>
            <ac:spMk id="4" creationId="{4EB35BFE-A1C1-B026-FA27-6AB61908D908}"/>
          </ac:spMkLst>
        </pc:spChg>
        <pc:spChg chg="add del mod">
          <ac:chgData name="Thomas Matthews" userId="6bea4393-92f7-4cf9-9f90-2bad089bf8c1" providerId="ADAL" clId="{51BD3621-0270-4EAF-B6D1-110D2914983B}" dt="2025-10-07T08:56:10.492" v="250" actId="478"/>
          <ac:spMkLst>
            <pc:docMk/>
            <pc:sldMk cId="662599783" sldId="427"/>
            <ac:spMk id="7" creationId="{8E098BC7-92BD-ED82-AE01-8C86E6C52E90}"/>
          </ac:spMkLst>
        </pc:spChg>
        <pc:spChg chg="add del mod">
          <ac:chgData name="Thomas Matthews" userId="6bea4393-92f7-4cf9-9f90-2bad089bf8c1" providerId="ADAL" clId="{51BD3621-0270-4EAF-B6D1-110D2914983B}" dt="2025-10-07T08:57:27.681" v="255"/>
          <ac:spMkLst>
            <pc:docMk/>
            <pc:sldMk cId="662599783" sldId="427"/>
            <ac:spMk id="9" creationId="{DA390799-C363-E1CC-4E86-1FC2007A1232}"/>
          </ac:spMkLst>
        </pc:spChg>
        <pc:spChg chg="add mod">
          <ac:chgData name="Thomas Matthews" userId="6bea4393-92f7-4cf9-9f90-2bad089bf8c1" providerId="ADAL" clId="{51BD3621-0270-4EAF-B6D1-110D2914983B}" dt="2025-10-07T08:56:59.259" v="252" actId="478"/>
          <ac:spMkLst>
            <pc:docMk/>
            <pc:sldMk cId="662599783" sldId="427"/>
            <ac:spMk id="11" creationId="{18496283-D6AD-2D2C-C6A5-34E9A561F658}"/>
          </ac:spMkLst>
        </pc:spChg>
        <pc:spChg chg="add del mod">
          <ac:chgData name="Thomas Matthews" userId="6bea4393-92f7-4cf9-9f90-2bad089bf8c1" providerId="ADAL" clId="{51BD3621-0270-4EAF-B6D1-110D2914983B}" dt="2025-10-07T08:57:53.517" v="256"/>
          <ac:spMkLst>
            <pc:docMk/>
            <pc:sldMk cId="662599783" sldId="427"/>
            <ac:spMk id="15" creationId="{4C98BD60-3023-AF2B-9098-25D2194983BB}"/>
          </ac:spMkLst>
        </pc:spChg>
        <pc:graphicFrameChg chg="del">
          <ac:chgData name="Thomas Matthews" userId="6bea4393-92f7-4cf9-9f90-2bad089bf8c1" providerId="ADAL" clId="{51BD3621-0270-4EAF-B6D1-110D2914983B}" dt="2025-10-07T08:56:59.259" v="252" actId="478"/>
          <ac:graphicFrameMkLst>
            <pc:docMk/>
            <pc:sldMk cId="662599783" sldId="427"/>
            <ac:graphicFrameMk id="13" creationId="{65DBDDBB-43B3-45D7-A0A3-EA9589E1F034}"/>
          </ac:graphicFrameMkLst>
        </pc:graphicFrameChg>
        <pc:graphicFrameChg chg="add del">
          <ac:chgData name="Thomas Matthews" userId="6bea4393-92f7-4cf9-9f90-2bad089bf8c1" providerId="ADAL" clId="{51BD3621-0270-4EAF-B6D1-110D2914983B}" dt="2025-10-07T08:56:58.003" v="251" actId="478"/>
          <ac:graphicFrameMkLst>
            <pc:docMk/>
            <pc:sldMk cId="662599783" sldId="427"/>
            <ac:graphicFrameMk id="14" creationId="{213F5B19-BF9F-5027-5DDF-F88E27AFA472}"/>
          </ac:graphicFrameMkLst>
        </pc:graphicFrameChg>
        <pc:graphicFrameChg chg="add mod">
          <ac:chgData name="Thomas Matthews" userId="6bea4393-92f7-4cf9-9f90-2bad089bf8c1" providerId="ADAL" clId="{51BD3621-0270-4EAF-B6D1-110D2914983B}" dt="2025-10-07T08:59:03.122" v="278"/>
          <ac:graphicFrameMkLst>
            <pc:docMk/>
            <pc:sldMk cId="662599783" sldId="427"/>
            <ac:graphicFrameMk id="16" creationId="{CCCB4695-4C96-1923-DADA-41764A1AA349}"/>
          </ac:graphicFrameMkLst>
        </pc:graphicFrameChg>
        <pc:graphicFrameChg chg="add mod">
          <ac:chgData name="Thomas Matthews" userId="6bea4393-92f7-4cf9-9f90-2bad089bf8c1" providerId="ADAL" clId="{51BD3621-0270-4EAF-B6D1-110D2914983B}" dt="2025-10-07T08:57:53.517" v="256"/>
          <ac:graphicFrameMkLst>
            <pc:docMk/>
            <pc:sldMk cId="662599783" sldId="427"/>
            <ac:graphicFrameMk id="17" creationId="{485297F6-CEC6-92A9-7E02-452AE115FA64}"/>
          </ac:graphicFrameMkLst>
        </pc:graphicFrameChg>
        <pc:graphicFrameChg chg="del">
          <ac:chgData name="Thomas Matthews" userId="6bea4393-92f7-4cf9-9f90-2bad089bf8c1" providerId="ADAL" clId="{51BD3621-0270-4EAF-B6D1-110D2914983B}" dt="2025-10-07T08:57:01.040" v="253" actId="478"/>
          <ac:graphicFrameMkLst>
            <pc:docMk/>
            <pc:sldMk cId="662599783" sldId="427"/>
            <ac:graphicFrameMk id="21" creationId="{9AB2B21C-7475-31BA-5D90-39F6A1159363}"/>
          </ac:graphicFrameMkLst>
        </pc:graphicFrameChg>
      </pc:sldChg>
      <pc:sldChg chg="addSp delSp modSp add del mod">
        <pc:chgData name="Thomas Matthews" userId="6bea4393-92f7-4cf9-9f90-2bad089bf8c1" providerId="ADAL" clId="{51BD3621-0270-4EAF-B6D1-110D2914983B}" dt="2025-10-06T15:24:08.038" v="200" actId="47"/>
        <pc:sldMkLst>
          <pc:docMk/>
          <pc:sldMk cId="3719712630" sldId="431"/>
        </pc:sldMkLst>
      </pc:sldChg>
      <pc:sldChg chg="addSp modSp">
        <pc:chgData name="Thomas Matthews" userId="6bea4393-92f7-4cf9-9f90-2bad089bf8c1" providerId="ADAL" clId="{51BD3621-0270-4EAF-B6D1-110D2914983B}" dt="2025-10-08T16:06:53.706" v="886"/>
        <pc:sldMkLst>
          <pc:docMk/>
          <pc:sldMk cId="2171190252" sldId="2146848421"/>
        </pc:sldMkLst>
        <pc:spChg chg="add mod">
          <ac:chgData name="Thomas Matthews" userId="6bea4393-92f7-4cf9-9f90-2bad089bf8c1" providerId="ADAL" clId="{51BD3621-0270-4EAF-B6D1-110D2914983B}" dt="2025-10-08T16:06:53.706" v="886"/>
          <ac:spMkLst>
            <pc:docMk/>
            <pc:sldMk cId="2171190252" sldId="2146848421"/>
            <ac:spMk id="2" creationId="{3644015A-932B-35E8-1E15-367996EB3526}"/>
          </ac:spMkLst>
        </pc:spChg>
        <pc:spChg chg="add mod">
          <ac:chgData name="Thomas Matthews" userId="6bea4393-92f7-4cf9-9f90-2bad089bf8c1" providerId="ADAL" clId="{51BD3621-0270-4EAF-B6D1-110D2914983B}" dt="2025-10-08T16:06:53.706" v="886"/>
          <ac:spMkLst>
            <pc:docMk/>
            <pc:sldMk cId="2171190252" sldId="2146848421"/>
            <ac:spMk id="3" creationId="{A6C1C3DB-9C08-1C9B-FFBC-A6A44576CAF9}"/>
          </ac:spMkLst>
        </pc:spChg>
      </pc:sldChg>
      <pc:sldChg chg="modSp add mod">
        <pc:chgData name="Thomas Matthews" userId="6bea4393-92f7-4cf9-9f90-2bad089bf8c1" providerId="ADAL" clId="{51BD3621-0270-4EAF-B6D1-110D2914983B}" dt="2025-10-06T14:58:39.097" v="125" actId="14100"/>
        <pc:sldMkLst>
          <pc:docMk/>
          <pc:sldMk cId="3379655775" sldId="2147477456"/>
        </pc:sldMkLst>
        <pc:spChg chg="mod">
          <ac:chgData name="Thomas Matthews" userId="6bea4393-92f7-4cf9-9f90-2bad089bf8c1" providerId="ADAL" clId="{51BD3621-0270-4EAF-B6D1-110D2914983B}" dt="2025-10-06T14:52:56.923" v="83" actId="113"/>
          <ac:spMkLst>
            <pc:docMk/>
            <pc:sldMk cId="3379655775" sldId="2147477456"/>
            <ac:spMk id="3" creationId="{97F49B32-FCAC-B1F6-5D61-DEBE37EE1EF1}"/>
          </ac:spMkLst>
        </pc:spChg>
        <pc:spChg chg="mod">
          <ac:chgData name="Thomas Matthews" userId="6bea4393-92f7-4cf9-9f90-2bad089bf8c1" providerId="ADAL" clId="{51BD3621-0270-4EAF-B6D1-110D2914983B}" dt="2025-10-06T14:58:39.097" v="125" actId="14100"/>
          <ac:spMkLst>
            <pc:docMk/>
            <pc:sldMk cId="3379655775" sldId="2147477456"/>
            <ac:spMk id="7" creationId="{EFC21B84-E2DC-6561-C206-6F675969C885}"/>
          </ac:spMkLst>
        </pc:spChg>
      </pc:sldChg>
      <pc:sldChg chg="addSp delSp modSp del mod modClrScheme chgLayout">
        <pc:chgData name="Thomas Matthews" userId="6bea4393-92f7-4cf9-9f90-2bad089bf8c1" providerId="ADAL" clId="{51BD3621-0270-4EAF-B6D1-110D2914983B}" dt="2025-10-06T14:56:15.070" v="98" actId="47"/>
        <pc:sldMkLst>
          <pc:docMk/>
          <pc:sldMk cId="1109731150" sldId="2147479078"/>
        </pc:sldMkLst>
      </pc:sldChg>
      <pc:sldChg chg="modSp del mod">
        <pc:chgData name="Thomas Matthews" userId="6bea4393-92f7-4cf9-9f90-2bad089bf8c1" providerId="ADAL" clId="{51BD3621-0270-4EAF-B6D1-110D2914983B}" dt="2025-10-06T15:02:56.148" v="146" actId="47"/>
        <pc:sldMkLst>
          <pc:docMk/>
          <pc:sldMk cId="1278466156" sldId="2147479079"/>
        </pc:sldMkLst>
      </pc:sldChg>
      <pc:sldChg chg="modSp mod">
        <pc:chgData name="Thomas Matthews" userId="6bea4393-92f7-4cf9-9f90-2bad089bf8c1" providerId="ADAL" clId="{51BD3621-0270-4EAF-B6D1-110D2914983B}" dt="2025-10-06T14:59:08.770" v="132"/>
        <pc:sldMkLst>
          <pc:docMk/>
          <pc:sldMk cId="3145850463" sldId="2147479080"/>
        </pc:sldMkLst>
      </pc:sldChg>
      <pc:sldChg chg="modSp mod">
        <pc:chgData name="Thomas Matthews" userId="6bea4393-92f7-4cf9-9f90-2bad089bf8c1" providerId="ADAL" clId="{51BD3621-0270-4EAF-B6D1-110D2914983B}" dt="2025-10-06T14:59:10.861" v="133"/>
        <pc:sldMkLst>
          <pc:docMk/>
          <pc:sldMk cId="1771982066" sldId="2147479081"/>
        </pc:sldMkLst>
      </pc:sldChg>
      <pc:sldChg chg="new del">
        <pc:chgData name="Thomas Matthews" userId="6bea4393-92f7-4cf9-9f90-2bad089bf8c1" providerId="ADAL" clId="{51BD3621-0270-4EAF-B6D1-110D2914983B}" dt="2025-10-06T14:48:44.290" v="21" actId="47"/>
        <pc:sldMkLst>
          <pc:docMk/>
          <pc:sldMk cId="950819335" sldId="2147479082"/>
        </pc:sldMkLst>
      </pc:sldChg>
      <pc:sldChg chg="add del">
        <pc:chgData name="Thomas Matthews" userId="6bea4393-92f7-4cf9-9f90-2bad089bf8c1" providerId="ADAL" clId="{51BD3621-0270-4EAF-B6D1-110D2914983B}" dt="2025-10-06T14:57:26.721" v="108" actId="47"/>
        <pc:sldMkLst>
          <pc:docMk/>
          <pc:sldMk cId="1220745366" sldId="2147479082"/>
        </pc:sldMkLst>
      </pc:sldChg>
      <pc:sldChg chg="modSp add del mod">
        <pc:chgData name="Thomas Matthews" userId="6bea4393-92f7-4cf9-9f90-2bad089bf8c1" providerId="ADAL" clId="{51BD3621-0270-4EAF-B6D1-110D2914983B}" dt="2025-10-07T08:58:10.760" v="257" actId="47"/>
        <pc:sldMkLst>
          <pc:docMk/>
          <pc:sldMk cId="2625836120" sldId="2147479082"/>
        </pc:sldMkLst>
        <pc:spChg chg="mod">
          <ac:chgData name="Thomas Matthews" userId="6bea4393-92f7-4cf9-9f90-2bad089bf8c1" providerId="ADAL" clId="{51BD3621-0270-4EAF-B6D1-110D2914983B}" dt="2025-10-07T08:32:22.098" v="245" actId="113"/>
          <ac:spMkLst>
            <pc:docMk/>
            <pc:sldMk cId="2625836120" sldId="2147479082"/>
            <ac:spMk id="2" creationId="{931EBF00-2330-D205-F49E-F5953CF4A7B8}"/>
          </ac:spMkLst>
        </pc:spChg>
      </pc:sldChg>
      <pc:sldChg chg="new del">
        <pc:chgData name="Thomas Matthews" userId="6bea4393-92f7-4cf9-9f90-2bad089bf8c1" providerId="ADAL" clId="{51BD3621-0270-4EAF-B6D1-110D2914983B}" dt="2025-10-06T14:56:52.363" v="102" actId="47"/>
        <pc:sldMkLst>
          <pc:docMk/>
          <pc:sldMk cId="3688742742" sldId="2147479082"/>
        </pc:sldMkLst>
      </pc:sldChg>
      <pc:sldChg chg="modSp add mod">
        <pc:chgData name="Thomas Matthews" userId="6bea4393-92f7-4cf9-9f90-2bad089bf8c1" providerId="ADAL" clId="{51BD3621-0270-4EAF-B6D1-110D2914983B}" dt="2025-10-08T12:44:48.134" v="679" actId="1076"/>
        <pc:sldMkLst>
          <pc:docMk/>
          <pc:sldMk cId="2328184831" sldId="2147479083"/>
        </pc:sldMkLst>
        <pc:spChg chg="mod">
          <ac:chgData name="Thomas Matthews" userId="6bea4393-92f7-4cf9-9f90-2bad089bf8c1" providerId="ADAL" clId="{51BD3621-0270-4EAF-B6D1-110D2914983B}" dt="2025-10-07T09:32:38.951" v="359" actId="20577"/>
          <ac:spMkLst>
            <pc:docMk/>
            <pc:sldMk cId="2328184831" sldId="2147479083"/>
            <ac:spMk id="2" creationId="{5E62B82E-5B47-EA8D-87BB-6521F0D69316}"/>
          </ac:spMkLst>
        </pc:spChg>
        <pc:spChg chg="mod">
          <ac:chgData name="Thomas Matthews" userId="6bea4393-92f7-4cf9-9f90-2bad089bf8c1" providerId="ADAL" clId="{51BD3621-0270-4EAF-B6D1-110D2914983B}" dt="2025-10-08T12:44:48.134" v="679" actId="1076"/>
          <ac:spMkLst>
            <pc:docMk/>
            <pc:sldMk cId="2328184831" sldId="2147479083"/>
            <ac:spMk id="20" creationId="{0070AB74-58F9-0CC6-1364-90EDB0C0430E}"/>
          </ac:spMkLst>
        </pc:spChg>
        <pc:graphicFrameChg chg="mod">
          <ac:chgData name="Thomas Matthews" userId="6bea4393-92f7-4cf9-9f90-2bad089bf8c1" providerId="ADAL" clId="{51BD3621-0270-4EAF-B6D1-110D2914983B}" dt="2025-10-08T11:56:16.158" v="615" actId="403"/>
          <ac:graphicFrameMkLst>
            <pc:docMk/>
            <pc:sldMk cId="2328184831" sldId="2147479083"/>
            <ac:graphicFrameMk id="15" creationId="{25C820C9-AE11-885C-F2F4-8C065958863A}"/>
          </ac:graphicFrameMkLst>
        </pc:graphicFrameChg>
        <pc:graphicFrameChg chg="mod">
          <ac:chgData name="Thomas Matthews" userId="6bea4393-92f7-4cf9-9f90-2bad089bf8c1" providerId="ADAL" clId="{51BD3621-0270-4EAF-B6D1-110D2914983B}" dt="2025-10-08T11:56:22.268" v="617" actId="403"/>
          <ac:graphicFrameMkLst>
            <pc:docMk/>
            <pc:sldMk cId="2328184831" sldId="2147479083"/>
            <ac:graphicFrameMk id="19" creationId="{37F26B1A-57C1-90A0-160D-01E04EECEFB9}"/>
          </ac:graphicFrameMkLst>
        </pc:graphicFrameChg>
      </pc:sldChg>
      <pc:sldChg chg="addSp delSp modSp add mod modClrScheme chgLayout">
        <pc:chgData name="Thomas Matthews" userId="6bea4393-92f7-4cf9-9f90-2bad089bf8c1" providerId="ADAL" clId="{51BD3621-0270-4EAF-B6D1-110D2914983B}" dt="2025-10-08T13:51:32.673" v="816" actId="403"/>
        <pc:sldMkLst>
          <pc:docMk/>
          <pc:sldMk cId="442688900" sldId="2147479084"/>
        </pc:sldMkLst>
        <pc:spChg chg="mod ord">
          <ac:chgData name="Thomas Matthews" userId="6bea4393-92f7-4cf9-9f90-2bad089bf8c1" providerId="ADAL" clId="{51BD3621-0270-4EAF-B6D1-110D2914983B}" dt="2025-10-08T12:00:54.692" v="639" actId="14100"/>
          <ac:spMkLst>
            <pc:docMk/>
            <pc:sldMk cId="442688900" sldId="2147479084"/>
            <ac:spMk id="2" creationId="{B3D53C33-8BA7-7653-3FB1-FD0B261B10C6}"/>
          </ac:spMkLst>
        </pc:spChg>
        <pc:spChg chg="mod ord">
          <ac:chgData name="Thomas Matthews" userId="6bea4393-92f7-4cf9-9f90-2bad089bf8c1" providerId="ADAL" clId="{51BD3621-0270-4EAF-B6D1-110D2914983B}" dt="2025-10-08T11:59:57.505" v="625" actId="700"/>
          <ac:spMkLst>
            <pc:docMk/>
            <pc:sldMk cId="442688900" sldId="2147479084"/>
            <ac:spMk id="3" creationId="{F9AAFEC5-E137-132E-81B3-49D7BD5111ED}"/>
          </ac:spMkLst>
        </pc:spChg>
        <pc:spChg chg="mod ord">
          <ac:chgData name="Thomas Matthews" userId="6bea4393-92f7-4cf9-9f90-2bad089bf8c1" providerId="ADAL" clId="{51BD3621-0270-4EAF-B6D1-110D2914983B}" dt="2025-10-08T11:59:57.505" v="625" actId="700"/>
          <ac:spMkLst>
            <pc:docMk/>
            <pc:sldMk cId="442688900" sldId="2147479084"/>
            <ac:spMk id="4" creationId="{D156B6EA-0566-34B9-A2B3-E4DA829918EC}"/>
          </ac:spMkLst>
        </pc:spChg>
        <pc:spChg chg="mod ord">
          <ac:chgData name="Thomas Matthews" userId="6bea4393-92f7-4cf9-9f90-2bad089bf8c1" providerId="ADAL" clId="{51BD3621-0270-4EAF-B6D1-110D2914983B}" dt="2025-10-08T11:59:57.505" v="625" actId="700"/>
          <ac:spMkLst>
            <pc:docMk/>
            <pc:sldMk cId="442688900" sldId="2147479084"/>
            <ac:spMk id="5" creationId="{35A802D4-CCDE-6CBB-4B68-9D8FA7477EE2}"/>
          </ac:spMkLst>
        </pc:spChg>
        <pc:spChg chg="add del mod ord">
          <ac:chgData name="Thomas Matthews" userId="6bea4393-92f7-4cf9-9f90-2bad089bf8c1" providerId="ADAL" clId="{51BD3621-0270-4EAF-B6D1-110D2914983B}" dt="2025-10-08T11:47:12.047" v="605" actId="700"/>
          <ac:spMkLst>
            <pc:docMk/>
            <pc:sldMk cId="442688900" sldId="2147479084"/>
            <ac:spMk id="6" creationId="{476C7B0A-1C93-3382-0D7C-C8D7C332436C}"/>
          </ac:spMkLst>
        </pc:spChg>
        <pc:spChg chg="add del mod">
          <ac:chgData name="Thomas Matthews" userId="6bea4393-92f7-4cf9-9f90-2bad089bf8c1" providerId="ADAL" clId="{51BD3621-0270-4EAF-B6D1-110D2914983B}" dt="2025-10-07T09:02:54.702" v="281" actId="700"/>
          <ac:spMkLst>
            <pc:docMk/>
            <pc:sldMk cId="442688900" sldId="2147479084"/>
            <ac:spMk id="7" creationId="{061A569C-3B95-DB6F-DE35-76C281BDF672}"/>
          </ac:spMkLst>
        </pc:spChg>
        <pc:spChg chg="add del mod ord">
          <ac:chgData name="Thomas Matthews" userId="6bea4393-92f7-4cf9-9f90-2bad089bf8c1" providerId="ADAL" clId="{51BD3621-0270-4EAF-B6D1-110D2914983B}" dt="2025-10-08T12:00:10.209" v="627"/>
          <ac:spMkLst>
            <pc:docMk/>
            <pc:sldMk cId="442688900" sldId="2147479084"/>
            <ac:spMk id="7" creationId="{FB2C45F6-0BE7-509A-4083-8FBB303D8E80}"/>
          </ac:spMkLst>
        </pc:spChg>
        <pc:spChg chg="add del mod ord">
          <ac:chgData name="Thomas Matthews" userId="6bea4393-92f7-4cf9-9f90-2bad089bf8c1" providerId="ADAL" clId="{51BD3621-0270-4EAF-B6D1-110D2914983B}" dt="2025-10-07T09:03:18.487" v="285"/>
          <ac:spMkLst>
            <pc:docMk/>
            <pc:sldMk cId="442688900" sldId="2147479084"/>
            <ac:spMk id="8" creationId="{02EE0CF4-F5BA-6C7F-AE0F-661FEA10D06A}"/>
          </ac:spMkLst>
        </pc:spChg>
        <pc:spChg chg="del mod ord">
          <ac:chgData name="Thomas Matthews" userId="6bea4393-92f7-4cf9-9f90-2bad089bf8c1" providerId="ADAL" clId="{51BD3621-0270-4EAF-B6D1-110D2914983B}" dt="2025-10-07T09:02:54.702" v="281" actId="700"/>
          <ac:spMkLst>
            <pc:docMk/>
            <pc:sldMk cId="442688900" sldId="2147479084"/>
            <ac:spMk id="11" creationId="{A0B621C3-6444-C3C5-233F-AC0431D14A17}"/>
          </ac:spMkLst>
        </pc:spChg>
        <pc:spChg chg="add del mod">
          <ac:chgData name="Thomas Matthews" userId="6bea4393-92f7-4cf9-9f90-2bad089bf8c1" providerId="ADAL" clId="{51BD3621-0270-4EAF-B6D1-110D2914983B}" dt="2025-10-07T13:43:36.760" v="417" actId="478"/>
          <ac:spMkLst>
            <pc:docMk/>
            <pc:sldMk cId="442688900" sldId="2147479084"/>
            <ac:spMk id="12" creationId="{F37F8226-D716-BADA-E2BA-394C373CCA8E}"/>
          </ac:spMkLst>
        </pc:spChg>
        <pc:spChg chg="add del mod">
          <ac:chgData name="Thomas Matthews" userId="6bea4393-92f7-4cf9-9f90-2bad089bf8c1" providerId="ADAL" clId="{51BD3621-0270-4EAF-B6D1-110D2914983B}" dt="2025-10-07T13:43:36.123" v="416" actId="478"/>
          <ac:spMkLst>
            <pc:docMk/>
            <pc:sldMk cId="442688900" sldId="2147479084"/>
            <ac:spMk id="14" creationId="{0D6351B7-5268-D1A5-ECE9-629DC9FB4BD7}"/>
          </ac:spMkLst>
        </pc:spChg>
        <pc:spChg chg="add del mod">
          <ac:chgData name="Thomas Matthews" userId="6bea4393-92f7-4cf9-9f90-2bad089bf8c1" providerId="ADAL" clId="{51BD3621-0270-4EAF-B6D1-110D2914983B}" dt="2025-10-07T13:47:08.940" v="421"/>
          <ac:spMkLst>
            <pc:docMk/>
            <pc:sldMk cId="442688900" sldId="2147479084"/>
            <ac:spMk id="18" creationId="{BDC0275D-EE15-6E13-C1E5-DB0ECCDA0951}"/>
          </ac:spMkLst>
        </pc:spChg>
        <pc:spChg chg="add del mod">
          <ac:chgData name="Thomas Matthews" userId="6bea4393-92f7-4cf9-9f90-2bad089bf8c1" providerId="ADAL" clId="{51BD3621-0270-4EAF-B6D1-110D2914983B}" dt="2025-10-07T13:47:53.825" v="423"/>
          <ac:spMkLst>
            <pc:docMk/>
            <pc:sldMk cId="442688900" sldId="2147479084"/>
            <ac:spMk id="20" creationId="{6926CC88-69A0-02A0-8D99-6539E39944E1}"/>
          </ac:spMkLst>
        </pc:spChg>
        <pc:spChg chg="add del mod">
          <ac:chgData name="Thomas Matthews" userId="6bea4393-92f7-4cf9-9f90-2bad089bf8c1" providerId="ADAL" clId="{51BD3621-0270-4EAF-B6D1-110D2914983B}" dt="2025-10-07T15:18:40.173" v="483" actId="700"/>
          <ac:spMkLst>
            <pc:docMk/>
            <pc:sldMk cId="442688900" sldId="2147479084"/>
            <ac:spMk id="24" creationId="{04D01219-8325-A062-768B-4BDE6D72549E}"/>
          </ac:spMkLst>
        </pc:spChg>
        <pc:graphicFrameChg chg="add mod">
          <ac:chgData name="Thomas Matthews" userId="6bea4393-92f7-4cf9-9f90-2bad089bf8c1" providerId="ADAL" clId="{51BD3621-0270-4EAF-B6D1-110D2914983B}" dt="2025-10-08T12:00:10.209" v="627"/>
          <ac:graphicFrameMkLst>
            <pc:docMk/>
            <pc:sldMk cId="442688900" sldId="2147479084"/>
            <ac:graphicFrameMk id="8" creationId="{5C5C497F-BB9D-5A6D-5392-82A16DA7E2A7}"/>
          </ac:graphicFrameMkLst>
        </pc:graphicFrameChg>
        <pc:graphicFrameChg chg="add del mod">
          <ac:chgData name="Thomas Matthews" userId="6bea4393-92f7-4cf9-9f90-2bad089bf8c1" providerId="ADAL" clId="{51BD3621-0270-4EAF-B6D1-110D2914983B}" dt="2025-10-07T13:43:39.646" v="419" actId="478"/>
          <ac:graphicFrameMkLst>
            <pc:docMk/>
            <pc:sldMk cId="442688900" sldId="2147479084"/>
            <ac:graphicFrameMk id="9" creationId="{213F5B19-BF9F-5027-5DDF-F88E27AFA472}"/>
          </ac:graphicFrameMkLst>
        </pc:graphicFrameChg>
        <pc:graphicFrameChg chg="add del mod ord">
          <ac:chgData name="Thomas Matthews" userId="6bea4393-92f7-4cf9-9f90-2bad089bf8c1" providerId="ADAL" clId="{51BD3621-0270-4EAF-B6D1-110D2914983B}" dt="2025-10-07T13:43:38.442" v="418" actId="478"/>
          <ac:graphicFrameMkLst>
            <pc:docMk/>
            <pc:sldMk cId="442688900" sldId="2147479084"/>
            <ac:graphicFrameMk id="16" creationId="{62CC6DEA-FEF0-A46B-0DD1-E38F91ACC17F}"/>
          </ac:graphicFrameMkLst>
        </pc:graphicFrameChg>
        <pc:graphicFrameChg chg="del">
          <ac:chgData name="Thomas Matthews" userId="6bea4393-92f7-4cf9-9f90-2bad089bf8c1" providerId="ADAL" clId="{51BD3621-0270-4EAF-B6D1-110D2914983B}" dt="2025-10-07T09:02:45.409" v="280" actId="478"/>
          <ac:graphicFrameMkLst>
            <pc:docMk/>
            <pc:sldMk cId="442688900" sldId="2147479084"/>
            <ac:graphicFrameMk id="17" creationId="{C35CD383-E474-A0D9-B9B9-766883D03DD1}"/>
          </ac:graphicFrameMkLst>
        </pc:graphicFrameChg>
        <pc:graphicFrameChg chg="add mod ord">
          <ac:chgData name="Thomas Matthews" userId="6bea4393-92f7-4cf9-9f90-2bad089bf8c1" providerId="ADAL" clId="{51BD3621-0270-4EAF-B6D1-110D2914983B}" dt="2025-10-08T13:51:32.673" v="816" actId="403"/>
          <ac:graphicFrameMkLst>
            <pc:docMk/>
            <pc:sldMk cId="442688900" sldId="2147479084"/>
            <ac:graphicFrameMk id="21" creationId="{1BAD8B28-F1BF-3AAC-1CC3-78A071A6463A}"/>
          </ac:graphicFrameMkLst>
        </pc:graphicFrameChg>
        <pc:graphicFrameChg chg="add del mod">
          <ac:chgData name="Thomas Matthews" userId="6bea4393-92f7-4cf9-9f90-2bad089bf8c1" providerId="ADAL" clId="{51BD3621-0270-4EAF-B6D1-110D2914983B}" dt="2025-10-07T15:18:36.921" v="482" actId="478"/>
          <ac:graphicFrameMkLst>
            <pc:docMk/>
            <pc:sldMk cId="442688900" sldId="2147479084"/>
            <ac:graphicFrameMk id="22" creationId="{79B236F5-763A-C139-7FED-6564C636F34F}"/>
          </ac:graphicFrameMkLst>
        </pc:graphicFrameChg>
      </pc:sldChg>
      <pc:sldChg chg="addSp delSp modSp add del mod ord">
        <pc:chgData name="Thomas Matthews" userId="6bea4393-92f7-4cf9-9f90-2bad089bf8c1" providerId="ADAL" clId="{51BD3621-0270-4EAF-B6D1-110D2914983B}" dt="2025-10-08T12:12:45.787" v="673" actId="47"/>
        <pc:sldMkLst>
          <pc:docMk/>
          <pc:sldMk cId="89156051" sldId="2147479085"/>
        </pc:sldMkLst>
        <pc:spChg chg="mod">
          <ac:chgData name="Thomas Matthews" userId="6bea4393-92f7-4cf9-9f90-2bad089bf8c1" providerId="ADAL" clId="{51BD3621-0270-4EAF-B6D1-110D2914983B}" dt="2025-10-07T13:53:47.021" v="433" actId="20577"/>
          <ac:spMkLst>
            <pc:docMk/>
            <pc:sldMk cId="89156051" sldId="2147479085"/>
            <ac:spMk id="2" creationId="{3C8A164E-93AF-9D19-7DBD-7A3B505080C6}"/>
          </ac:spMkLst>
        </pc:spChg>
        <pc:spChg chg="add del mod">
          <ac:chgData name="Thomas Matthews" userId="6bea4393-92f7-4cf9-9f90-2bad089bf8c1" providerId="ADAL" clId="{51BD3621-0270-4EAF-B6D1-110D2914983B}" dt="2025-10-07T14:04:57.421" v="456"/>
          <ac:spMkLst>
            <pc:docMk/>
            <pc:sldMk cId="89156051" sldId="2147479085"/>
            <ac:spMk id="7" creationId="{0E881930-5E10-AB73-6767-2EBC0148BD88}"/>
          </ac:spMkLst>
        </pc:spChg>
        <pc:spChg chg="add del mod">
          <ac:chgData name="Thomas Matthews" userId="6bea4393-92f7-4cf9-9f90-2bad089bf8c1" providerId="ADAL" clId="{51BD3621-0270-4EAF-B6D1-110D2914983B}" dt="2025-10-07T15:37:15.961" v="544"/>
          <ac:spMkLst>
            <pc:docMk/>
            <pc:sldMk cId="89156051" sldId="2147479085"/>
            <ac:spMk id="9" creationId="{1CE25F05-823D-7A52-3283-23125015AE0F}"/>
          </ac:spMkLst>
        </pc:spChg>
        <pc:spChg chg="add del mod">
          <ac:chgData name="Thomas Matthews" userId="6bea4393-92f7-4cf9-9f90-2bad089bf8c1" providerId="ADAL" clId="{51BD3621-0270-4EAF-B6D1-110D2914983B}" dt="2025-10-07T16:52:29.267" v="564"/>
          <ac:spMkLst>
            <pc:docMk/>
            <pc:sldMk cId="89156051" sldId="2147479085"/>
            <ac:spMk id="14" creationId="{60BEF6F9-CF11-25BC-7DA4-B03F5C2FA892}"/>
          </ac:spMkLst>
        </pc:spChg>
        <pc:spChg chg="add del mod">
          <ac:chgData name="Thomas Matthews" userId="6bea4393-92f7-4cf9-9f90-2bad089bf8c1" providerId="ADAL" clId="{51BD3621-0270-4EAF-B6D1-110D2914983B}" dt="2025-10-07T17:09:26.563" v="570"/>
          <ac:spMkLst>
            <pc:docMk/>
            <pc:sldMk cId="89156051" sldId="2147479085"/>
            <ac:spMk id="17" creationId="{82639E1D-CC1D-7EAC-6561-FB030BBB6A17}"/>
          </ac:spMkLst>
        </pc:spChg>
        <pc:graphicFrameChg chg="add mod">
          <ac:chgData name="Thomas Matthews" userId="6bea4393-92f7-4cf9-9f90-2bad089bf8c1" providerId="ADAL" clId="{51BD3621-0270-4EAF-B6D1-110D2914983B}" dt="2025-10-07T13:59:05.450" v="452"/>
          <ac:graphicFrameMkLst>
            <pc:docMk/>
            <pc:sldMk cId="89156051" sldId="2147479085"/>
            <ac:graphicFrameMk id="10" creationId="{F188488C-ECF2-E0FE-D634-72F1C33CF5E0}"/>
          </ac:graphicFrameMkLst>
        </pc:graphicFrameChg>
        <pc:graphicFrameChg chg="add del mod">
          <ac:chgData name="Thomas Matthews" userId="6bea4393-92f7-4cf9-9f90-2bad089bf8c1" providerId="ADAL" clId="{51BD3621-0270-4EAF-B6D1-110D2914983B}" dt="2025-10-07T15:37:59.842" v="546" actId="478"/>
          <ac:graphicFrameMkLst>
            <pc:docMk/>
            <pc:sldMk cId="89156051" sldId="2147479085"/>
            <ac:graphicFrameMk id="11" creationId="{B54B4040-0252-4F71-9381-331DAAA10B63}"/>
          </ac:graphicFrameMkLst>
        </pc:graphicFrameChg>
        <pc:graphicFrameChg chg="add mod">
          <ac:chgData name="Thomas Matthews" userId="6bea4393-92f7-4cf9-9f90-2bad089bf8c1" providerId="ADAL" clId="{51BD3621-0270-4EAF-B6D1-110D2914983B}" dt="2025-10-08T11:55:57.114" v="611" actId="403"/>
          <ac:graphicFrameMkLst>
            <pc:docMk/>
            <pc:sldMk cId="89156051" sldId="2147479085"/>
            <ac:graphicFrameMk id="12" creationId="{8024CF5A-CA8B-5165-49AF-7FDBAABE1CD9}"/>
          </ac:graphicFrameMkLst>
        </pc:graphicFrameChg>
        <pc:graphicFrameChg chg="add del mod">
          <ac:chgData name="Thomas Matthews" userId="6bea4393-92f7-4cf9-9f90-2bad089bf8c1" providerId="ADAL" clId="{51BD3621-0270-4EAF-B6D1-110D2914983B}" dt="2025-10-07T17:09:25.390" v="568" actId="478"/>
          <ac:graphicFrameMkLst>
            <pc:docMk/>
            <pc:sldMk cId="89156051" sldId="2147479085"/>
            <ac:graphicFrameMk id="15" creationId="{C1E94EB1-9EBE-BEC4-847B-5E6A7C0F1354}"/>
          </ac:graphicFrameMkLst>
        </pc:graphicFrameChg>
        <pc:graphicFrameChg chg="add mod">
          <ac:chgData name="Thomas Matthews" userId="6bea4393-92f7-4cf9-9f90-2bad089bf8c1" providerId="ADAL" clId="{51BD3621-0270-4EAF-B6D1-110D2914983B}" dt="2025-10-08T11:56:01.753" v="613" actId="403"/>
          <ac:graphicFrameMkLst>
            <pc:docMk/>
            <pc:sldMk cId="89156051" sldId="2147479085"/>
            <ac:graphicFrameMk id="18" creationId="{D8157394-2507-646C-96A1-1B50CD02F8D3}"/>
          </ac:graphicFrameMkLst>
        </pc:graphicFrameChg>
        <pc:graphicFrameChg chg="del">
          <ac:chgData name="Thomas Matthews" userId="6bea4393-92f7-4cf9-9f90-2bad089bf8c1" providerId="ADAL" clId="{51BD3621-0270-4EAF-B6D1-110D2914983B}" dt="2025-10-07T13:53:48.716" v="434" actId="478"/>
          <ac:graphicFrameMkLst>
            <pc:docMk/>
            <pc:sldMk cId="89156051" sldId="2147479085"/>
            <ac:graphicFrameMk id="21" creationId="{6BD56413-F9CD-8962-C7BA-DB06CD78FEE9}"/>
          </ac:graphicFrameMkLst>
        </pc:graphicFrameChg>
        <pc:graphicFrameChg chg="add del">
          <ac:chgData name="Thomas Matthews" userId="6bea4393-92f7-4cf9-9f90-2bad089bf8c1" providerId="ADAL" clId="{51BD3621-0270-4EAF-B6D1-110D2914983B}" dt="2025-10-07T13:59:07.334" v="454" actId="478"/>
          <ac:graphicFrameMkLst>
            <pc:docMk/>
            <pc:sldMk cId="89156051" sldId="2147479085"/>
            <ac:graphicFrameMk id="22" creationId="{D622FFC0-0CFD-144A-E7E1-B5DC48D6531E}"/>
          </ac:graphicFrameMkLst>
        </pc:graphicFrameChg>
      </pc:sldChg>
      <pc:sldChg chg="addSp delSp modSp add mod">
        <pc:chgData name="Thomas Matthews" userId="6bea4393-92f7-4cf9-9f90-2bad089bf8c1" providerId="ADAL" clId="{51BD3621-0270-4EAF-B6D1-110D2914983B}" dt="2025-10-08T12:59:43.189" v="708" actId="20577"/>
        <pc:sldMkLst>
          <pc:docMk/>
          <pc:sldMk cId="1668898514" sldId="2147479086"/>
        </pc:sldMkLst>
        <pc:spChg chg="mod">
          <ac:chgData name="Thomas Matthews" userId="6bea4393-92f7-4cf9-9f90-2bad089bf8c1" providerId="ADAL" clId="{51BD3621-0270-4EAF-B6D1-110D2914983B}" dt="2025-10-08T12:59:43.189" v="708" actId="20577"/>
          <ac:spMkLst>
            <pc:docMk/>
            <pc:sldMk cId="1668898514" sldId="2147479086"/>
            <ac:spMk id="2" creationId="{E06F6A3E-E07A-06AC-6178-328FBC7E3144}"/>
          </ac:spMkLst>
        </pc:spChg>
        <pc:spChg chg="add del mod">
          <ac:chgData name="Thomas Matthews" userId="6bea4393-92f7-4cf9-9f90-2bad089bf8c1" providerId="ADAL" clId="{51BD3621-0270-4EAF-B6D1-110D2914983B}" dt="2025-10-07T16:50:43.081" v="560"/>
          <ac:spMkLst>
            <pc:docMk/>
            <pc:sldMk cId="1668898514" sldId="2147479086"/>
            <ac:spMk id="7" creationId="{C08FD34D-5236-49ED-74CE-8A55139BF0E6}"/>
          </ac:spMkLst>
        </pc:spChg>
        <pc:spChg chg="add del mod">
          <ac:chgData name="Thomas Matthews" userId="6bea4393-92f7-4cf9-9f90-2bad089bf8c1" providerId="ADAL" clId="{51BD3621-0270-4EAF-B6D1-110D2914983B}" dt="2025-10-08T12:51:47.789" v="681"/>
          <ac:spMkLst>
            <pc:docMk/>
            <pc:sldMk cId="1668898514" sldId="2147479086"/>
            <ac:spMk id="7" creationId="{E383D511-C57F-E434-70B4-9F4F8CD809E8}"/>
          </ac:spMkLst>
        </pc:spChg>
        <pc:spChg chg="del">
          <ac:chgData name="Thomas Matthews" userId="6bea4393-92f7-4cf9-9f90-2bad089bf8c1" providerId="ADAL" clId="{51BD3621-0270-4EAF-B6D1-110D2914983B}" dt="2025-10-07T16:38:41.397" v="548"/>
          <ac:spMkLst>
            <pc:docMk/>
            <pc:sldMk cId="1668898514" sldId="2147479086"/>
            <ac:spMk id="9" creationId="{B60BD28C-52AB-8409-058D-568A30706AC5}"/>
          </ac:spMkLst>
        </pc:spChg>
        <pc:spChg chg="add del mod">
          <ac:chgData name="Thomas Matthews" userId="6bea4393-92f7-4cf9-9f90-2bad089bf8c1" providerId="ADAL" clId="{51BD3621-0270-4EAF-B6D1-110D2914983B}" dt="2025-10-07T16:38:54.579" v="551"/>
          <ac:spMkLst>
            <pc:docMk/>
            <pc:sldMk cId="1668898514" sldId="2147479086"/>
            <ac:spMk id="12" creationId="{2687E7D7-95FB-5681-73B9-119303668184}"/>
          </ac:spMkLst>
        </pc:spChg>
        <pc:graphicFrameChg chg="add mod">
          <ac:chgData name="Thomas Matthews" userId="6bea4393-92f7-4cf9-9f90-2bad089bf8c1" providerId="ADAL" clId="{51BD3621-0270-4EAF-B6D1-110D2914983B}" dt="2025-10-08T12:53:36.377" v="688" actId="403"/>
          <ac:graphicFrameMkLst>
            <pc:docMk/>
            <pc:sldMk cId="1668898514" sldId="2147479086"/>
            <ac:graphicFrameMk id="8" creationId="{D5CD4CF0-D234-43BC-A782-9C45B36B7466}"/>
          </ac:graphicFrameMkLst>
        </pc:graphicFrameChg>
        <pc:graphicFrameChg chg="add del mod">
          <ac:chgData name="Thomas Matthews" userId="6bea4393-92f7-4cf9-9f90-2bad089bf8c1" providerId="ADAL" clId="{51BD3621-0270-4EAF-B6D1-110D2914983B}" dt="2025-10-07T16:38:53.500" v="549" actId="478"/>
          <ac:graphicFrameMkLst>
            <pc:docMk/>
            <pc:sldMk cId="1668898514" sldId="2147479086"/>
            <ac:graphicFrameMk id="8" creationId="{FB4870BE-1C6C-43BC-86BE-D5CCAA4F9EA9}"/>
          </ac:graphicFrameMkLst>
        </pc:graphicFrameChg>
        <pc:graphicFrameChg chg="del">
          <ac:chgData name="Thomas Matthews" userId="6bea4393-92f7-4cf9-9f90-2bad089bf8c1" providerId="ADAL" clId="{51BD3621-0270-4EAF-B6D1-110D2914983B}" dt="2025-10-07T14:06:12.110" v="480" actId="478"/>
          <ac:graphicFrameMkLst>
            <pc:docMk/>
            <pc:sldMk cId="1668898514" sldId="2147479086"/>
            <ac:graphicFrameMk id="11" creationId="{1B612953-C080-5ACF-0006-0AB75220007E}"/>
          </ac:graphicFrameMkLst>
        </pc:graphicFrameChg>
        <pc:graphicFrameChg chg="add mod">
          <ac:chgData name="Thomas Matthews" userId="6bea4393-92f7-4cf9-9f90-2bad089bf8c1" providerId="ADAL" clId="{51BD3621-0270-4EAF-B6D1-110D2914983B}" dt="2025-10-08T12:54:45.534" v="693"/>
          <ac:graphicFrameMkLst>
            <pc:docMk/>
            <pc:sldMk cId="1668898514" sldId="2147479086"/>
            <ac:graphicFrameMk id="13" creationId="{FB4870BE-1C6C-43BC-86BE-D5CCAA4F9EA9}"/>
          </ac:graphicFrameMkLst>
        </pc:graphicFrameChg>
        <pc:graphicFrameChg chg="add del mod">
          <ac:chgData name="Thomas Matthews" userId="6bea4393-92f7-4cf9-9f90-2bad089bf8c1" providerId="ADAL" clId="{51BD3621-0270-4EAF-B6D1-110D2914983B}" dt="2025-10-08T12:12:31.504" v="642" actId="478"/>
          <ac:graphicFrameMkLst>
            <pc:docMk/>
            <pc:sldMk cId="1668898514" sldId="2147479086"/>
            <ac:graphicFrameMk id="14" creationId="{F96BF990-2507-6B67-014F-7B2EEB717E25}"/>
          </ac:graphicFrameMkLst>
        </pc:graphicFrameChg>
      </pc:sldChg>
      <pc:sldChg chg="add del">
        <pc:chgData name="Thomas Matthews" userId="6bea4393-92f7-4cf9-9f90-2bad089bf8c1" providerId="ADAL" clId="{51BD3621-0270-4EAF-B6D1-110D2914983B}" dt="2025-10-07T16:52:31.173" v="565" actId="47"/>
        <pc:sldMkLst>
          <pc:docMk/>
          <pc:sldMk cId="2072347227" sldId="2147479087"/>
        </pc:sldMkLst>
      </pc:sldChg>
      <pc:sldChg chg="addSp delSp modSp add mod ord">
        <pc:chgData name="Thomas Matthews" userId="6bea4393-92f7-4cf9-9f90-2bad089bf8c1" providerId="ADAL" clId="{51BD3621-0270-4EAF-B6D1-110D2914983B}" dt="2025-10-08T16:15:54.814" v="890"/>
        <pc:sldMkLst>
          <pc:docMk/>
          <pc:sldMk cId="2706356881" sldId="2147479087"/>
        </pc:sldMkLst>
        <pc:spChg chg="mod">
          <ac:chgData name="Thomas Matthews" userId="6bea4393-92f7-4cf9-9f90-2bad089bf8c1" providerId="ADAL" clId="{51BD3621-0270-4EAF-B6D1-110D2914983B}" dt="2025-10-08T14:49:14.510" v="856" actId="20577"/>
          <ac:spMkLst>
            <pc:docMk/>
            <pc:sldMk cId="2706356881" sldId="2147479087"/>
            <ac:spMk id="2" creationId="{4AA2485F-88DB-FE06-1A84-491A65348E0D}"/>
          </ac:spMkLst>
        </pc:spChg>
        <pc:spChg chg="add del mod">
          <ac:chgData name="Thomas Matthews" userId="6bea4393-92f7-4cf9-9f90-2bad089bf8c1" providerId="ADAL" clId="{51BD3621-0270-4EAF-B6D1-110D2914983B}" dt="2025-10-07T17:13:32.553" v="581"/>
          <ac:spMkLst>
            <pc:docMk/>
            <pc:sldMk cId="2706356881" sldId="2147479087"/>
            <ac:spMk id="7" creationId="{7923B217-4ED5-1F80-60F2-2EA56AC8E787}"/>
          </ac:spMkLst>
        </pc:spChg>
        <pc:spChg chg="add del mod">
          <ac:chgData name="Thomas Matthews" userId="6bea4393-92f7-4cf9-9f90-2bad089bf8c1" providerId="ADAL" clId="{51BD3621-0270-4EAF-B6D1-110D2914983B}" dt="2025-10-08T13:12:09.955" v="711"/>
          <ac:spMkLst>
            <pc:docMk/>
            <pc:sldMk cId="2706356881" sldId="2147479087"/>
            <ac:spMk id="7" creationId="{D3266FC8-B760-9056-7000-0255E9A22BFD}"/>
          </ac:spMkLst>
        </pc:spChg>
        <pc:spChg chg="add del mod">
          <ac:chgData name="Thomas Matthews" userId="6bea4393-92f7-4cf9-9f90-2bad089bf8c1" providerId="ADAL" clId="{51BD3621-0270-4EAF-B6D1-110D2914983B}" dt="2025-10-08T13:16:15.797" v="736"/>
          <ac:spMkLst>
            <pc:docMk/>
            <pc:sldMk cId="2706356881" sldId="2147479087"/>
            <ac:spMk id="10" creationId="{9D80BFEE-13EB-3022-FE81-1615D999A055}"/>
          </ac:spMkLst>
        </pc:spChg>
        <pc:spChg chg="add del mod">
          <ac:chgData name="Thomas Matthews" userId="6bea4393-92f7-4cf9-9f90-2bad089bf8c1" providerId="ADAL" clId="{51BD3621-0270-4EAF-B6D1-110D2914983B}" dt="2025-10-07T17:16:28.568" v="592"/>
          <ac:spMkLst>
            <pc:docMk/>
            <pc:sldMk cId="2706356881" sldId="2147479087"/>
            <ac:spMk id="10" creationId="{EEE49E32-D0F6-8296-574E-30CFF2E0D039}"/>
          </ac:spMkLst>
        </pc:spChg>
        <pc:spChg chg="add del mod">
          <ac:chgData name="Thomas Matthews" userId="6bea4393-92f7-4cf9-9f90-2bad089bf8c1" providerId="ADAL" clId="{51BD3621-0270-4EAF-B6D1-110D2914983B}" dt="2025-10-08T13:27:59.294" v="750"/>
          <ac:spMkLst>
            <pc:docMk/>
            <pc:sldMk cId="2706356881" sldId="2147479087"/>
            <ac:spMk id="15" creationId="{B66ED130-4C3A-87C6-DABF-86CE22B66286}"/>
          </ac:spMkLst>
        </pc:spChg>
        <pc:graphicFrameChg chg="add del mod">
          <ac:chgData name="Thomas Matthews" userId="6bea4393-92f7-4cf9-9f90-2bad089bf8c1" providerId="ADAL" clId="{51BD3621-0270-4EAF-B6D1-110D2914983B}" dt="2025-10-08T12:13:47.667" v="678" actId="478"/>
          <ac:graphicFrameMkLst>
            <pc:docMk/>
            <pc:sldMk cId="2706356881" sldId="2147479087"/>
            <ac:graphicFrameMk id="8" creationId="{482C261C-1B6C-4F75-BD0D-A61E9F6180FE}"/>
          </ac:graphicFrameMkLst>
        </pc:graphicFrameChg>
        <pc:graphicFrameChg chg="add mod">
          <ac:chgData name="Thomas Matthews" userId="6bea4393-92f7-4cf9-9f90-2bad089bf8c1" providerId="ADAL" clId="{51BD3621-0270-4EAF-B6D1-110D2914983B}" dt="2025-10-07T17:16:00.705" v="589"/>
          <ac:graphicFrameMkLst>
            <pc:docMk/>
            <pc:sldMk cId="2706356881" sldId="2147479087"/>
            <ac:graphicFrameMk id="11" creationId="{91B9B2D6-8AB5-1C19-6EE6-EF5D684DE7B1}"/>
          </ac:graphicFrameMkLst>
        </pc:graphicFrameChg>
        <pc:graphicFrameChg chg="add mod">
          <ac:chgData name="Thomas Matthews" userId="6bea4393-92f7-4cf9-9f90-2bad089bf8c1" providerId="ADAL" clId="{51BD3621-0270-4EAF-B6D1-110D2914983B}" dt="2025-10-08T13:29:08.010" v="759" actId="2085"/>
          <ac:graphicFrameMkLst>
            <pc:docMk/>
            <pc:sldMk cId="2706356881" sldId="2147479087"/>
            <ac:graphicFrameMk id="11" creationId="{E366BB77-4205-4E91-8E7F-D850476C0E8F}"/>
          </ac:graphicFrameMkLst>
        </pc:graphicFrameChg>
        <pc:graphicFrameChg chg="add del mod">
          <ac:chgData name="Thomas Matthews" userId="6bea4393-92f7-4cf9-9f90-2bad089bf8c1" providerId="ADAL" clId="{51BD3621-0270-4EAF-B6D1-110D2914983B}" dt="2025-10-08T13:11:55.826" v="709" actId="478"/>
          <ac:graphicFrameMkLst>
            <pc:docMk/>
            <pc:sldMk cId="2706356881" sldId="2147479087"/>
            <ac:graphicFrameMk id="12" creationId="{6A48A304-50BD-436F-8B4F-C06C3D44E04A}"/>
          </ac:graphicFrameMkLst>
        </pc:graphicFrameChg>
        <pc:graphicFrameChg chg="add del mod">
          <ac:chgData name="Thomas Matthews" userId="6bea4393-92f7-4cf9-9f90-2bad089bf8c1" providerId="ADAL" clId="{51BD3621-0270-4EAF-B6D1-110D2914983B}" dt="2025-10-08T13:23:09.757" v="739" actId="478"/>
          <ac:graphicFrameMkLst>
            <pc:docMk/>
            <pc:sldMk cId="2706356881" sldId="2147479087"/>
            <ac:graphicFrameMk id="13" creationId="{0B8FA78C-D6D8-539D-93A2-9388A26FEF1E}"/>
          </ac:graphicFrameMkLst>
        </pc:graphicFrameChg>
        <pc:graphicFrameChg chg="del">
          <ac:chgData name="Thomas Matthews" userId="6bea4393-92f7-4cf9-9f90-2bad089bf8c1" providerId="ADAL" clId="{51BD3621-0270-4EAF-B6D1-110D2914983B}" dt="2025-10-07T17:13:51.186" v="587" actId="478"/>
          <ac:graphicFrameMkLst>
            <pc:docMk/>
            <pc:sldMk cId="2706356881" sldId="2147479087"/>
            <ac:graphicFrameMk id="13" creationId="{A695F636-F233-7DE4-4343-37495BF91509}"/>
          </ac:graphicFrameMkLst>
        </pc:graphicFrameChg>
        <pc:graphicFrameChg chg="del">
          <ac:chgData name="Thomas Matthews" userId="6bea4393-92f7-4cf9-9f90-2bad089bf8c1" providerId="ADAL" clId="{51BD3621-0270-4EAF-B6D1-110D2914983B}" dt="2025-10-07T17:12:12.012" v="579" actId="478"/>
          <ac:graphicFrameMkLst>
            <pc:docMk/>
            <pc:sldMk cId="2706356881" sldId="2147479087"/>
            <ac:graphicFrameMk id="14" creationId="{A700E53E-DD32-C8DE-7885-55705B6C7027}"/>
          </ac:graphicFrameMkLst>
        </pc:graphicFrameChg>
        <pc:graphicFrameChg chg="add mod">
          <ac:chgData name="Thomas Matthews" userId="6bea4393-92f7-4cf9-9f90-2bad089bf8c1" providerId="ADAL" clId="{51BD3621-0270-4EAF-B6D1-110D2914983B}" dt="2025-10-08T13:31:23.587" v="813" actId="403"/>
          <ac:graphicFrameMkLst>
            <pc:docMk/>
            <pc:sldMk cId="2706356881" sldId="2147479087"/>
            <ac:graphicFrameMk id="16" creationId="{B18B85BA-8C44-B2C9-8B12-13D25D2CCABB}"/>
          </ac:graphicFrameMkLst>
        </pc:graphicFrameChg>
      </pc:sldChg>
      <pc:sldChg chg="addSp delSp modSp add del mod">
        <pc:chgData name="Thomas Matthews" userId="6bea4393-92f7-4cf9-9f90-2bad089bf8c1" providerId="ADAL" clId="{51BD3621-0270-4EAF-B6D1-110D2914983B}" dt="2025-10-08T12:13:33.863" v="677" actId="47"/>
        <pc:sldMkLst>
          <pc:docMk/>
          <pc:sldMk cId="3476876094" sldId="2147479088"/>
        </pc:sldMkLst>
        <pc:spChg chg="add del mod">
          <ac:chgData name="Thomas Matthews" userId="6bea4393-92f7-4cf9-9f90-2bad089bf8c1" providerId="ADAL" clId="{51BD3621-0270-4EAF-B6D1-110D2914983B}" dt="2025-10-07T17:18:04.431" v="599"/>
          <ac:spMkLst>
            <pc:docMk/>
            <pc:sldMk cId="3476876094" sldId="2147479088"/>
            <ac:spMk id="7" creationId="{80A34E64-48CC-DFEB-63C8-64128F9930CA}"/>
          </ac:spMkLst>
        </pc:spChg>
        <pc:spChg chg="add mod">
          <ac:chgData name="Thomas Matthews" userId="6bea4393-92f7-4cf9-9f90-2bad089bf8c1" providerId="ADAL" clId="{51BD3621-0270-4EAF-B6D1-110D2914983B}" dt="2025-10-07T17:17:38.209" v="597" actId="478"/>
          <ac:spMkLst>
            <pc:docMk/>
            <pc:sldMk cId="3476876094" sldId="2147479088"/>
            <ac:spMk id="10" creationId="{A7432DEA-3522-62DD-0E36-6C7BB91A6292}"/>
          </ac:spMkLst>
        </pc:spChg>
        <pc:graphicFrameChg chg="del">
          <ac:chgData name="Thomas Matthews" userId="6bea4393-92f7-4cf9-9f90-2bad089bf8c1" providerId="ADAL" clId="{51BD3621-0270-4EAF-B6D1-110D2914983B}" dt="2025-10-07T17:17:36.215" v="596" actId="478"/>
          <ac:graphicFrameMkLst>
            <pc:docMk/>
            <pc:sldMk cId="3476876094" sldId="2147479088"/>
            <ac:graphicFrameMk id="8" creationId="{97B22812-3E7B-8DE2-92DF-B5B89F6D456C}"/>
          </ac:graphicFrameMkLst>
        </pc:graphicFrameChg>
        <pc:graphicFrameChg chg="add mod">
          <ac:chgData name="Thomas Matthews" userId="6bea4393-92f7-4cf9-9f90-2bad089bf8c1" providerId="ADAL" clId="{51BD3621-0270-4EAF-B6D1-110D2914983B}" dt="2025-10-07T17:18:04.431" v="599"/>
          <ac:graphicFrameMkLst>
            <pc:docMk/>
            <pc:sldMk cId="3476876094" sldId="2147479088"/>
            <ac:graphicFrameMk id="11" creationId="{57A77B17-2CF0-5E86-C46B-6A2DD00C76EB}"/>
          </ac:graphicFrameMkLst>
        </pc:graphicFrameChg>
        <pc:graphicFrameChg chg="del">
          <ac:chgData name="Thomas Matthews" userId="6bea4393-92f7-4cf9-9f90-2bad089bf8c1" providerId="ADAL" clId="{51BD3621-0270-4EAF-B6D1-110D2914983B}" dt="2025-10-07T17:17:38.209" v="597" actId="478"/>
          <ac:graphicFrameMkLst>
            <pc:docMk/>
            <pc:sldMk cId="3476876094" sldId="2147479088"/>
            <ac:graphicFrameMk id="12" creationId="{0C32AC27-A9D3-167A-8DD0-F5C0CE2DDD5B}"/>
          </ac:graphicFrameMkLst>
        </pc:graphicFrameChg>
      </pc:sldChg>
      <pc:sldChg chg="modSp add mod">
        <pc:chgData name="Thomas Matthews" userId="6bea4393-92f7-4cf9-9f90-2bad089bf8c1" providerId="ADAL" clId="{51BD3621-0270-4EAF-B6D1-110D2914983B}" dt="2025-10-08T16:06:26.316" v="885" actId="20577"/>
        <pc:sldMkLst>
          <pc:docMk/>
          <pc:sldMk cId="151396835" sldId="2147479091"/>
        </pc:sldMkLst>
        <pc:spChg chg="mod">
          <ac:chgData name="Thomas Matthews" userId="6bea4393-92f7-4cf9-9f90-2bad089bf8c1" providerId="ADAL" clId="{51BD3621-0270-4EAF-B6D1-110D2914983B}" dt="2025-10-08T16:06:26.316" v="885" actId="20577"/>
          <ac:spMkLst>
            <pc:docMk/>
            <pc:sldMk cId="151396835" sldId="2147479091"/>
            <ac:spMk id="2" creationId="{FA59F079-63A3-8F22-49EA-8C44E78DA7DC}"/>
          </ac:spMkLst>
        </pc:spChg>
      </pc:sldChg>
      <pc:sldChg chg="modSp new add del mod">
        <pc:chgData name="Thomas Matthews" userId="6bea4393-92f7-4cf9-9f90-2bad089bf8c1" providerId="ADAL" clId="{51BD3621-0270-4EAF-B6D1-110D2914983B}" dt="2025-10-08T13:24:28.372" v="746" actId="47"/>
        <pc:sldMkLst>
          <pc:docMk/>
          <pc:sldMk cId="707013464" sldId="2147479091"/>
        </pc:sldMkLst>
        <pc:spChg chg="mod">
          <ac:chgData name="Thomas Matthews" userId="6bea4393-92f7-4cf9-9f90-2bad089bf8c1" providerId="ADAL" clId="{51BD3621-0270-4EAF-B6D1-110D2914983B}" dt="2025-10-08T13:24:26.162" v="745" actId="20577"/>
          <ac:spMkLst>
            <pc:docMk/>
            <pc:sldMk cId="707013464" sldId="2147479091"/>
            <ac:spMk id="6" creationId="{FE861E69-C0C2-B894-F186-62C40F8BE2DD}"/>
          </ac:spMkLst>
        </pc:spChg>
      </pc:sldChg>
      <pc:sldChg chg="addSp delSp modSp add del mod modClrScheme chgLayout">
        <pc:chgData name="Thomas Matthews" userId="6bea4393-92f7-4cf9-9f90-2bad089bf8c1" providerId="ADAL" clId="{51BD3621-0270-4EAF-B6D1-110D2914983B}" dt="2025-10-08T12:01:26.890" v="641" actId="47"/>
        <pc:sldMkLst>
          <pc:docMk/>
          <pc:sldMk cId="3462973328" sldId="2147479091"/>
        </pc:sldMkLst>
        <pc:spChg chg="mod ord">
          <ac:chgData name="Thomas Matthews" userId="6bea4393-92f7-4cf9-9f90-2bad089bf8c1" providerId="ADAL" clId="{51BD3621-0270-4EAF-B6D1-110D2914983B}" dt="2025-10-08T11:55:34.093" v="606" actId="700"/>
          <ac:spMkLst>
            <pc:docMk/>
            <pc:sldMk cId="3462973328" sldId="2147479091"/>
            <ac:spMk id="2" creationId="{78DE760C-F41A-CEC9-2002-8B0135F109A6}"/>
          </ac:spMkLst>
        </pc:spChg>
        <pc:spChg chg="mod ord">
          <ac:chgData name="Thomas Matthews" userId="6bea4393-92f7-4cf9-9f90-2bad089bf8c1" providerId="ADAL" clId="{51BD3621-0270-4EAF-B6D1-110D2914983B}" dt="2025-10-08T11:55:34.093" v="606" actId="700"/>
          <ac:spMkLst>
            <pc:docMk/>
            <pc:sldMk cId="3462973328" sldId="2147479091"/>
            <ac:spMk id="3" creationId="{420B836E-7201-5DA0-FE8C-E84BB2B6E613}"/>
          </ac:spMkLst>
        </pc:spChg>
        <pc:spChg chg="mod ord">
          <ac:chgData name="Thomas Matthews" userId="6bea4393-92f7-4cf9-9f90-2bad089bf8c1" providerId="ADAL" clId="{51BD3621-0270-4EAF-B6D1-110D2914983B}" dt="2025-10-08T11:55:34.093" v="606" actId="700"/>
          <ac:spMkLst>
            <pc:docMk/>
            <pc:sldMk cId="3462973328" sldId="2147479091"/>
            <ac:spMk id="4" creationId="{D59DC826-FC1B-B1C6-B8E6-194AA722EDE4}"/>
          </ac:spMkLst>
        </pc:spChg>
        <pc:spChg chg="mod ord">
          <ac:chgData name="Thomas Matthews" userId="6bea4393-92f7-4cf9-9f90-2bad089bf8c1" providerId="ADAL" clId="{51BD3621-0270-4EAF-B6D1-110D2914983B}" dt="2025-10-08T11:55:34.093" v="606" actId="700"/>
          <ac:spMkLst>
            <pc:docMk/>
            <pc:sldMk cId="3462973328" sldId="2147479091"/>
            <ac:spMk id="5" creationId="{7B3D9241-8F57-90DD-E8B1-7961CEEEE744}"/>
          </ac:spMkLst>
        </pc:spChg>
        <pc:spChg chg="add del mod ord">
          <ac:chgData name="Thomas Matthews" userId="6bea4393-92f7-4cf9-9f90-2bad089bf8c1" providerId="ADAL" clId="{51BD3621-0270-4EAF-B6D1-110D2914983B}" dt="2025-10-08T11:55:34.093" v="606" actId="700"/>
          <ac:spMkLst>
            <pc:docMk/>
            <pc:sldMk cId="3462973328" sldId="2147479091"/>
            <ac:spMk id="7" creationId="{C686F894-C320-6256-3BE8-02ADF4EC1F5A}"/>
          </ac:spMkLst>
        </pc:spChg>
        <pc:graphicFrameChg chg="mod ord">
          <ac:chgData name="Thomas Matthews" userId="6bea4393-92f7-4cf9-9f90-2bad089bf8c1" providerId="ADAL" clId="{51BD3621-0270-4EAF-B6D1-110D2914983B}" dt="2025-10-08T11:59:14.531" v="624" actId="403"/>
          <ac:graphicFrameMkLst>
            <pc:docMk/>
            <pc:sldMk cId="3462973328" sldId="2147479091"/>
            <ac:graphicFrameMk id="12" creationId="{3BC13E20-55BF-2BE0-02A0-DFF428826E6D}"/>
          </ac:graphicFrameMkLst>
        </pc:graphicFrameChg>
        <pc:graphicFrameChg chg="del">
          <ac:chgData name="Thomas Matthews" userId="6bea4393-92f7-4cf9-9f90-2bad089bf8c1" providerId="ADAL" clId="{51BD3621-0270-4EAF-B6D1-110D2914983B}" dt="2025-10-08T11:46:23.292" v="601" actId="478"/>
          <ac:graphicFrameMkLst>
            <pc:docMk/>
            <pc:sldMk cId="3462973328" sldId="2147479091"/>
            <ac:graphicFrameMk id="18" creationId="{AF696F07-AAB1-DA15-638C-EA6FC0EA7D64}"/>
          </ac:graphicFrameMkLst>
        </pc:graphicFrameChg>
      </pc:sldChg>
      <pc:sldMasterChg chg="modSp mod modSldLayout">
        <pc:chgData name="Thomas Matthews" userId="6bea4393-92f7-4cf9-9f90-2bad089bf8c1" providerId="ADAL" clId="{51BD3621-0270-4EAF-B6D1-110D2914983B}" dt="2025-10-06T14:55:08.535" v="93" actId="313"/>
        <pc:sldMasterMkLst>
          <pc:docMk/>
          <pc:sldMasterMk cId="987808660" sldId="2147483831"/>
        </pc:sldMasterMkLst>
        <pc:spChg chg="mod">
          <ac:chgData name="Thomas Matthews" userId="6bea4393-92f7-4cf9-9f90-2bad089bf8c1" providerId="ADAL" clId="{51BD3621-0270-4EAF-B6D1-110D2914983B}" dt="2025-10-06T14:50:52.565" v="78"/>
          <ac:spMkLst>
            <pc:docMk/>
            <pc:sldMasterMk cId="987808660" sldId="2147483831"/>
            <ac:spMk id="5" creationId="{AE485163-71E9-943D-412A-2F55FAA155A8}"/>
          </ac:spMkLst>
        </pc:spChg>
        <pc:spChg chg="mod">
          <ac:chgData name="Thomas Matthews" userId="6bea4393-92f7-4cf9-9f90-2bad089bf8c1" providerId="ADAL" clId="{51BD3621-0270-4EAF-B6D1-110D2914983B}" dt="2025-10-06T14:55:04.521" v="87" actId="313"/>
          <ac:spMkLst>
            <pc:docMk/>
            <pc:sldMasterMk cId="987808660" sldId="2147483831"/>
            <ac:spMk id="10" creationId="{0AFF12E8-A7F5-9B0D-7A22-6F15ED81C7C3}"/>
          </ac:spMkLst>
        </pc:spChg>
        <pc:sldLayoutChg chg="modSp mod">
          <pc:chgData name="Thomas Matthews" userId="6bea4393-92f7-4cf9-9f90-2bad089bf8c1" providerId="ADAL" clId="{51BD3621-0270-4EAF-B6D1-110D2914983B}" dt="2025-10-06T14:55:07.528" v="91" actId="313"/>
          <pc:sldLayoutMkLst>
            <pc:docMk/>
            <pc:sldMasterMk cId="987808660" sldId="2147483831"/>
            <pc:sldLayoutMk cId="268425542" sldId="2147483802"/>
          </pc:sldLayoutMkLst>
          <pc:spChg chg="mod">
            <ac:chgData name="Thomas Matthews" userId="6bea4393-92f7-4cf9-9f90-2bad089bf8c1" providerId="ADAL" clId="{51BD3621-0270-4EAF-B6D1-110D2914983B}" dt="2025-10-06T14:55:07.528" v="91" actId="313"/>
            <ac:spMkLst>
              <pc:docMk/>
              <pc:sldMasterMk cId="987808660" sldId="2147483831"/>
              <pc:sldLayoutMk cId="268425542" sldId="2147483802"/>
              <ac:spMk id="3" creationId="{6BCA1CFE-130E-2667-3C52-98E8DF2D8259}"/>
            </ac:spMkLst>
          </pc:spChg>
          <pc:spChg chg="mod">
            <ac:chgData name="Thomas Matthews" userId="6bea4393-92f7-4cf9-9f90-2bad089bf8c1" providerId="ADAL" clId="{51BD3621-0270-4EAF-B6D1-110D2914983B}" dt="2025-10-06T14:50:52.565" v="78"/>
            <ac:spMkLst>
              <pc:docMk/>
              <pc:sldMasterMk cId="987808660" sldId="2147483831"/>
              <pc:sldLayoutMk cId="268425542" sldId="2147483802"/>
              <ac:spMk id="21" creationId="{66032475-9D90-0443-41C2-09D02441F895}"/>
            </ac:spMkLst>
          </pc:spChg>
        </pc:sldLayoutChg>
        <pc:sldLayoutChg chg="modSp mod">
          <pc:chgData name="Thomas Matthews" userId="6bea4393-92f7-4cf9-9f90-2bad089bf8c1" providerId="ADAL" clId="{51BD3621-0270-4EAF-B6D1-110D2914983B}" dt="2025-10-06T14:55:08.023" v="92" actId="313"/>
          <pc:sldLayoutMkLst>
            <pc:docMk/>
            <pc:sldMasterMk cId="987808660" sldId="2147483831"/>
            <pc:sldLayoutMk cId="737933321" sldId="2147483803"/>
          </pc:sldLayoutMkLst>
          <pc:spChg chg="mod">
            <ac:chgData name="Thomas Matthews" userId="6bea4393-92f7-4cf9-9f90-2bad089bf8c1" providerId="ADAL" clId="{51BD3621-0270-4EAF-B6D1-110D2914983B}" dt="2025-10-06T14:55:08.023" v="92" actId="313"/>
            <ac:spMkLst>
              <pc:docMk/>
              <pc:sldMasterMk cId="987808660" sldId="2147483831"/>
              <pc:sldLayoutMk cId="737933321" sldId="2147483803"/>
              <ac:spMk id="30" creationId="{8612911C-8699-62C5-2005-CBD62FEB5C38}"/>
            </ac:spMkLst>
          </pc:spChg>
          <pc:spChg chg="mod">
            <ac:chgData name="Thomas Matthews" userId="6bea4393-92f7-4cf9-9f90-2bad089bf8c1" providerId="ADAL" clId="{51BD3621-0270-4EAF-B6D1-110D2914983B}" dt="2025-10-06T14:50:52.565" v="78"/>
            <ac:spMkLst>
              <pc:docMk/>
              <pc:sldMasterMk cId="987808660" sldId="2147483831"/>
              <pc:sldLayoutMk cId="737933321" sldId="2147483803"/>
              <ac:spMk id="31" creationId="{FBF2DB1D-3BB5-1FF3-256B-718F8F2C0DC6}"/>
            </ac:spMkLst>
          </pc:spChg>
        </pc:sldLayoutChg>
        <pc:sldLayoutChg chg="modSp">
          <pc:chgData name="Thomas Matthews" userId="6bea4393-92f7-4cf9-9f90-2bad089bf8c1" providerId="ADAL" clId="{51BD3621-0270-4EAF-B6D1-110D2914983B}" dt="2025-10-06T14:50:52.565" v="78"/>
          <pc:sldLayoutMkLst>
            <pc:docMk/>
            <pc:sldMasterMk cId="987808660" sldId="2147483831"/>
            <pc:sldLayoutMk cId="1606345747" sldId="2147483811"/>
          </pc:sldLayoutMkLst>
          <pc:spChg chg="mod">
            <ac:chgData name="Thomas Matthews" userId="6bea4393-92f7-4cf9-9f90-2bad089bf8c1" providerId="ADAL" clId="{51BD3621-0270-4EAF-B6D1-110D2914983B}" dt="2025-10-06T14:50:52.565" v="78"/>
            <ac:spMkLst>
              <pc:docMk/>
              <pc:sldMasterMk cId="987808660" sldId="2147483831"/>
              <pc:sldLayoutMk cId="1606345747" sldId="2147483811"/>
              <ac:spMk id="4" creationId="{48D111CE-EA91-1DCE-358D-0AB8E17F14A3}"/>
            </ac:spMkLst>
          </pc:spChg>
        </pc:sldLayoutChg>
        <pc:sldLayoutChg chg="modSp">
          <pc:chgData name="Thomas Matthews" userId="6bea4393-92f7-4cf9-9f90-2bad089bf8c1" providerId="ADAL" clId="{51BD3621-0270-4EAF-B6D1-110D2914983B}" dt="2025-10-06T14:50:52.565" v="78"/>
          <pc:sldLayoutMkLst>
            <pc:docMk/>
            <pc:sldMasterMk cId="987808660" sldId="2147483831"/>
            <pc:sldLayoutMk cId="2834939251" sldId="2147483812"/>
          </pc:sldLayoutMkLst>
          <pc:spChg chg="mod">
            <ac:chgData name="Thomas Matthews" userId="6bea4393-92f7-4cf9-9f90-2bad089bf8c1" providerId="ADAL" clId="{51BD3621-0270-4EAF-B6D1-110D2914983B}" dt="2025-10-06T14:50:52.565" v="78"/>
            <ac:spMkLst>
              <pc:docMk/>
              <pc:sldMasterMk cId="987808660" sldId="2147483831"/>
              <pc:sldLayoutMk cId="2834939251" sldId="2147483812"/>
              <ac:spMk id="4" creationId="{DBA62D6A-7EB7-3195-BEDF-6E1697B052F2}"/>
            </ac:spMkLst>
          </pc:spChg>
        </pc:sldLayoutChg>
        <pc:sldLayoutChg chg="modSp">
          <pc:chgData name="Thomas Matthews" userId="6bea4393-92f7-4cf9-9f90-2bad089bf8c1" providerId="ADAL" clId="{51BD3621-0270-4EAF-B6D1-110D2914983B}" dt="2025-10-06T14:50:52.565" v="78"/>
          <pc:sldLayoutMkLst>
            <pc:docMk/>
            <pc:sldMasterMk cId="987808660" sldId="2147483831"/>
            <pc:sldLayoutMk cId="864113344" sldId="2147483813"/>
          </pc:sldLayoutMkLst>
          <pc:spChg chg="mod">
            <ac:chgData name="Thomas Matthews" userId="6bea4393-92f7-4cf9-9f90-2bad089bf8c1" providerId="ADAL" clId="{51BD3621-0270-4EAF-B6D1-110D2914983B}" dt="2025-10-06T14:50:52.565" v="78"/>
            <ac:spMkLst>
              <pc:docMk/>
              <pc:sldMasterMk cId="987808660" sldId="2147483831"/>
              <pc:sldLayoutMk cId="864113344" sldId="2147483813"/>
              <ac:spMk id="4" creationId="{3BDAF384-0F02-877B-BAF0-BBD07680335D}"/>
            </ac:spMkLst>
          </pc:spChg>
        </pc:sldLayoutChg>
        <pc:sldLayoutChg chg="modSp">
          <pc:chgData name="Thomas Matthews" userId="6bea4393-92f7-4cf9-9f90-2bad089bf8c1" providerId="ADAL" clId="{51BD3621-0270-4EAF-B6D1-110D2914983B}" dt="2025-10-06T14:50:52.565" v="78"/>
          <pc:sldLayoutMkLst>
            <pc:docMk/>
            <pc:sldMasterMk cId="987808660" sldId="2147483831"/>
            <pc:sldLayoutMk cId="1944532651" sldId="2147483815"/>
          </pc:sldLayoutMkLst>
          <pc:spChg chg="mod">
            <ac:chgData name="Thomas Matthews" userId="6bea4393-92f7-4cf9-9f90-2bad089bf8c1" providerId="ADAL" clId="{51BD3621-0270-4EAF-B6D1-110D2914983B}" dt="2025-10-06T14:50:52.565" v="78"/>
            <ac:spMkLst>
              <pc:docMk/>
              <pc:sldMasterMk cId="987808660" sldId="2147483831"/>
              <pc:sldLayoutMk cId="1944532651" sldId="2147483815"/>
              <ac:spMk id="37" creationId="{26242663-08A4-0B0A-22CE-7E2391C8905C}"/>
            </ac:spMkLst>
          </pc:spChg>
        </pc:sldLayoutChg>
        <pc:sldLayoutChg chg="modSp">
          <pc:chgData name="Thomas Matthews" userId="6bea4393-92f7-4cf9-9f90-2bad089bf8c1" providerId="ADAL" clId="{51BD3621-0270-4EAF-B6D1-110D2914983B}" dt="2025-10-06T14:50:52.565" v="78"/>
          <pc:sldLayoutMkLst>
            <pc:docMk/>
            <pc:sldMasterMk cId="987808660" sldId="2147483831"/>
            <pc:sldLayoutMk cId="4130207236" sldId="2147483816"/>
          </pc:sldLayoutMkLst>
          <pc:spChg chg="mod">
            <ac:chgData name="Thomas Matthews" userId="6bea4393-92f7-4cf9-9f90-2bad089bf8c1" providerId="ADAL" clId="{51BD3621-0270-4EAF-B6D1-110D2914983B}" dt="2025-10-06T14:50:52.565" v="78"/>
            <ac:spMkLst>
              <pc:docMk/>
              <pc:sldMasterMk cId="987808660" sldId="2147483831"/>
              <pc:sldLayoutMk cId="4130207236" sldId="2147483816"/>
              <ac:spMk id="4" creationId="{9C95C7CE-3A92-0B2A-945F-368B2F8BEC26}"/>
            </ac:spMkLst>
          </pc:spChg>
        </pc:sldLayoutChg>
        <pc:sldLayoutChg chg="modSp mod">
          <pc:chgData name="Thomas Matthews" userId="6bea4393-92f7-4cf9-9f90-2bad089bf8c1" providerId="ADAL" clId="{51BD3621-0270-4EAF-B6D1-110D2914983B}" dt="2025-10-06T14:55:08.535" v="93" actId="313"/>
          <pc:sldLayoutMkLst>
            <pc:docMk/>
            <pc:sldMasterMk cId="987808660" sldId="2147483831"/>
            <pc:sldLayoutMk cId="3418928376" sldId="2147483818"/>
          </pc:sldLayoutMkLst>
          <pc:spChg chg="mod">
            <ac:chgData name="Thomas Matthews" userId="6bea4393-92f7-4cf9-9f90-2bad089bf8c1" providerId="ADAL" clId="{51BD3621-0270-4EAF-B6D1-110D2914983B}" dt="2025-10-06T14:55:08.535" v="93" actId="313"/>
            <ac:spMkLst>
              <pc:docMk/>
              <pc:sldMasterMk cId="987808660" sldId="2147483831"/>
              <pc:sldLayoutMk cId="3418928376" sldId="2147483818"/>
              <ac:spMk id="8" creationId="{B9BD3875-2795-9A10-4257-25C81C008A95}"/>
            </ac:spMkLst>
          </pc:spChg>
          <pc:spChg chg="mod">
            <ac:chgData name="Thomas Matthews" userId="6bea4393-92f7-4cf9-9f90-2bad089bf8c1" providerId="ADAL" clId="{51BD3621-0270-4EAF-B6D1-110D2914983B}" dt="2025-10-06T14:50:52.565" v="78"/>
            <ac:spMkLst>
              <pc:docMk/>
              <pc:sldMasterMk cId="987808660" sldId="2147483831"/>
              <pc:sldLayoutMk cId="3418928376" sldId="2147483818"/>
              <ac:spMk id="17" creationId="{AEA88B36-7672-8AC5-BF94-CADC374A120A}"/>
            </ac:spMkLst>
          </pc:spChg>
        </pc:sldLayoutChg>
        <pc:sldLayoutChg chg="modSp">
          <pc:chgData name="Thomas Matthews" userId="6bea4393-92f7-4cf9-9f90-2bad089bf8c1" providerId="ADAL" clId="{51BD3621-0270-4EAF-B6D1-110D2914983B}" dt="2025-10-06T14:50:52.565" v="78"/>
          <pc:sldLayoutMkLst>
            <pc:docMk/>
            <pc:sldMasterMk cId="987808660" sldId="2147483831"/>
            <pc:sldLayoutMk cId="1560689738" sldId="2147483819"/>
          </pc:sldLayoutMkLst>
          <pc:spChg chg="mod">
            <ac:chgData name="Thomas Matthews" userId="6bea4393-92f7-4cf9-9f90-2bad089bf8c1" providerId="ADAL" clId="{51BD3621-0270-4EAF-B6D1-110D2914983B}" dt="2025-10-06T14:50:52.565" v="78"/>
            <ac:spMkLst>
              <pc:docMk/>
              <pc:sldMasterMk cId="987808660" sldId="2147483831"/>
              <pc:sldLayoutMk cId="1560689738" sldId="2147483819"/>
              <ac:spMk id="4" creationId="{FDF13604-F708-3CB0-DDA4-21EC544005E8}"/>
            </ac:spMkLst>
          </pc:spChg>
        </pc:sldLayoutChg>
        <pc:sldLayoutChg chg="modSp">
          <pc:chgData name="Thomas Matthews" userId="6bea4393-92f7-4cf9-9f90-2bad089bf8c1" providerId="ADAL" clId="{51BD3621-0270-4EAF-B6D1-110D2914983B}" dt="2025-10-06T14:50:52.565" v="78"/>
          <pc:sldLayoutMkLst>
            <pc:docMk/>
            <pc:sldMasterMk cId="987808660" sldId="2147483831"/>
            <pc:sldLayoutMk cId="1426339316" sldId="2147483820"/>
          </pc:sldLayoutMkLst>
          <pc:spChg chg="mod">
            <ac:chgData name="Thomas Matthews" userId="6bea4393-92f7-4cf9-9f90-2bad089bf8c1" providerId="ADAL" clId="{51BD3621-0270-4EAF-B6D1-110D2914983B}" dt="2025-10-06T14:50:52.565" v="78"/>
            <ac:spMkLst>
              <pc:docMk/>
              <pc:sldMasterMk cId="987808660" sldId="2147483831"/>
              <pc:sldLayoutMk cId="1426339316" sldId="2147483820"/>
              <ac:spMk id="4" creationId="{66B1A838-F351-61C5-B535-D5F18D765B4A}"/>
            </ac:spMkLst>
          </pc:spChg>
        </pc:sldLayoutChg>
        <pc:sldLayoutChg chg="modSp">
          <pc:chgData name="Thomas Matthews" userId="6bea4393-92f7-4cf9-9f90-2bad089bf8c1" providerId="ADAL" clId="{51BD3621-0270-4EAF-B6D1-110D2914983B}" dt="2025-10-06T14:50:52.565" v="78"/>
          <pc:sldLayoutMkLst>
            <pc:docMk/>
            <pc:sldMasterMk cId="987808660" sldId="2147483831"/>
            <pc:sldLayoutMk cId="3372478377" sldId="2147483821"/>
          </pc:sldLayoutMkLst>
          <pc:spChg chg="mod">
            <ac:chgData name="Thomas Matthews" userId="6bea4393-92f7-4cf9-9f90-2bad089bf8c1" providerId="ADAL" clId="{51BD3621-0270-4EAF-B6D1-110D2914983B}" dt="2025-10-06T14:50:52.565" v="78"/>
            <ac:spMkLst>
              <pc:docMk/>
              <pc:sldMasterMk cId="987808660" sldId="2147483831"/>
              <pc:sldLayoutMk cId="3372478377" sldId="2147483821"/>
              <ac:spMk id="4" creationId="{C284DBBD-D039-B67E-351C-CDC8187F252A}"/>
            </ac:spMkLst>
          </pc:spChg>
        </pc:sldLayoutChg>
        <pc:sldLayoutChg chg="modSp">
          <pc:chgData name="Thomas Matthews" userId="6bea4393-92f7-4cf9-9f90-2bad089bf8c1" providerId="ADAL" clId="{51BD3621-0270-4EAF-B6D1-110D2914983B}" dt="2025-10-06T14:50:52.565" v="78"/>
          <pc:sldLayoutMkLst>
            <pc:docMk/>
            <pc:sldMasterMk cId="987808660" sldId="2147483831"/>
            <pc:sldLayoutMk cId="1957856580" sldId="2147483822"/>
          </pc:sldLayoutMkLst>
          <pc:spChg chg="mod">
            <ac:chgData name="Thomas Matthews" userId="6bea4393-92f7-4cf9-9f90-2bad089bf8c1" providerId="ADAL" clId="{51BD3621-0270-4EAF-B6D1-110D2914983B}" dt="2025-10-06T14:50:52.565" v="78"/>
            <ac:spMkLst>
              <pc:docMk/>
              <pc:sldMasterMk cId="987808660" sldId="2147483831"/>
              <pc:sldLayoutMk cId="1957856580" sldId="2147483822"/>
              <ac:spMk id="4" creationId="{9BE5DEEB-B747-E750-6195-450DC727D2BF}"/>
            </ac:spMkLst>
          </pc:spChg>
        </pc:sldLayoutChg>
        <pc:sldLayoutChg chg="modSp">
          <pc:chgData name="Thomas Matthews" userId="6bea4393-92f7-4cf9-9f90-2bad089bf8c1" providerId="ADAL" clId="{51BD3621-0270-4EAF-B6D1-110D2914983B}" dt="2025-10-06T14:50:52.565" v="78"/>
          <pc:sldLayoutMkLst>
            <pc:docMk/>
            <pc:sldMasterMk cId="987808660" sldId="2147483831"/>
            <pc:sldLayoutMk cId="688628399" sldId="2147483823"/>
          </pc:sldLayoutMkLst>
          <pc:spChg chg="mod">
            <ac:chgData name="Thomas Matthews" userId="6bea4393-92f7-4cf9-9f90-2bad089bf8c1" providerId="ADAL" clId="{51BD3621-0270-4EAF-B6D1-110D2914983B}" dt="2025-10-06T14:50:52.565" v="78"/>
            <ac:spMkLst>
              <pc:docMk/>
              <pc:sldMasterMk cId="987808660" sldId="2147483831"/>
              <pc:sldLayoutMk cId="688628399" sldId="2147483823"/>
              <ac:spMk id="4" creationId="{FCF9334A-C8C5-94E2-CF88-11A936E2226C}"/>
            </ac:spMkLst>
          </pc:spChg>
        </pc:sldLayoutChg>
        <pc:sldLayoutChg chg="modSp">
          <pc:chgData name="Thomas Matthews" userId="6bea4393-92f7-4cf9-9f90-2bad089bf8c1" providerId="ADAL" clId="{51BD3621-0270-4EAF-B6D1-110D2914983B}" dt="2025-10-06T14:50:52.565" v="78"/>
          <pc:sldLayoutMkLst>
            <pc:docMk/>
            <pc:sldMasterMk cId="987808660" sldId="2147483831"/>
            <pc:sldLayoutMk cId="993442703" sldId="2147483832"/>
          </pc:sldLayoutMkLst>
          <pc:spChg chg="mod">
            <ac:chgData name="Thomas Matthews" userId="6bea4393-92f7-4cf9-9f90-2bad089bf8c1" providerId="ADAL" clId="{51BD3621-0270-4EAF-B6D1-110D2914983B}" dt="2025-10-06T14:50:52.565" v="78"/>
            <ac:spMkLst>
              <pc:docMk/>
              <pc:sldMasterMk cId="987808660" sldId="2147483831"/>
              <pc:sldLayoutMk cId="993442703" sldId="2147483832"/>
              <ac:spMk id="5" creationId="{9D5D6732-BE99-C318-02DA-1F4E8AFC7DBA}"/>
            </ac:spMkLst>
          </pc:spChg>
        </pc:sldLayoutChg>
        <pc:sldLayoutChg chg="modSp">
          <pc:chgData name="Thomas Matthews" userId="6bea4393-92f7-4cf9-9f90-2bad089bf8c1" providerId="ADAL" clId="{51BD3621-0270-4EAF-B6D1-110D2914983B}" dt="2025-10-06T14:50:52.565" v="78"/>
          <pc:sldLayoutMkLst>
            <pc:docMk/>
            <pc:sldMasterMk cId="987808660" sldId="2147483831"/>
            <pc:sldLayoutMk cId="4149174338" sldId="2147483834"/>
          </pc:sldLayoutMkLst>
          <pc:spChg chg="mod">
            <ac:chgData name="Thomas Matthews" userId="6bea4393-92f7-4cf9-9f90-2bad089bf8c1" providerId="ADAL" clId="{51BD3621-0270-4EAF-B6D1-110D2914983B}" dt="2025-10-06T14:50:52.565" v="78"/>
            <ac:spMkLst>
              <pc:docMk/>
              <pc:sldMasterMk cId="987808660" sldId="2147483831"/>
              <pc:sldLayoutMk cId="4149174338" sldId="2147483834"/>
              <ac:spMk id="4" creationId="{7D93C41F-81C1-1AC0-D0F4-F72507C60C56}"/>
            </ac:spMkLst>
          </pc:spChg>
        </pc:sldLayoutChg>
        <pc:sldLayoutChg chg="modSp">
          <pc:chgData name="Thomas Matthews" userId="6bea4393-92f7-4cf9-9f90-2bad089bf8c1" providerId="ADAL" clId="{51BD3621-0270-4EAF-B6D1-110D2914983B}" dt="2025-10-06T14:50:52.565" v="78"/>
          <pc:sldLayoutMkLst>
            <pc:docMk/>
            <pc:sldMasterMk cId="987808660" sldId="2147483831"/>
            <pc:sldLayoutMk cId="3056119694" sldId="2147483928"/>
          </pc:sldLayoutMkLst>
          <pc:spChg chg="mod">
            <ac:chgData name="Thomas Matthews" userId="6bea4393-92f7-4cf9-9f90-2bad089bf8c1" providerId="ADAL" clId="{51BD3621-0270-4EAF-B6D1-110D2914983B}" dt="2025-10-06T14:50:52.565" v="78"/>
            <ac:spMkLst>
              <pc:docMk/>
              <pc:sldMasterMk cId="987808660" sldId="2147483831"/>
              <pc:sldLayoutMk cId="3056119694" sldId="2147483928"/>
              <ac:spMk id="4" creationId="{92372FC6-4E1E-892E-25BA-97FEC2A7CE30}"/>
            </ac:spMkLst>
          </pc:spChg>
        </pc:sldLayoutChg>
      </pc:sldMasterChg>
      <pc:sldMasterChg chg="modSp mod delSldLayout modSldLayout">
        <pc:chgData name="Thomas Matthews" userId="6bea4393-92f7-4cf9-9f90-2bad089bf8c1" providerId="ADAL" clId="{51BD3621-0270-4EAF-B6D1-110D2914983B}" dt="2025-10-06T14:55:02.049" v="84" actId="313"/>
        <pc:sldMasterMkLst>
          <pc:docMk/>
          <pc:sldMasterMk cId="269344473" sldId="2147483838"/>
        </pc:sldMasterMkLst>
        <pc:spChg chg="mod">
          <ac:chgData name="Thomas Matthews" userId="6bea4393-92f7-4cf9-9f90-2bad089bf8c1" providerId="ADAL" clId="{51BD3621-0270-4EAF-B6D1-110D2914983B}" dt="2025-10-06T14:55:02.049" v="84" actId="313"/>
          <ac:spMkLst>
            <pc:docMk/>
            <pc:sldMasterMk cId="269344473" sldId="2147483838"/>
            <ac:spMk id="4" creationId="{750DF922-616E-FE72-D3D2-265F4F32D670}"/>
          </ac:spMkLst>
        </pc:spChg>
        <pc:spChg chg="mod">
          <ac:chgData name="Thomas Matthews" userId="6bea4393-92f7-4cf9-9f90-2bad089bf8c1" providerId="ADAL" clId="{51BD3621-0270-4EAF-B6D1-110D2914983B}" dt="2025-10-06T14:50:52.565" v="78"/>
          <ac:spMkLst>
            <pc:docMk/>
            <pc:sldMasterMk cId="269344473" sldId="2147483838"/>
            <ac:spMk id="5" creationId="{AE485163-71E9-943D-412A-2F55FAA155A8}"/>
          </ac:spMkLst>
        </pc:spChg>
        <pc:sldLayoutChg chg="modSp">
          <pc:chgData name="Thomas Matthews" userId="6bea4393-92f7-4cf9-9f90-2bad089bf8c1" providerId="ADAL" clId="{51BD3621-0270-4EAF-B6D1-110D2914983B}" dt="2025-10-06T14:50:52.565" v="78"/>
          <pc:sldLayoutMkLst>
            <pc:docMk/>
            <pc:sldMasterMk cId="269344473" sldId="2147483838"/>
            <pc:sldLayoutMk cId="4204341016" sldId="2147483840"/>
          </pc:sldLayoutMkLst>
          <pc:spChg chg="mod">
            <ac:chgData name="Thomas Matthews" userId="6bea4393-92f7-4cf9-9f90-2bad089bf8c1" providerId="ADAL" clId="{51BD3621-0270-4EAF-B6D1-110D2914983B}" dt="2025-10-06T14:50:52.565" v="78"/>
            <ac:spMkLst>
              <pc:docMk/>
              <pc:sldMasterMk cId="269344473" sldId="2147483838"/>
              <pc:sldLayoutMk cId="4204341016" sldId="2147483840"/>
              <ac:spMk id="4" creationId="{7D93C41F-81C1-1AC0-D0F4-F72507C60C56}"/>
            </ac:spMkLst>
          </pc:spChg>
        </pc:sldLayoutChg>
        <pc:sldLayoutChg chg="modSp">
          <pc:chgData name="Thomas Matthews" userId="6bea4393-92f7-4cf9-9f90-2bad089bf8c1" providerId="ADAL" clId="{51BD3621-0270-4EAF-B6D1-110D2914983B}" dt="2025-10-06T14:50:52.565" v="78"/>
          <pc:sldLayoutMkLst>
            <pc:docMk/>
            <pc:sldMasterMk cId="269344473" sldId="2147483838"/>
            <pc:sldLayoutMk cId="1284716909" sldId="2147483841"/>
          </pc:sldLayoutMkLst>
          <pc:spChg chg="mod">
            <ac:chgData name="Thomas Matthews" userId="6bea4393-92f7-4cf9-9f90-2bad089bf8c1" providerId="ADAL" clId="{51BD3621-0270-4EAF-B6D1-110D2914983B}" dt="2025-10-06T14:50:52.565" v="78"/>
            <ac:spMkLst>
              <pc:docMk/>
              <pc:sldMasterMk cId="269344473" sldId="2147483838"/>
              <pc:sldLayoutMk cId="1284716909" sldId="2147483841"/>
              <ac:spMk id="4" creationId="{C089F6B3-B184-CD35-917E-7E6D3B7A8CDE}"/>
            </ac:spMkLst>
          </pc:spChg>
        </pc:sldLayoutChg>
        <pc:sldLayoutChg chg="modSp">
          <pc:chgData name="Thomas Matthews" userId="6bea4393-92f7-4cf9-9f90-2bad089bf8c1" providerId="ADAL" clId="{51BD3621-0270-4EAF-B6D1-110D2914983B}" dt="2025-10-06T14:50:52.565" v="78"/>
          <pc:sldLayoutMkLst>
            <pc:docMk/>
            <pc:sldMasterMk cId="269344473" sldId="2147483838"/>
            <pc:sldLayoutMk cId="3698125059" sldId="2147483842"/>
          </pc:sldLayoutMkLst>
          <pc:spChg chg="mod">
            <ac:chgData name="Thomas Matthews" userId="6bea4393-92f7-4cf9-9f90-2bad089bf8c1" providerId="ADAL" clId="{51BD3621-0270-4EAF-B6D1-110D2914983B}" dt="2025-10-06T14:50:52.565" v="78"/>
            <ac:spMkLst>
              <pc:docMk/>
              <pc:sldMasterMk cId="269344473" sldId="2147483838"/>
              <pc:sldLayoutMk cId="3698125059" sldId="2147483842"/>
              <ac:spMk id="4" creationId="{C089F6B3-B184-CD35-917E-7E6D3B7A8CDE}"/>
            </ac:spMkLst>
          </pc:spChg>
        </pc:sldLayoutChg>
        <pc:sldLayoutChg chg="del">
          <pc:chgData name="Thomas Matthews" userId="6bea4393-92f7-4cf9-9f90-2bad089bf8c1" providerId="ADAL" clId="{51BD3621-0270-4EAF-B6D1-110D2914983B}" dt="2025-10-06T14:48:52.611" v="23" actId="47"/>
          <pc:sldLayoutMkLst>
            <pc:docMk/>
            <pc:sldMasterMk cId="269344473" sldId="2147483838"/>
            <pc:sldLayoutMk cId="927563172" sldId="2147484466"/>
          </pc:sldLayoutMkLst>
        </pc:sldLayoutChg>
      </pc:sldMasterChg>
      <pc:sldMasterChg chg="modSp mod modSldLayout">
        <pc:chgData name="Thomas Matthews" userId="6bea4393-92f7-4cf9-9f90-2bad089bf8c1" providerId="ADAL" clId="{51BD3621-0270-4EAF-B6D1-110D2914983B}" dt="2025-10-06T14:55:02.842" v="85" actId="313"/>
        <pc:sldMasterMkLst>
          <pc:docMk/>
          <pc:sldMasterMk cId="2980599829" sldId="2147483843"/>
        </pc:sldMasterMkLst>
        <pc:spChg chg="mod">
          <ac:chgData name="Thomas Matthews" userId="6bea4393-92f7-4cf9-9f90-2bad089bf8c1" providerId="ADAL" clId="{51BD3621-0270-4EAF-B6D1-110D2914983B}" dt="2025-10-06T14:50:52.565" v="78"/>
          <ac:spMkLst>
            <pc:docMk/>
            <pc:sldMasterMk cId="2980599829" sldId="2147483843"/>
            <ac:spMk id="6" creationId="{731FDA51-E221-897D-6EAB-9569DFEFCD07}"/>
          </ac:spMkLst>
        </pc:spChg>
        <pc:spChg chg="mod">
          <ac:chgData name="Thomas Matthews" userId="6bea4393-92f7-4cf9-9f90-2bad089bf8c1" providerId="ADAL" clId="{51BD3621-0270-4EAF-B6D1-110D2914983B}" dt="2025-10-06T14:55:02.842" v="85" actId="313"/>
          <ac:spMkLst>
            <pc:docMk/>
            <pc:sldMasterMk cId="2980599829" sldId="2147483843"/>
            <ac:spMk id="10" creationId="{4ED3A7C6-9F15-8CA9-3E97-8E41011FF902}"/>
          </ac:spMkLst>
        </pc:spChg>
        <pc:sldLayoutChg chg="modSp">
          <pc:chgData name="Thomas Matthews" userId="6bea4393-92f7-4cf9-9f90-2bad089bf8c1" providerId="ADAL" clId="{51BD3621-0270-4EAF-B6D1-110D2914983B}" dt="2025-10-06T14:50:52.565" v="78"/>
          <pc:sldLayoutMkLst>
            <pc:docMk/>
            <pc:sldMasterMk cId="2980599829" sldId="2147483843"/>
            <pc:sldLayoutMk cId="134032627" sldId="2147483844"/>
          </pc:sldLayoutMkLst>
          <pc:spChg chg="mod">
            <ac:chgData name="Thomas Matthews" userId="6bea4393-92f7-4cf9-9f90-2bad089bf8c1" providerId="ADAL" clId="{51BD3621-0270-4EAF-B6D1-110D2914983B}" dt="2025-10-06T14:50:52.565" v="78"/>
            <ac:spMkLst>
              <pc:docMk/>
              <pc:sldMasterMk cId="2980599829" sldId="2147483843"/>
              <pc:sldLayoutMk cId="134032627" sldId="2147483844"/>
              <ac:spMk id="3" creationId="{F9C4B2B8-F44A-8FDA-C1AD-6424EE0D5B90}"/>
            </ac:spMkLst>
          </pc:spChg>
        </pc:sldLayoutChg>
        <pc:sldLayoutChg chg="modSp">
          <pc:chgData name="Thomas Matthews" userId="6bea4393-92f7-4cf9-9f90-2bad089bf8c1" providerId="ADAL" clId="{51BD3621-0270-4EAF-B6D1-110D2914983B}" dt="2025-10-06T14:50:52.565" v="78"/>
          <pc:sldLayoutMkLst>
            <pc:docMk/>
            <pc:sldMasterMk cId="2980599829" sldId="2147483843"/>
            <pc:sldLayoutMk cId="3214758022" sldId="2147483845"/>
          </pc:sldLayoutMkLst>
          <pc:spChg chg="mod">
            <ac:chgData name="Thomas Matthews" userId="6bea4393-92f7-4cf9-9f90-2bad089bf8c1" providerId="ADAL" clId="{51BD3621-0270-4EAF-B6D1-110D2914983B}" dt="2025-10-06T14:50:52.565" v="78"/>
            <ac:spMkLst>
              <pc:docMk/>
              <pc:sldMasterMk cId="2980599829" sldId="2147483843"/>
              <pc:sldLayoutMk cId="3214758022" sldId="2147483845"/>
              <ac:spMk id="11" creationId="{BAD39FEC-C47C-3952-05B1-B2EC1C7825DF}"/>
            </ac:spMkLst>
          </pc:spChg>
        </pc:sldLayoutChg>
        <pc:sldLayoutChg chg="modSp">
          <pc:chgData name="Thomas Matthews" userId="6bea4393-92f7-4cf9-9f90-2bad089bf8c1" providerId="ADAL" clId="{51BD3621-0270-4EAF-B6D1-110D2914983B}" dt="2025-10-06T14:50:52.565" v="78"/>
          <pc:sldLayoutMkLst>
            <pc:docMk/>
            <pc:sldMasterMk cId="2980599829" sldId="2147483843"/>
            <pc:sldLayoutMk cId="189069087" sldId="2147483846"/>
          </pc:sldLayoutMkLst>
          <pc:spChg chg="mod">
            <ac:chgData name="Thomas Matthews" userId="6bea4393-92f7-4cf9-9f90-2bad089bf8c1" providerId="ADAL" clId="{51BD3621-0270-4EAF-B6D1-110D2914983B}" dt="2025-10-06T14:50:52.565" v="78"/>
            <ac:spMkLst>
              <pc:docMk/>
              <pc:sldMasterMk cId="2980599829" sldId="2147483843"/>
              <pc:sldLayoutMk cId="189069087" sldId="2147483846"/>
              <ac:spMk id="16" creationId="{7BA15D20-E912-9A43-DF16-3BEC7804E12F}"/>
            </ac:spMkLst>
          </pc:spChg>
        </pc:sldLayoutChg>
        <pc:sldLayoutChg chg="modSp">
          <pc:chgData name="Thomas Matthews" userId="6bea4393-92f7-4cf9-9f90-2bad089bf8c1" providerId="ADAL" clId="{51BD3621-0270-4EAF-B6D1-110D2914983B}" dt="2025-10-06T14:50:52.565" v="78"/>
          <pc:sldLayoutMkLst>
            <pc:docMk/>
            <pc:sldMasterMk cId="2980599829" sldId="2147483843"/>
            <pc:sldLayoutMk cId="3184348755" sldId="2147483847"/>
          </pc:sldLayoutMkLst>
          <pc:spChg chg="mod">
            <ac:chgData name="Thomas Matthews" userId="6bea4393-92f7-4cf9-9f90-2bad089bf8c1" providerId="ADAL" clId="{51BD3621-0270-4EAF-B6D1-110D2914983B}" dt="2025-10-06T14:50:52.565" v="78"/>
            <ac:spMkLst>
              <pc:docMk/>
              <pc:sldMasterMk cId="2980599829" sldId="2147483843"/>
              <pc:sldLayoutMk cId="3184348755" sldId="2147483847"/>
              <ac:spMk id="18" creationId="{52E70746-9160-C39A-1872-2ACD9DAB8314}"/>
            </ac:spMkLst>
          </pc:spChg>
        </pc:sldLayoutChg>
        <pc:sldLayoutChg chg="modSp">
          <pc:chgData name="Thomas Matthews" userId="6bea4393-92f7-4cf9-9f90-2bad089bf8c1" providerId="ADAL" clId="{51BD3621-0270-4EAF-B6D1-110D2914983B}" dt="2025-10-06T14:50:52.565" v="78"/>
          <pc:sldLayoutMkLst>
            <pc:docMk/>
            <pc:sldMasterMk cId="2980599829" sldId="2147483843"/>
            <pc:sldLayoutMk cId="3262324916" sldId="2147483848"/>
          </pc:sldLayoutMkLst>
          <pc:spChg chg="mod">
            <ac:chgData name="Thomas Matthews" userId="6bea4393-92f7-4cf9-9f90-2bad089bf8c1" providerId="ADAL" clId="{51BD3621-0270-4EAF-B6D1-110D2914983B}" dt="2025-10-06T14:50:52.565" v="78"/>
            <ac:spMkLst>
              <pc:docMk/>
              <pc:sldMasterMk cId="2980599829" sldId="2147483843"/>
              <pc:sldLayoutMk cId="3262324916" sldId="2147483848"/>
              <ac:spMk id="51" creationId="{9EED9D5D-61AA-43F0-8E93-270B5258C413}"/>
            </ac:spMkLst>
          </pc:spChg>
        </pc:sldLayoutChg>
        <pc:sldLayoutChg chg="modSp">
          <pc:chgData name="Thomas Matthews" userId="6bea4393-92f7-4cf9-9f90-2bad089bf8c1" providerId="ADAL" clId="{51BD3621-0270-4EAF-B6D1-110D2914983B}" dt="2025-10-06T14:50:52.565" v="78"/>
          <pc:sldLayoutMkLst>
            <pc:docMk/>
            <pc:sldMasterMk cId="2980599829" sldId="2147483843"/>
            <pc:sldLayoutMk cId="1430804193" sldId="2147483849"/>
          </pc:sldLayoutMkLst>
          <pc:spChg chg="mod">
            <ac:chgData name="Thomas Matthews" userId="6bea4393-92f7-4cf9-9f90-2bad089bf8c1" providerId="ADAL" clId="{51BD3621-0270-4EAF-B6D1-110D2914983B}" dt="2025-10-06T14:50:52.565" v="78"/>
            <ac:spMkLst>
              <pc:docMk/>
              <pc:sldMasterMk cId="2980599829" sldId="2147483843"/>
              <pc:sldLayoutMk cId="1430804193" sldId="2147483849"/>
              <ac:spMk id="15" creationId="{51FD0202-2933-261F-FDB3-97C8B4591D9E}"/>
            </ac:spMkLst>
          </pc:spChg>
        </pc:sldLayoutChg>
        <pc:sldLayoutChg chg="modSp">
          <pc:chgData name="Thomas Matthews" userId="6bea4393-92f7-4cf9-9f90-2bad089bf8c1" providerId="ADAL" clId="{51BD3621-0270-4EAF-B6D1-110D2914983B}" dt="2025-10-06T14:50:52.565" v="78"/>
          <pc:sldLayoutMkLst>
            <pc:docMk/>
            <pc:sldMasterMk cId="2980599829" sldId="2147483843"/>
            <pc:sldLayoutMk cId="2159769113" sldId="2147483850"/>
          </pc:sldLayoutMkLst>
          <pc:spChg chg="mod">
            <ac:chgData name="Thomas Matthews" userId="6bea4393-92f7-4cf9-9f90-2bad089bf8c1" providerId="ADAL" clId="{51BD3621-0270-4EAF-B6D1-110D2914983B}" dt="2025-10-06T14:50:52.565" v="78"/>
            <ac:spMkLst>
              <pc:docMk/>
              <pc:sldMasterMk cId="2980599829" sldId="2147483843"/>
              <pc:sldLayoutMk cId="2159769113" sldId="2147483850"/>
              <ac:spMk id="17" creationId="{7E01DB59-9B37-F04F-3777-8FF058C3589A}"/>
            </ac:spMkLst>
          </pc:spChg>
        </pc:sldLayoutChg>
        <pc:sldLayoutChg chg="modSp">
          <pc:chgData name="Thomas Matthews" userId="6bea4393-92f7-4cf9-9f90-2bad089bf8c1" providerId="ADAL" clId="{51BD3621-0270-4EAF-B6D1-110D2914983B}" dt="2025-10-06T14:50:52.565" v="78"/>
          <pc:sldLayoutMkLst>
            <pc:docMk/>
            <pc:sldMasterMk cId="2980599829" sldId="2147483843"/>
            <pc:sldLayoutMk cId="4078154561" sldId="2147483851"/>
          </pc:sldLayoutMkLst>
          <pc:spChg chg="mod">
            <ac:chgData name="Thomas Matthews" userId="6bea4393-92f7-4cf9-9f90-2bad089bf8c1" providerId="ADAL" clId="{51BD3621-0270-4EAF-B6D1-110D2914983B}" dt="2025-10-06T14:50:52.565" v="78"/>
            <ac:spMkLst>
              <pc:docMk/>
              <pc:sldMasterMk cId="2980599829" sldId="2147483843"/>
              <pc:sldLayoutMk cId="4078154561" sldId="2147483851"/>
              <ac:spMk id="19" creationId="{B0FE7F07-C9DD-79C9-6757-C27B73B8C7A5}"/>
            </ac:spMkLst>
          </pc:spChg>
        </pc:sldLayoutChg>
        <pc:sldLayoutChg chg="modSp">
          <pc:chgData name="Thomas Matthews" userId="6bea4393-92f7-4cf9-9f90-2bad089bf8c1" providerId="ADAL" clId="{51BD3621-0270-4EAF-B6D1-110D2914983B}" dt="2025-10-06T14:50:52.565" v="78"/>
          <pc:sldLayoutMkLst>
            <pc:docMk/>
            <pc:sldMasterMk cId="2980599829" sldId="2147483843"/>
            <pc:sldLayoutMk cId="3842463678" sldId="2147483852"/>
          </pc:sldLayoutMkLst>
          <pc:spChg chg="mod">
            <ac:chgData name="Thomas Matthews" userId="6bea4393-92f7-4cf9-9f90-2bad089bf8c1" providerId="ADAL" clId="{51BD3621-0270-4EAF-B6D1-110D2914983B}" dt="2025-10-06T14:50:52.565" v="78"/>
            <ac:spMkLst>
              <pc:docMk/>
              <pc:sldMasterMk cId="2980599829" sldId="2147483843"/>
              <pc:sldLayoutMk cId="3842463678" sldId="2147483852"/>
              <ac:spMk id="19" creationId="{A7EAE299-1F76-73EE-8745-EE23D4D11B09}"/>
            </ac:spMkLst>
          </pc:spChg>
        </pc:sldLayoutChg>
        <pc:sldLayoutChg chg="modSp">
          <pc:chgData name="Thomas Matthews" userId="6bea4393-92f7-4cf9-9f90-2bad089bf8c1" providerId="ADAL" clId="{51BD3621-0270-4EAF-B6D1-110D2914983B}" dt="2025-10-06T14:50:52.565" v="78"/>
          <pc:sldLayoutMkLst>
            <pc:docMk/>
            <pc:sldMasterMk cId="2980599829" sldId="2147483843"/>
            <pc:sldLayoutMk cId="1810066242" sldId="2147483853"/>
          </pc:sldLayoutMkLst>
          <pc:spChg chg="mod">
            <ac:chgData name="Thomas Matthews" userId="6bea4393-92f7-4cf9-9f90-2bad089bf8c1" providerId="ADAL" clId="{51BD3621-0270-4EAF-B6D1-110D2914983B}" dt="2025-10-06T14:50:52.565" v="78"/>
            <ac:spMkLst>
              <pc:docMk/>
              <pc:sldMasterMk cId="2980599829" sldId="2147483843"/>
              <pc:sldLayoutMk cId="1810066242" sldId="2147483853"/>
              <ac:spMk id="19" creationId="{A7EAE299-1F76-73EE-8745-EE23D4D11B09}"/>
            </ac:spMkLst>
          </pc:spChg>
        </pc:sldLayoutChg>
        <pc:sldLayoutChg chg="modSp">
          <pc:chgData name="Thomas Matthews" userId="6bea4393-92f7-4cf9-9f90-2bad089bf8c1" providerId="ADAL" clId="{51BD3621-0270-4EAF-B6D1-110D2914983B}" dt="2025-10-06T14:50:52.565" v="78"/>
          <pc:sldLayoutMkLst>
            <pc:docMk/>
            <pc:sldMasterMk cId="2980599829" sldId="2147483843"/>
            <pc:sldLayoutMk cId="154739053" sldId="2147483854"/>
          </pc:sldLayoutMkLst>
          <pc:spChg chg="mod">
            <ac:chgData name="Thomas Matthews" userId="6bea4393-92f7-4cf9-9f90-2bad089bf8c1" providerId="ADAL" clId="{51BD3621-0270-4EAF-B6D1-110D2914983B}" dt="2025-10-06T14:50:52.565" v="78"/>
            <ac:spMkLst>
              <pc:docMk/>
              <pc:sldMasterMk cId="2980599829" sldId="2147483843"/>
              <pc:sldLayoutMk cId="154739053" sldId="2147483854"/>
              <ac:spMk id="21" creationId="{9E91E95F-0B78-B0DD-44F1-9229CA6FC1F7}"/>
            </ac:spMkLst>
          </pc:spChg>
        </pc:sldLayoutChg>
        <pc:sldLayoutChg chg="modSp">
          <pc:chgData name="Thomas Matthews" userId="6bea4393-92f7-4cf9-9f90-2bad089bf8c1" providerId="ADAL" clId="{51BD3621-0270-4EAF-B6D1-110D2914983B}" dt="2025-10-06T14:50:52.565" v="78"/>
          <pc:sldLayoutMkLst>
            <pc:docMk/>
            <pc:sldMasterMk cId="2980599829" sldId="2147483843"/>
            <pc:sldLayoutMk cId="525050727" sldId="2147483855"/>
          </pc:sldLayoutMkLst>
          <pc:spChg chg="mod">
            <ac:chgData name="Thomas Matthews" userId="6bea4393-92f7-4cf9-9f90-2bad089bf8c1" providerId="ADAL" clId="{51BD3621-0270-4EAF-B6D1-110D2914983B}" dt="2025-10-06T14:50:52.565" v="78"/>
            <ac:spMkLst>
              <pc:docMk/>
              <pc:sldMasterMk cId="2980599829" sldId="2147483843"/>
              <pc:sldLayoutMk cId="525050727" sldId="2147483855"/>
              <ac:spMk id="23" creationId="{26092300-6B2D-E291-F26E-F0EFBCCA1C83}"/>
            </ac:spMkLst>
          </pc:spChg>
        </pc:sldLayoutChg>
        <pc:sldLayoutChg chg="modSp">
          <pc:chgData name="Thomas Matthews" userId="6bea4393-92f7-4cf9-9f90-2bad089bf8c1" providerId="ADAL" clId="{51BD3621-0270-4EAF-B6D1-110D2914983B}" dt="2025-10-06T14:50:52.565" v="78"/>
          <pc:sldLayoutMkLst>
            <pc:docMk/>
            <pc:sldMasterMk cId="2980599829" sldId="2147483843"/>
            <pc:sldLayoutMk cId="376624088" sldId="2147483856"/>
          </pc:sldLayoutMkLst>
          <pc:spChg chg="mod">
            <ac:chgData name="Thomas Matthews" userId="6bea4393-92f7-4cf9-9f90-2bad089bf8c1" providerId="ADAL" clId="{51BD3621-0270-4EAF-B6D1-110D2914983B}" dt="2025-10-06T14:50:52.565" v="78"/>
            <ac:spMkLst>
              <pc:docMk/>
              <pc:sldMasterMk cId="2980599829" sldId="2147483843"/>
              <pc:sldLayoutMk cId="376624088" sldId="2147483856"/>
              <ac:spMk id="6" creationId="{A400B9E1-C65A-1F67-73D1-8910394C1C83}"/>
            </ac:spMkLst>
          </pc:spChg>
        </pc:sldLayoutChg>
        <pc:sldLayoutChg chg="modSp">
          <pc:chgData name="Thomas Matthews" userId="6bea4393-92f7-4cf9-9f90-2bad089bf8c1" providerId="ADAL" clId="{51BD3621-0270-4EAF-B6D1-110D2914983B}" dt="2025-10-06T14:50:52.565" v="78"/>
          <pc:sldLayoutMkLst>
            <pc:docMk/>
            <pc:sldMasterMk cId="2980599829" sldId="2147483843"/>
            <pc:sldLayoutMk cId="636028720" sldId="2147483857"/>
          </pc:sldLayoutMkLst>
          <pc:spChg chg="mod">
            <ac:chgData name="Thomas Matthews" userId="6bea4393-92f7-4cf9-9f90-2bad089bf8c1" providerId="ADAL" clId="{51BD3621-0270-4EAF-B6D1-110D2914983B}" dt="2025-10-06T14:50:52.565" v="78"/>
            <ac:spMkLst>
              <pc:docMk/>
              <pc:sldMasterMk cId="2980599829" sldId="2147483843"/>
              <pc:sldLayoutMk cId="636028720" sldId="2147483857"/>
              <ac:spMk id="4" creationId="{8938CF6B-AAA5-A040-9E6A-575D26301D55}"/>
            </ac:spMkLst>
          </pc:spChg>
        </pc:sldLayoutChg>
        <pc:sldLayoutChg chg="modSp">
          <pc:chgData name="Thomas Matthews" userId="6bea4393-92f7-4cf9-9f90-2bad089bf8c1" providerId="ADAL" clId="{51BD3621-0270-4EAF-B6D1-110D2914983B}" dt="2025-10-06T14:50:52.565" v="78"/>
          <pc:sldLayoutMkLst>
            <pc:docMk/>
            <pc:sldMasterMk cId="2980599829" sldId="2147483843"/>
            <pc:sldLayoutMk cId="557662879" sldId="2147483858"/>
          </pc:sldLayoutMkLst>
          <pc:spChg chg="mod">
            <ac:chgData name="Thomas Matthews" userId="6bea4393-92f7-4cf9-9f90-2bad089bf8c1" providerId="ADAL" clId="{51BD3621-0270-4EAF-B6D1-110D2914983B}" dt="2025-10-06T14:50:52.565" v="78"/>
            <ac:spMkLst>
              <pc:docMk/>
              <pc:sldMasterMk cId="2980599829" sldId="2147483843"/>
              <pc:sldLayoutMk cId="557662879" sldId="2147483858"/>
              <ac:spMk id="4" creationId="{C089F6B3-B184-CD35-917E-7E6D3B7A8CDE}"/>
            </ac:spMkLst>
          </pc:spChg>
        </pc:sldLayoutChg>
        <pc:sldLayoutChg chg="modSp">
          <pc:chgData name="Thomas Matthews" userId="6bea4393-92f7-4cf9-9f90-2bad089bf8c1" providerId="ADAL" clId="{51BD3621-0270-4EAF-B6D1-110D2914983B}" dt="2025-10-06T14:50:52.565" v="78"/>
          <pc:sldLayoutMkLst>
            <pc:docMk/>
            <pc:sldMasterMk cId="2980599829" sldId="2147483843"/>
            <pc:sldLayoutMk cId="2688087181" sldId="2147483859"/>
          </pc:sldLayoutMkLst>
          <pc:spChg chg="mod">
            <ac:chgData name="Thomas Matthews" userId="6bea4393-92f7-4cf9-9f90-2bad089bf8c1" providerId="ADAL" clId="{51BD3621-0270-4EAF-B6D1-110D2914983B}" dt="2025-10-06T14:50:52.565" v="78"/>
            <ac:spMkLst>
              <pc:docMk/>
              <pc:sldMasterMk cId="2980599829" sldId="2147483843"/>
              <pc:sldLayoutMk cId="2688087181" sldId="2147483859"/>
              <ac:spMk id="4" creationId="{5E7FC5AF-5497-9574-95D6-1D004FDD63BA}"/>
            </ac:spMkLst>
          </pc:spChg>
        </pc:sldLayoutChg>
      </pc:sldMasterChg>
      <pc:sldMasterChg chg="modSp mod modSldLayout">
        <pc:chgData name="Thomas Matthews" userId="6bea4393-92f7-4cf9-9f90-2bad089bf8c1" providerId="ADAL" clId="{51BD3621-0270-4EAF-B6D1-110D2914983B}" dt="2025-10-06T14:55:03.409" v="86" actId="313"/>
        <pc:sldMasterMkLst>
          <pc:docMk/>
          <pc:sldMasterMk cId="2291073692" sldId="2147483866"/>
        </pc:sldMasterMkLst>
        <pc:spChg chg="mod">
          <ac:chgData name="Thomas Matthews" userId="6bea4393-92f7-4cf9-9f90-2bad089bf8c1" providerId="ADAL" clId="{51BD3621-0270-4EAF-B6D1-110D2914983B}" dt="2025-10-06T14:50:52.565" v="78"/>
          <ac:spMkLst>
            <pc:docMk/>
            <pc:sldMasterMk cId="2291073692" sldId="2147483866"/>
            <ac:spMk id="6" creationId="{731FDA51-E221-897D-6EAB-9569DFEFCD07}"/>
          </ac:spMkLst>
        </pc:spChg>
        <pc:spChg chg="mod">
          <ac:chgData name="Thomas Matthews" userId="6bea4393-92f7-4cf9-9f90-2bad089bf8c1" providerId="ADAL" clId="{51BD3621-0270-4EAF-B6D1-110D2914983B}" dt="2025-10-06T14:55:03.409" v="86" actId="313"/>
          <ac:spMkLst>
            <pc:docMk/>
            <pc:sldMasterMk cId="2291073692" sldId="2147483866"/>
            <ac:spMk id="10" creationId="{4ED3A7C6-9F15-8CA9-3E97-8E41011FF902}"/>
          </ac:spMkLst>
        </pc:spChg>
        <pc:sldLayoutChg chg="modSp">
          <pc:chgData name="Thomas Matthews" userId="6bea4393-92f7-4cf9-9f90-2bad089bf8c1" providerId="ADAL" clId="{51BD3621-0270-4EAF-B6D1-110D2914983B}" dt="2025-10-06T14:50:52.565" v="78"/>
          <pc:sldLayoutMkLst>
            <pc:docMk/>
            <pc:sldMasterMk cId="2291073692" sldId="2147483866"/>
            <pc:sldLayoutMk cId="4062596595" sldId="2147483867"/>
          </pc:sldLayoutMkLst>
          <pc:spChg chg="mod">
            <ac:chgData name="Thomas Matthews" userId="6bea4393-92f7-4cf9-9f90-2bad089bf8c1" providerId="ADAL" clId="{51BD3621-0270-4EAF-B6D1-110D2914983B}" dt="2025-10-06T14:50:52.565" v="78"/>
            <ac:spMkLst>
              <pc:docMk/>
              <pc:sldMasterMk cId="2291073692" sldId="2147483866"/>
              <pc:sldLayoutMk cId="4062596595" sldId="2147483867"/>
              <ac:spMk id="3" creationId="{F9C4B2B8-F44A-8FDA-C1AD-6424EE0D5B90}"/>
            </ac:spMkLst>
          </pc:spChg>
        </pc:sldLayoutChg>
        <pc:sldLayoutChg chg="modSp">
          <pc:chgData name="Thomas Matthews" userId="6bea4393-92f7-4cf9-9f90-2bad089bf8c1" providerId="ADAL" clId="{51BD3621-0270-4EAF-B6D1-110D2914983B}" dt="2025-10-06T14:50:52.565" v="78"/>
          <pc:sldLayoutMkLst>
            <pc:docMk/>
            <pc:sldMasterMk cId="2291073692" sldId="2147483866"/>
            <pc:sldLayoutMk cId="45771034" sldId="2147483868"/>
          </pc:sldLayoutMkLst>
          <pc:spChg chg="mod">
            <ac:chgData name="Thomas Matthews" userId="6bea4393-92f7-4cf9-9f90-2bad089bf8c1" providerId="ADAL" clId="{51BD3621-0270-4EAF-B6D1-110D2914983B}" dt="2025-10-06T14:50:52.565" v="78"/>
            <ac:spMkLst>
              <pc:docMk/>
              <pc:sldMasterMk cId="2291073692" sldId="2147483866"/>
              <pc:sldLayoutMk cId="45771034" sldId="2147483868"/>
              <ac:spMk id="11" creationId="{BAD39FEC-C47C-3952-05B1-B2EC1C7825DF}"/>
            </ac:spMkLst>
          </pc:spChg>
        </pc:sldLayoutChg>
        <pc:sldLayoutChg chg="modSp">
          <pc:chgData name="Thomas Matthews" userId="6bea4393-92f7-4cf9-9f90-2bad089bf8c1" providerId="ADAL" clId="{51BD3621-0270-4EAF-B6D1-110D2914983B}" dt="2025-10-06T14:50:52.565" v="78"/>
          <pc:sldLayoutMkLst>
            <pc:docMk/>
            <pc:sldMasterMk cId="2291073692" sldId="2147483866"/>
            <pc:sldLayoutMk cId="1275975461" sldId="2147483869"/>
          </pc:sldLayoutMkLst>
          <pc:spChg chg="mod">
            <ac:chgData name="Thomas Matthews" userId="6bea4393-92f7-4cf9-9f90-2bad089bf8c1" providerId="ADAL" clId="{51BD3621-0270-4EAF-B6D1-110D2914983B}" dt="2025-10-06T14:50:52.565" v="78"/>
            <ac:spMkLst>
              <pc:docMk/>
              <pc:sldMasterMk cId="2291073692" sldId="2147483866"/>
              <pc:sldLayoutMk cId="1275975461" sldId="2147483869"/>
              <ac:spMk id="16" creationId="{7BA15D20-E912-9A43-DF16-3BEC7804E12F}"/>
            </ac:spMkLst>
          </pc:spChg>
        </pc:sldLayoutChg>
        <pc:sldLayoutChg chg="modSp">
          <pc:chgData name="Thomas Matthews" userId="6bea4393-92f7-4cf9-9f90-2bad089bf8c1" providerId="ADAL" clId="{51BD3621-0270-4EAF-B6D1-110D2914983B}" dt="2025-10-06T14:50:52.565" v="78"/>
          <pc:sldLayoutMkLst>
            <pc:docMk/>
            <pc:sldMasterMk cId="2291073692" sldId="2147483866"/>
            <pc:sldLayoutMk cId="725710745" sldId="2147483870"/>
          </pc:sldLayoutMkLst>
          <pc:spChg chg="mod">
            <ac:chgData name="Thomas Matthews" userId="6bea4393-92f7-4cf9-9f90-2bad089bf8c1" providerId="ADAL" clId="{51BD3621-0270-4EAF-B6D1-110D2914983B}" dt="2025-10-06T14:50:52.565" v="78"/>
            <ac:spMkLst>
              <pc:docMk/>
              <pc:sldMasterMk cId="2291073692" sldId="2147483866"/>
              <pc:sldLayoutMk cId="725710745" sldId="2147483870"/>
              <ac:spMk id="18" creationId="{52E70746-9160-C39A-1872-2ACD9DAB8314}"/>
            </ac:spMkLst>
          </pc:spChg>
        </pc:sldLayoutChg>
        <pc:sldLayoutChg chg="modSp">
          <pc:chgData name="Thomas Matthews" userId="6bea4393-92f7-4cf9-9f90-2bad089bf8c1" providerId="ADAL" clId="{51BD3621-0270-4EAF-B6D1-110D2914983B}" dt="2025-10-06T14:50:52.565" v="78"/>
          <pc:sldLayoutMkLst>
            <pc:docMk/>
            <pc:sldMasterMk cId="2291073692" sldId="2147483866"/>
            <pc:sldLayoutMk cId="1929061361" sldId="2147483871"/>
          </pc:sldLayoutMkLst>
          <pc:spChg chg="mod">
            <ac:chgData name="Thomas Matthews" userId="6bea4393-92f7-4cf9-9f90-2bad089bf8c1" providerId="ADAL" clId="{51BD3621-0270-4EAF-B6D1-110D2914983B}" dt="2025-10-06T14:50:52.565" v="78"/>
            <ac:spMkLst>
              <pc:docMk/>
              <pc:sldMasterMk cId="2291073692" sldId="2147483866"/>
              <pc:sldLayoutMk cId="1929061361" sldId="2147483871"/>
              <ac:spMk id="51" creationId="{9EED9D5D-61AA-43F0-8E93-270B5258C413}"/>
            </ac:spMkLst>
          </pc:spChg>
        </pc:sldLayoutChg>
        <pc:sldLayoutChg chg="modSp">
          <pc:chgData name="Thomas Matthews" userId="6bea4393-92f7-4cf9-9f90-2bad089bf8c1" providerId="ADAL" clId="{51BD3621-0270-4EAF-B6D1-110D2914983B}" dt="2025-10-06T14:50:52.565" v="78"/>
          <pc:sldLayoutMkLst>
            <pc:docMk/>
            <pc:sldMasterMk cId="2291073692" sldId="2147483866"/>
            <pc:sldLayoutMk cId="3793560822" sldId="2147483872"/>
          </pc:sldLayoutMkLst>
          <pc:spChg chg="mod">
            <ac:chgData name="Thomas Matthews" userId="6bea4393-92f7-4cf9-9f90-2bad089bf8c1" providerId="ADAL" clId="{51BD3621-0270-4EAF-B6D1-110D2914983B}" dt="2025-10-06T14:50:52.565" v="78"/>
            <ac:spMkLst>
              <pc:docMk/>
              <pc:sldMasterMk cId="2291073692" sldId="2147483866"/>
              <pc:sldLayoutMk cId="3793560822" sldId="2147483872"/>
              <ac:spMk id="15" creationId="{51FD0202-2933-261F-FDB3-97C8B4591D9E}"/>
            </ac:spMkLst>
          </pc:spChg>
        </pc:sldLayoutChg>
        <pc:sldLayoutChg chg="modSp">
          <pc:chgData name="Thomas Matthews" userId="6bea4393-92f7-4cf9-9f90-2bad089bf8c1" providerId="ADAL" clId="{51BD3621-0270-4EAF-B6D1-110D2914983B}" dt="2025-10-06T14:50:52.565" v="78"/>
          <pc:sldLayoutMkLst>
            <pc:docMk/>
            <pc:sldMasterMk cId="2291073692" sldId="2147483866"/>
            <pc:sldLayoutMk cId="1270965384" sldId="2147483873"/>
          </pc:sldLayoutMkLst>
          <pc:spChg chg="mod">
            <ac:chgData name="Thomas Matthews" userId="6bea4393-92f7-4cf9-9f90-2bad089bf8c1" providerId="ADAL" clId="{51BD3621-0270-4EAF-B6D1-110D2914983B}" dt="2025-10-06T14:50:52.565" v="78"/>
            <ac:spMkLst>
              <pc:docMk/>
              <pc:sldMasterMk cId="2291073692" sldId="2147483866"/>
              <pc:sldLayoutMk cId="1270965384" sldId="2147483873"/>
              <ac:spMk id="17" creationId="{7E01DB59-9B37-F04F-3777-8FF058C3589A}"/>
            </ac:spMkLst>
          </pc:spChg>
        </pc:sldLayoutChg>
        <pc:sldLayoutChg chg="modSp">
          <pc:chgData name="Thomas Matthews" userId="6bea4393-92f7-4cf9-9f90-2bad089bf8c1" providerId="ADAL" clId="{51BD3621-0270-4EAF-B6D1-110D2914983B}" dt="2025-10-06T14:50:52.565" v="78"/>
          <pc:sldLayoutMkLst>
            <pc:docMk/>
            <pc:sldMasterMk cId="2291073692" sldId="2147483866"/>
            <pc:sldLayoutMk cId="1460087213" sldId="2147483874"/>
          </pc:sldLayoutMkLst>
          <pc:spChg chg="mod">
            <ac:chgData name="Thomas Matthews" userId="6bea4393-92f7-4cf9-9f90-2bad089bf8c1" providerId="ADAL" clId="{51BD3621-0270-4EAF-B6D1-110D2914983B}" dt="2025-10-06T14:50:52.565" v="78"/>
            <ac:spMkLst>
              <pc:docMk/>
              <pc:sldMasterMk cId="2291073692" sldId="2147483866"/>
              <pc:sldLayoutMk cId="1460087213" sldId="2147483874"/>
              <ac:spMk id="19" creationId="{B0FE7F07-C9DD-79C9-6757-C27B73B8C7A5}"/>
            </ac:spMkLst>
          </pc:spChg>
        </pc:sldLayoutChg>
        <pc:sldLayoutChg chg="modSp">
          <pc:chgData name="Thomas Matthews" userId="6bea4393-92f7-4cf9-9f90-2bad089bf8c1" providerId="ADAL" clId="{51BD3621-0270-4EAF-B6D1-110D2914983B}" dt="2025-10-06T14:50:52.565" v="78"/>
          <pc:sldLayoutMkLst>
            <pc:docMk/>
            <pc:sldMasterMk cId="2291073692" sldId="2147483866"/>
            <pc:sldLayoutMk cId="3968402759" sldId="2147483875"/>
          </pc:sldLayoutMkLst>
          <pc:spChg chg="mod">
            <ac:chgData name="Thomas Matthews" userId="6bea4393-92f7-4cf9-9f90-2bad089bf8c1" providerId="ADAL" clId="{51BD3621-0270-4EAF-B6D1-110D2914983B}" dt="2025-10-06T14:50:52.565" v="78"/>
            <ac:spMkLst>
              <pc:docMk/>
              <pc:sldMasterMk cId="2291073692" sldId="2147483866"/>
              <pc:sldLayoutMk cId="3968402759" sldId="2147483875"/>
              <ac:spMk id="19" creationId="{A7EAE299-1F76-73EE-8745-EE23D4D11B09}"/>
            </ac:spMkLst>
          </pc:spChg>
        </pc:sldLayoutChg>
        <pc:sldLayoutChg chg="modSp">
          <pc:chgData name="Thomas Matthews" userId="6bea4393-92f7-4cf9-9f90-2bad089bf8c1" providerId="ADAL" clId="{51BD3621-0270-4EAF-B6D1-110D2914983B}" dt="2025-10-06T14:50:52.565" v="78"/>
          <pc:sldLayoutMkLst>
            <pc:docMk/>
            <pc:sldMasterMk cId="2291073692" sldId="2147483866"/>
            <pc:sldLayoutMk cId="686393470" sldId="2147483876"/>
          </pc:sldLayoutMkLst>
          <pc:spChg chg="mod">
            <ac:chgData name="Thomas Matthews" userId="6bea4393-92f7-4cf9-9f90-2bad089bf8c1" providerId="ADAL" clId="{51BD3621-0270-4EAF-B6D1-110D2914983B}" dt="2025-10-06T14:50:52.565" v="78"/>
            <ac:spMkLst>
              <pc:docMk/>
              <pc:sldMasterMk cId="2291073692" sldId="2147483866"/>
              <pc:sldLayoutMk cId="686393470" sldId="2147483876"/>
              <ac:spMk id="19" creationId="{A7EAE299-1F76-73EE-8745-EE23D4D11B09}"/>
            </ac:spMkLst>
          </pc:spChg>
        </pc:sldLayoutChg>
        <pc:sldLayoutChg chg="modSp">
          <pc:chgData name="Thomas Matthews" userId="6bea4393-92f7-4cf9-9f90-2bad089bf8c1" providerId="ADAL" clId="{51BD3621-0270-4EAF-B6D1-110D2914983B}" dt="2025-10-06T14:50:52.565" v="78"/>
          <pc:sldLayoutMkLst>
            <pc:docMk/>
            <pc:sldMasterMk cId="2291073692" sldId="2147483866"/>
            <pc:sldLayoutMk cId="2756465011" sldId="2147483877"/>
          </pc:sldLayoutMkLst>
          <pc:spChg chg="mod">
            <ac:chgData name="Thomas Matthews" userId="6bea4393-92f7-4cf9-9f90-2bad089bf8c1" providerId="ADAL" clId="{51BD3621-0270-4EAF-B6D1-110D2914983B}" dt="2025-10-06T14:50:52.565" v="78"/>
            <ac:spMkLst>
              <pc:docMk/>
              <pc:sldMasterMk cId="2291073692" sldId="2147483866"/>
              <pc:sldLayoutMk cId="2756465011" sldId="2147483877"/>
              <ac:spMk id="21" creationId="{9E91E95F-0B78-B0DD-44F1-9229CA6FC1F7}"/>
            </ac:spMkLst>
          </pc:spChg>
        </pc:sldLayoutChg>
        <pc:sldLayoutChg chg="modSp">
          <pc:chgData name="Thomas Matthews" userId="6bea4393-92f7-4cf9-9f90-2bad089bf8c1" providerId="ADAL" clId="{51BD3621-0270-4EAF-B6D1-110D2914983B}" dt="2025-10-06T14:50:52.565" v="78"/>
          <pc:sldLayoutMkLst>
            <pc:docMk/>
            <pc:sldMasterMk cId="2291073692" sldId="2147483866"/>
            <pc:sldLayoutMk cId="3777739046" sldId="2147483878"/>
          </pc:sldLayoutMkLst>
          <pc:spChg chg="mod">
            <ac:chgData name="Thomas Matthews" userId="6bea4393-92f7-4cf9-9f90-2bad089bf8c1" providerId="ADAL" clId="{51BD3621-0270-4EAF-B6D1-110D2914983B}" dt="2025-10-06T14:50:52.565" v="78"/>
            <ac:spMkLst>
              <pc:docMk/>
              <pc:sldMasterMk cId="2291073692" sldId="2147483866"/>
              <pc:sldLayoutMk cId="3777739046" sldId="2147483878"/>
              <ac:spMk id="23" creationId="{26092300-6B2D-E291-F26E-F0EFBCCA1C83}"/>
            </ac:spMkLst>
          </pc:spChg>
        </pc:sldLayoutChg>
        <pc:sldLayoutChg chg="modSp">
          <pc:chgData name="Thomas Matthews" userId="6bea4393-92f7-4cf9-9f90-2bad089bf8c1" providerId="ADAL" clId="{51BD3621-0270-4EAF-B6D1-110D2914983B}" dt="2025-10-06T14:50:52.565" v="78"/>
          <pc:sldLayoutMkLst>
            <pc:docMk/>
            <pc:sldMasterMk cId="2291073692" sldId="2147483866"/>
            <pc:sldLayoutMk cId="1319012314" sldId="2147483879"/>
          </pc:sldLayoutMkLst>
          <pc:spChg chg="mod">
            <ac:chgData name="Thomas Matthews" userId="6bea4393-92f7-4cf9-9f90-2bad089bf8c1" providerId="ADAL" clId="{51BD3621-0270-4EAF-B6D1-110D2914983B}" dt="2025-10-06T14:50:52.565" v="78"/>
            <ac:spMkLst>
              <pc:docMk/>
              <pc:sldMasterMk cId="2291073692" sldId="2147483866"/>
              <pc:sldLayoutMk cId="1319012314" sldId="2147483879"/>
              <ac:spMk id="6" creationId="{A400B9E1-C65A-1F67-73D1-8910394C1C83}"/>
            </ac:spMkLst>
          </pc:spChg>
        </pc:sldLayoutChg>
        <pc:sldLayoutChg chg="modSp">
          <pc:chgData name="Thomas Matthews" userId="6bea4393-92f7-4cf9-9f90-2bad089bf8c1" providerId="ADAL" clId="{51BD3621-0270-4EAF-B6D1-110D2914983B}" dt="2025-10-06T14:50:52.565" v="78"/>
          <pc:sldLayoutMkLst>
            <pc:docMk/>
            <pc:sldMasterMk cId="2291073692" sldId="2147483866"/>
            <pc:sldLayoutMk cId="3727907477" sldId="2147483880"/>
          </pc:sldLayoutMkLst>
          <pc:spChg chg="mod">
            <ac:chgData name="Thomas Matthews" userId="6bea4393-92f7-4cf9-9f90-2bad089bf8c1" providerId="ADAL" clId="{51BD3621-0270-4EAF-B6D1-110D2914983B}" dt="2025-10-06T14:50:52.565" v="78"/>
            <ac:spMkLst>
              <pc:docMk/>
              <pc:sldMasterMk cId="2291073692" sldId="2147483866"/>
              <pc:sldLayoutMk cId="3727907477" sldId="2147483880"/>
              <ac:spMk id="4" creationId="{8938CF6B-AAA5-A040-9E6A-575D26301D55}"/>
            </ac:spMkLst>
          </pc:spChg>
        </pc:sldLayoutChg>
        <pc:sldLayoutChg chg="modSp">
          <pc:chgData name="Thomas Matthews" userId="6bea4393-92f7-4cf9-9f90-2bad089bf8c1" providerId="ADAL" clId="{51BD3621-0270-4EAF-B6D1-110D2914983B}" dt="2025-10-06T14:50:52.565" v="78"/>
          <pc:sldLayoutMkLst>
            <pc:docMk/>
            <pc:sldMasterMk cId="2291073692" sldId="2147483866"/>
            <pc:sldLayoutMk cId="3616169674" sldId="2147483881"/>
          </pc:sldLayoutMkLst>
          <pc:spChg chg="mod">
            <ac:chgData name="Thomas Matthews" userId="6bea4393-92f7-4cf9-9f90-2bad089bf8c1" providerId="ADAL" clId="{51BD3621-0270-4EAF-B6D1-110D2914983B}" dt="2025-10-06T14:50:52.565" v="78"/>
            <ac:spMkLst>
              <pc:docMk/>
              <pc:sldMasterMk cId="2291073692" sldId="2147483866"/>
              <pc:sldLayoutMk cId="3616169674" sldId="2147483881"/>
              <ac:spMk id="4" creationId="{C089F6B3-B184-CD35-917E-7E6D3B7A8CDE}"/>
            </ac:spMkLst>
          </pc:spChg>
        </pc:sldLayoutChg>
        <pc:sldLayoutChg chg="modSp">
          <pc:chgData name="Thomas Matthews" userId="6bea4393-92f7-4cf9-9f90-2bad089bf8c1" providerId="ADAL" clId="{51BD3621-0270-4EAF-B6D1-110D2914983B}" dt="2025-10-06T14:50:52.565" v="78"/>
          <pc:sldLayoutMkLst>
            <pc:docMk/>
            <pc:sldMasterMk cId="2291073692" sldId="2147483866"/>
            <pc:sldLayoutMk cId="49633949" sldId="2147483882"/>
          </pc:sldLayoutMkLst>
          <pc:spChg chg="mod">
            <ac:chgData name="Thomas Matthews" userId="6bea4393-92f7-4cf9-9f90-2bad089bf8c1" providerId="ADAL" clId="{51BD3621-0270-4EAF-B6D1-110D2914983B}" dt="2025-10-06T14:50:52.565" v="78"/>
            <ac:spMkLst>
              <pc:docMk/>
              <pc:sldMasterMk cId="2291073692" sldId="2147483866"/>
              <pc:sldLayoutMk cId="49633949" sldId="2147483882"/>
              <ac:spMk id="8" creationId="{46079007-DD16-E1A0-0A92-2C3D5307A683}"/>
            </ac:spMkLst>
          </pc:spChg>
        </pc:sldLayoutChg>
        <pc:sldLayoutChg chg="modSp">
          <pc:chgData name="Thomas Matthews" userId="6bea4393-92f7-4cf9-9f90-2bad089bf8c1" providerId="ADAL" clId="{51BD3621-0270-4EAF-B6D1-110D2914983B}" dt="2025-10-06T14:50:52.565" v="78"/>
          <pc:sldLayoutMkLst>
            <pc:docMk/>
            <pc:sldMasterMk cId="2291073692" sldId="2147483866"/>
            <pc:sldLayoutMk cId="3484190493" sldId="2147483883"/>
          </pc:sldLayoutMkLst>
          <pc:spChg chg="mod">
            <ac:chgData name="Thomas Matthews" userId="6bea4393-92f7-4cf9-9f90-2bad089bf8c1" providerId="ADAL" clId="{51BD3621-0270-4EAF-B6D1-110D2914983B}" dt="2025-10-06T14:50:52.565" v="78"/>
            <ac:spMkLst>
              <pc:docMk/>
              <pc:sldMasterMk cId="2291073692" sldId="2147483866"/>
              <pc:sldLayoutMk cId="3484190493" sldId="2147483883"/>
              <ac:spMk id="4" creationId="{5E7FC5AF-5497-9574-95D6-1D004FDD63BA}"/>
            </ac:spMkLst>
          </pc:spChg>
        </pc:sldLayoutChg>
        <pc:sldLayoutChg chg="modSp">
          <pc:chgData name="Thomas Matthews" userId="6bea4393-92f7-4cf9-9f90-2bad089bf8c1" providerId="ADAL" clId="{51BD3621-0270-4EAF-B6D1-110D2914983B}" dt="2025-10-06T14:50:52.565" v="78"/>
          <pc:sldLayoutMkLst>
            <pc:docMk/>
            <pc:sldMasterMk cId="2291073692" sldId="2147483866"/>
            <pc:sldLayoutMk cId="2721436381" sldId="2147483884"/>
          </pc:sldLayoutMkLst>
          <pc:spChg chg="mod">
            <ac:chgData name="Thomas Matthews" userId="6bea4393-92f7-4cf9-9f90-2bad089bf8c1" providerId="ADAL" clId="{51BD3621-0270-4EAF-B6D1-110D2914983B}" dt="2025-10-06T14:50:52.565" v="78"/>
            <ac:spMkLst>
              <pc:docMk/>
              <pc:sldMasterMk cId="2291073692" sldId="2147483866"/>
              <pc:sldLayoutMk cId="2721436381" sldId="2147483884"/>
              <ac:spMk id="4" creationId="{5E7FC5AF-5497-9574-95D6-1D004FDD63BA}"/>
            </ac:spMkLst>
          </pc:spChg>
        </pc:sldLayoutChg>
        <pc:sldLayoutChg chg="modSp">
          <pc:chgData name="Thomas Matthews" userId="6bea4393-92f7-4cf9-9f90-2bad089bf8c1" providerId="ADAL" clId="{51BD3621-0270-4EAF-B6D1-110D2914983B}" dt="2025-10-06T14:50:52.565" v="78"/>
          <pc:sldLayoutMkLst>
            <pc:docMk/>
            <pc:sldMasterMk cId="2291073692" sldId="2147483866"/>
            <pc:sldLayoutMk cId="1001196506" sldId="2147483887"/>
          </pc:sldLayoutMkLst>
          <pc:spChg chg="mod">
            <ac:chgData name="Thomas Matthews" userId="6bea4393-92f7-4cf9-9f90-2bad089bf8c1" providerId="ADAL" clId="{51BD3621-0270-4EAF-B6D1-110D2914983B}" dt="2025-10-06T14:50:52.565" v="78"/>
            <ac:spMkLst>
              <pc:docMk/>
              <pc:sldMasterMk cId="2291073692" sldId="2147483866"/>
              <pc:sldLayoutMk cId="1001196506" sldId="2147483887"/>
              <ac:spMk id="3" creationId="{2FC67B72-A3A4-B10F-C99A-20DF6C229A86}"/>
            </ac:spMkLst>
          </pc:spChg>
        </pc:sldLayoutChg>
        <pc:sldLayoutChg chg="modSp">
          <pc:chgData name="Thomas Matthews" userId="6bea4393-92f7-4cf9-9f90-2bad089bf8c1" providerId="ADAL" clId="{51BD3621-0270-4EAF-B6D1-110D2914983B}" dt="2025-10-06T14:50:52.565" v="78"/>
          <pc:sldLayoutMkLst>
            <pc:docMk/>
            <pc:sldMasterMk cId="2291073692" sldId="2147483866"/>
            <pc:sldLayoutMk cId="1493071670" sldId="2147483983"/>
          </pc:sldLayoutMkLst>
          <pc:spChg chg="mod">
            <ac:chgData name="Thomas Matthews" userId="6bea4393-92f7-4cf9-9f90-2bad089bf8c1" providerId="ADAL" clId="{51BD3621-0270-4EAF-B6D1-110D2914983B}" dt="2025-10-06T14:50:52.565" v="78"/>
            <ac:spMkLst>
              <pc:docMk/>
              <pc:sldMasterMk cId="2291073692" sldId="2147483866"/>
              <pc:sldLayoutMk cId="1493071670" sldId="2147483983"/>
              <ac:spMk id="4" creationId="{5E7FC5AF-5497-9574-95D6-1D004FDD63BA}"/>
            </ac:spMkLst>
          </pc:spChg>
        </pc:sldLayoutChg>
        <pc:sldLayoutChg chg="modSp">
          <pc:chgData name="Thomas Matthews" userId="6bea4393-92f7-4cf9-9f90-2bad089bf8c1" providerId="ADAL" clId="{51BD3621-0270-4EAF-B6D1-110D2914983B}" dt="2025-10-06T14:50:52.565" v="78"/>
          <pc:sldLayoutMkLst>
            <pc:docMk/>
            <pc:sldMasterMk cId="2291073692" sldId="2147483866"/>
            <pc:sldLayoutMk cId="3146281962" sldId="2147483984"/>
          </pc:sldLayoutMkLst>
          <pc:spChg chg="mod">
            <ac:chgData name="Thomas Matthews" userId="6bea4393-92f7-4cf9-9f90-2bad089bf8c1" providerId="ADAL" clId="{51BD3621-0270-4EAF-B6D1-110D2914983B}" dt="2025-10-06T14:50:52.565" v="78"/>
            <ac:spMkLst>
              <pc:docMk/>
              <pc:sldMasterMk cId="2291073692" sldId="2147483866"/>
              <pc:sldLayoutMk cId="3146281962" sldId="2147483984"/>
              <ac:spMk id="4" creationId="{5E7FC5AF-5497-9574-95D6-1D004FDD63BA}"/>
            </ac:spMkLst>
          </pc:spChg>
        </pc:sldLayoutChg>
      </pc:sldMasterChg>
      <pc:sldMasterChg chg="modSp mod modSldLayout">
        <pc:chgData name="Thomas Matthews" userId="6bea4393-92f7-4cf9-9f90-2bad089bf8c1" providerId="ADAL" clId="{51BD3621-0270-4EAF-B6D1-110D2914983B}" dt="2025-10-06T14:55:11.145" v="97" actId="313"/>
        <pc:sldMasterMkLst>
          <pc:docMk/>
          <pc:sldMasterMk cId="2507635641" sldId="2147484308"/>
        </pc:sldMasterMkLst>
        <pc:spChg chg="mod">
          <ac:chgData name="Thomas Matthews" userId="6bea4393-92f7-4cf9-9f90-2bad089bf8c1" providerId="ADAL" clId="{51BD3621-0270-4EAF-B6D1-110D2914983B}" dt="2025-10-06T14:55:05.160" v="88" actId="313"/>
          <ac:spMkLst>
            <pc:docMk/>
            <pc:sldMasterMk cId="2507635641" sldId="2147484308"/>
            <ac:spMk id="10" creationId="{4ED3A7C6-9F15-8CA9-3E97-8E41011FF902}"/>
          </ac:spMkLst>
        </pc:spChg>
        <pc:sldLayoutChg chg="modSp mod">
          <pc:chgData name="Thomas Matthews" userId="6bea4393-92f7-4cf9-9f90-2bad089bf8c1" providerId="ADAL" clId="{51BD3621-0270-4EAF-B6D1-110D2914983B}" dt="2025-10-06T14:55:08.996" v="94" actId="313"/>
          <pc:sldLayoutMkLst>
            <pc:docMk/>
            <pc:sldMasterMk cId="2507635641" sldId="2147484308"/>
            <pc:sldLayoutMk cId="1078339436" sldId="2147484309"/>
          </pc:sldLayoutMkLst>
          <pc:spChg chg="mod">
            <ac:chgData name="Thomas Matthews" userId="6bea4393-92f7-4cf9-9f90-2bad089bf8c1" providerId="ADAL" clId="{51BD3621-0270-4EAF-B6D1-110D2914983B}" dt="2025-10-06T14:55:08.996" v="94" actId="313"/>
            <ac:spMkLst>
              <pc:docMk/>
              <pc:sldMasterMk cId="2507635641" sldId="2147484308"/>
              <pc:sldLayoutMk cId="1078339436" sldId="2147484309"/>
              <ac:spMk id="7" creationId="{61C21230-0854-6359-BC4D-8832DDBED263}"/>
            </ac:spMkLst>
          </pc:spChg>
        </pc:sldLayoutChg>
        <pc:sldLayoutChg chg="modSp mod">
          <pc:chgData name="Thomas Matthews" userId="6bea4393-92f7-4cf9-9f90-2bad089bf8c1" providerId="ADAL" clId="{51BD3621-0270-4EAF-B6D1-110D2914983B}" dt="2025-10-06T14:55:09.612" v="95" actId="313"/>
          <pc:sldLayoutMkLst>
            <pc:docMk/>
            <pc:sldMasterMk cId="2507635641" sldId="2147484308"/>
            <pc:sldLayoutMk cId="2200284154" sldId="2147484310"/>
          </pc:sldLayoutMkLst>
          <pc:spChg chg="mod">
            <ac:chgData name="Thomas Matthews" userId="6bea4393-92f7-4cf9-9f90-2bad089bf8c1" providerId="ADAL" clId="{51BD3621-0270-4EAF-B6D1-110D2914983B}" dt="2025-10-06T14:55:09.612" v="95" actId="313"/>
            <ac:spMkLst>
              <pc:docMk/>
              <pc:sldMasterMk cId="2507635641" sldId="2147484308"/>
              <pc:sldLayoutMk cId="2200284154" sldId="2147484310"/>
              <ac:spMk id="13" creationId="{4AA0C791-0C91-D34F-A875-09C82EEA0F22}"/>
            </ac:spMkLst>
          </pc:spChg>
        </pc:sldLayoutChg>
        <pc:sldLayoutChg chg="modSp mod">
          <pc:chgData name="Thomas Matthews" userId="6bea4393-92f7-4cf9-9f90-2bad089bf8c1" providerId="ADAL" clId="{51BD3621-0270-4EAF-B6D1-110D2914983B}" dt="2025-10-06T14:55:10.154" v="96" actId="313"/>
          <pc:sldLayoutMkLst>
            <pc:docMk/>
            <pc:sldMasterMk cId="2507635641" sldId="2147484308"/>
            <pc:sldLayoutMk cId="3550125191" sldId="2147484322"/>
          </pc:sldLayoutMkLst>
          <pc:spChg chg="mod">
            <ac:chgData name="Thomas Matthews" userId="6bea4393-92f7-4cf9-9f90-2bad089bf8c1" providerId="ADAL" clId="{51BD3621-0270-4EAF-B6D1-110D2914983B}" dt="2025-10-06T14:55:10.154" v="96" actId="313"/>
            <ac:spMkLst>
              <pc:docMk/>
              <pc:sldMasterMk cId="2507635641" sldId="2147484308"/>
              <pc:sldLayoutMk cId="3550125191" sldId="2147484322"/>
              <ac:spMk id="6" creationId="{89AFE2E4-3750-7F12-6F58-EFABEA1B26B7}"/>
            </ac:spMkLst>
          </pc:spChg>
        </pc:sldLayoutChg>
        <pc:sldLayoutChg chg="modSp mod">
          <pc:chgData name="Thomas Matthews" userId="6bea4393-92f7-4cf9-9f90-2bad089bf8c1" providerId="ADAL" clId="{51BD3621-0270-4EAF-B6D1-110D2914983B}" dt="2025-10-06T14:55:11.145" v="97" actId="313"/>
          <pc:sldLayoutMkLst>
            <pc:docMk/>
            <pc:sldMasterMk cId="2507635641" sldId="2147484308"/>
            <pc:sldLayoutMk cId="210370822" sldId="2147484324"/>
          </pc:sldLayoutMkLst>
          <pc:spChg chg="mod">
            <ac:chgData name="Thomas Matthews" userId="6bea4393-92f7-4cf9-9f90-2bad089bf8c1" providerId="ADAL" clId="{51BD3621-0270-4EAF-B6D1-110D2914983B}" dt="2025-10-06T14:55:11.145" v="97" actId="313"/>
            <ac:spMkLst>
              <pc:docMk/>
              <pc:sldMasterMk cId="2507635641" sldId="2147484308"/>
              <pc:sldLayoutMk cId="210370822" sldId="2147484324"/>
              <ac:spMk id="4" creationId="{12596397-4B8B-C5D3-6C87-2024D4EBC593}"/>
            </ac:spMkLst>
          </pc:spChg>
        </pc:sldLayoutChg>
      </pc:sldMasterChg>
      <pc:sldMasterChg chg="modSp mod">
        <pc:chgData name="Thomas Matthews" userId="6bea4393-92f7-4cf9-9f90-2bad089bf8c1" providerId="ADAL" clId="{51BD3621-0270-4EAF-B6D1-110D2914983B}" dt="2025-10-06T14:55:06.249" v="89" actId="313"/>
        <pc:sldMasterMkLst>
          <pc:docMk/>
          <pc:sldMasterMk cId="1738416533" sldId="2147484328"/>
        </pc:sldMasterMkLst>
        <pc:spChg chg="mod">
          <ac:chgData name="Thomas Matthews" userId="6bea4393-92f7-4cf9-9f90-2bad089bf8c1" providerId="ADAL" clId="{51BD3621-0270-4EAF-B6D1-110D2914983B}" dt="2025-10-06T14:55:06.249" v="89" actId="313"/>
          <ac:spMkLst>
            <pc:docMk/>
            <pc:sldMasterMk cId="1738416533" sldId="2147484328"/>
            <ac:spMk id="10" creationId="{4ED3A7C6-9F15-8CA9-3E97-8E41011FF902}"/>
          </ac:spMkLst>
        </pc:spChg>
      </pc:sldMasterChg>
      <pc:sldMasterChg chg="modSp mod">
        <pc:chgData name="Thomas Matthews" userId="6bea4393-92f7-4cf9-9f90-2bad089bf8c1" providerId="ADAL" clId="{51BD3621-0270-4EAF-B6D1-110D2914983B}" dt="2025-10-06T14:55:06.961" v="90" actId="313"/>
        <pc:sldMasterMkLst>
          <pc:docMk/>
          <pc:sldMasterMk cId="1239407797" sldId="2147484442"/>
        </pc:sldMasterMkLst>
        <pc:spChg chg="mod">
          <ac:chgData name="Thomas Matthews" userId="6bea4393-92f7-4cf9-9f90-2bad089bf8c1" providerId="ADAL" clId="{51BD3621-0270-4EAF-B6D1-110D2914983B}" dt="2025-10-06T14:50:52.565" v="78"/>
          <ac:spMkLst>
            <pc:docMk/>
            <pc:sldMasterMk cId="1239407797" sldId="2147484442"/>
            <ac:spMk id="6" creationId="{731FDA51-E221-897D-6EAB-9569DFEFCD07}"/>
          </ac:spMkLst>
        </pc:spChg>
        <pc:spChg chg="mod">
          <ac:chgData name="Thomas Matthews" userId="6bea4393-92f7-4cf9-9f90-2bad089bf8c1" providerId="ADAL" clId="{51BD3621-0270-4EAF-B6D1-110D2914983B}" dt="2025-10-06T14:55:06.961" v="90" actId="313"/>
          <ac:spMkLst>
            <pc:docMk/>
            <pc:sldMasterMk cId="1239407797" sldId="2147484442"/>
            <ac:spMk id="10" creationId="{4ED3A7C6-9F15-8CA9-3E97-8E41011FF902}"/>
          </ac:spMkLst>
        </pc:spChg>
      </pc:sldMasterChg>
      <pc:sldMasterChg chg="delSldLayout">
        <pc:chgData name="Thomas Matthews" userId="6bea4393-92f7-4cf9-9f90-2bad089bf8c1" providerId="ADAL" clId="{51BD3621-0270-4EAF-B6D1-110D2914983B}" dt="2025-10-08T16:06:59.383" v="887" actId="47"/>
        <pc:sldMasterMkLst>
          <pc:docMk/>
          <pc:sldMasterMk cId="2521369510" sldId="2147484466"/>
        </pc:sldMasterMkLst>
        <pc:sldLayoutChg chg="del">
          <pc:chgData name="Thomas Matthews" userId="6bea4393-92f7-4cf9-9f90-2bad089bf8c1" providerId="ADAL" clId="{51BD3621-0270-4EAF-B6D1-110D2914983B}" dt="2025-10-08T16:06:59.383" v="887" actId="47"/>
          <pc:sldLayoutMkLst>
            <pc:docMk/>
            <pc:sldMasterMk cId="2521369510" sldId="2147484466"/>
            <pc:sldLayoutMk cId="154993094" sldId="2147484510"/>
          </pc:sldLayoutMkLst>
        </pc:sldLayoutChg>
        <pc:sldLayoutChg chg="del">
          <pc:chgData name="Thomas Matthews" userId="6bea4393-92f7-4cf9-9f90-2bad089bf8c1" providerId="ADAL" clId="{51BD3621-0270-4EAF-B6D1-110D2914983B}" dt="2025-10-07T09:03:42.673" v="288" actId="47"/>
          <pc:sldLayoutMkLst>
            <pc:docMk/>
            <pc:sldMasterMk cId="2521369510" sldId="2147484466"/>
            <pc:sldLayoutMk cId="2863517090" sldId="2147484512"/>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oleObject" Target="file:///\\azurepanzura01\Data\Steel\GROUP\STALLOY\COBALT\Model%20System\Cobalt%20Balance%20&amp;%20Price.xlsx" TargetMode="Externa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10.xml"/><Relationship Id="rId1" Type="http://schemas.microsoft.com/office/2011/relationships/chartStyle" Target="style10.xml"/><Relationship Id="rId5" Type="http://schemas.openxmlformats.org/officeDocument/2006/relationships/chartUserShapes" Target="../drawings/drawing10.xml"/><Relationship Id="rId4" Type="http://schemas.openxmlformats.org/officeDocument/2006/relationships/oleObject" Target="file:///\\azurepanzura01\data\Steel\GROUP\STALLOY\LITHIUM\Lithium%20Model\Lithium%20Mine%20Database.xlsx" TargetMode="Externa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11.xml"/><Relationship Id="rId1" Type="http://schemas.microsoft.com/office/2011/relationships/chartStyle" Target="style11.xml"/><Relationship Id="rId5" Type="http://schemas.openxmlformats.org/officeDocument/2006/relationships/chartUserShapes" Target="../drawings/drawing11.xml"/><Relationship Id="rId4" Type="http://schemas.openxmlformats.org/officeDocument/2006/relationships/oleObject" Target="https://crugroup.sharepoint.com/sites/ehub-cru-x-team-communities/Technology%20Metals/Marketing%20&amp;%20Insights/2025/China%20lithium%20mining%20permit/China%20lithium%20mine%20mining%20permit.xlsx" TargetMode="External"/></Relationships>
</file>

<file path=ppt/charts/_rels/chart12.xml.rels><?xml version="1.0" encoding="UTF-8" standalone="yes"?>
<Relationships xmlns="http://schemas.openxmlformats.org/package/2006/relationships"><Relationship Id="rId2" Type="http://schemas.openxmlformats.org/officeDocument/2006/relationships/chartUserShapes" Target="../drawings/drawing12.xml"/><Relationship Id="rId1" Type="http://schemas.openxmlformats.org/officeDocument/2006/relationships/oleObject" Target="file:///\\azurepanzura01.crulan.local\Data\Steel\GROUP\STALLOY\LITHIUM\Lithium%20Model\Lithium%20Balance%20and%20Price.xlsx" TargetMode="External"/></Relationships>
</file>

<file path=ppt/charts/_rels/chart2.xml.rels><?xml version="1.0" encoding="UTF-8" standalone="yes"?>
<Relationships xmlns="http://schemas.openxmlformats.org/package/2006/relationships"><Relationship Id="rId3" Type="http://schemas.openxmlformats.org/officeDocument/2006/relationships/oleObject" Target="file:///\\azurepanzura01\Data\Steel\GROUP\STALLOY\COBALT\Model%20System\Cobalt%20Charts.xlsx" TargetMode="Externa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3.xml"/><Relationship Id="rId1" Type="http://schemas.microsoft.com/office/2011/relationships/chartStyle" Target="style3.xml"/><Relationship Id="rId5" Type="http://schemas.openxmlformats.org/officeDocument/2006/relationships/chartUserShapes" Target="../drawings/drawing3.xml"/><Relationship Id="rId4" Type="http://schemas.openxmlformats.org/officeDocument/2006/relationships/oleObject" Target="file:///\\azurepanzura01\Data\Steel\GROUP\STALLOY\COBALT\Model%20System\Cobalt%20Charts.xlsx" TargetMode="Externa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4.xml"/><Relationship Id="rId1" Type="http://schemas.microsoft.com/office/2011/relationships/chartStyle" Target="style4.xml"/><Relationship Id="rId5" Type="http://schemas.openxmlformats.org/officeDocument/2006/relationships/chartUserShapes" Target="../drawings/drawing4.xml"/><Relationship Id="rId4" Type="http://schemas.openxmlformats.org/officeDocument/2006/relationships/oleObject" Target="https://crugroup.sharepoint.com/sites/ehub-cru-x-team-communities/Technology%20Metals/Publications/Cobalt/Working%20files/Co%20inventory%20modelling%20Sep%202025.xlsx"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5.xml"/><Relationship Id="rId1" Type="http://schemas.microsoft.com/office/2011/relationships/chartStyle" Target="style5.xml"/><Relationship Id="rId5" Type="http://schemas.openxmlformats.org/officeDocument/2006/relationships/chartUserShapes" Target="../drawings/drawing5.xml"/><Relationship Id="rId4" Type="http://schemas.openxmlformats.org/officeDocument/2006/relationships/oleObject" Target="https://crugroup.sharepoint.com/sites/ehub-cru-x-team-communities/Technology%20Metals/Publications/Cobalt/Working%20files/Co%20inventory%20modelling%20Sep%202025.xlsx" TargetMode="Externa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6.xml"/><Relationship Id="rId1" Type="http://schemas.microsoft.com/office/2011/relationships/chartStyle" Target="style6.xml"/><Relationship Id="rId5" Type="http://schemas.openxmlformats.org/officeDocument/2006/relationships/chartUserShapes" Target="../drawings/drawing6.xml"/><Relationship Id="rId4" Type="http://schemas.openxmlformats.org/officeDocument/2006/relationships/oleObject" Target="Book1" TargetMode="Externa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7.xml"/><Relationship Id="rId1" Type="http://schemas.microsoft.com/office/2011/relationships/chartStyle" Target="style7.xml"/><Relationship Id="rId5" Type="http://schemas.openxmlformats.org/officeDocument/2006/relationships/chartUserShapes" Target="../drawings/drawing7.xml"/><Relationship Id="rId4" Type="http://schemas.openxmlformats.org/officeDocument/2006/relationships/oleObject" Target="https://crugroup.sharepoint.com/sites/ehub-cru-x-team-communities/Technology%20Metals/Publications/Cobalt/Working%20files/Co%20inventory%20modelling%20Sep%202025.xlsx" TargetMode="External"/></Relationships>
</file>

<file path=ppt/charts/_rels/chart8.xml.rels><?xml version="1.0" encoding="UTF-8" standalone="yes"?>
<Relationships xmlns="http://schemas.openxmlformats.org/package/2006/relationships"><Relationship Id="rId3" Type="http://schemas.openxmlformats.org/officeDocument/2006/relationships/oleObject" Target="file:///\\azurepanzura01\Data\Steel\GROUP\STALLOY\COBALT\Model%20System\Cobalt%20Charts.xlsx" TargetMode="Externa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8.xm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9.xml"/><Relationship Id="rId1" Type="http://schemas.microsoft.com/office/2011/relationships/chartStyle" Target="style9.xml"/><Relationship Id="rId5" Type="http://schemas.openxmlformats.org/officeDocument/2006/relationships/chartUserShapes" Target="../drawings/drawing9.xml"/><Relationship Id="rId4" Type="http://schemas.openxmlformats.org/officeDocument/2006/relationships/oleObject" Target="https://crugroup.sharepoint.com/sites/ehub-cru-x-team-communities/Technology%20Metals/Working%20Files/Lithium/GFE%20data.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20357491809874"/>
          <c:y val="0.10328067964808425"/>
          <c:w val="0.85727833333333336"/>
          <c:h val="0.79404430930284875"/>
        </c:manualLayout>
      </c:layout>
      <c:lineChart>
        <c:grouping val="standard"/>
        <c:varyColors val="0"/>
        <c:ser>
          <c:idx val="0"/>
          <c:order val="0"/>
          <c:spPr>
            <a:ln w="28575" cap="rnd" cmpd="sng" algn="ctr">
              <a:solidFill>
                <a:srgbClr val="F07169"/>
              </a:solidFill>
              <a:prstDash val="solid"/>
              <a:round/>
            </a:ln>
            <a:effectLst/>
          </c:spPr>
          <c:marker>
            <c:symbol val="none"/>
          </c:marker>
          <c:dPt>
            <c:idx val="0"/>
            <c:bubble3D val="0"/>
            <c:spPr>
              <a:ln w="28575" cap="rnd" cmpd="sng" algn="ctr">
                <a:solidFill>
                  <a:srgbClr val="F07169"/>
                </a:solidFill>
                <a:prstDash val="solid"/>
                <a:round/>
              </a:ln>
              <a:effectLst/>
            </c:spPr>
            <c:extLst>
              <c:ext xmlns:c16="http://schemas.microsoft.com/office/drawing/2014/chart" uri="{C3380CC4-5D6E-409C-BE32-E72D297353CC}">
                <c16:uniqueId val="{00000001-474C-4A57-84FC-0AD2AAC67011}"/>
              </c:ext>
            </c:extLst>
          </c:dPt>
          <c:dPt>
            <c:idx val="1"/>
            <c:bubble3D val="0"/>
            <c:spPr>
              <a:ln w="28575" cap="rnd" cmpd="sng" algn="ctr">
                <a:solidFill>
                  <a:srgbClr val="F07169"/>
                </a:solidFill>
                <a:prstDash val="solid"/>
                <a:round/>
              </a:ln>
              <a:effectLst/>
            </c:spPr>
            <c:extLst>
              <c:ext xmlns:c16="http://schemas.microsoft.com/office/drawing/2014/chart" uri="{C3380CC4-5D6E-409C-BE32-E72D297353CC}">
                <c16:uniqueId val="{00000003-474C-4A57-84FC-0AD2AAC67011}"/>
              </c:ext>
            </c:extLst>
          </c:dPt>
          <c:dPt>
            <c:idx val="2"/>
            <c:bubble3D val="0"/>
            <c:spPr>
              <a:ln w="28575" cap="rnd" cmpd="sng" algn="ctr">
                <a:solidFill>
                  <a:srgbClr val="F07169"/>
                </a:solidFill>
                <a:prstDash val="solid"/>
                <a:round/>
              </a:ln>
              <a:effectLst/>
            </c:spPr>
            <c:extLst>
              <c:ext xmlns:c16="http://schemas.microsoft.com/office/drawing/2014/chart" uri="{C3380CC4-5D6E-409C-BE32-E72D297353CC}">
                <c16:uniqueId val="{00000005-474C-4A57-84FC-0AD2AAC67011}"/>
              </c:ext>
            </c:extLst>
          </c:dPt>
          <c:dPt>
            <c:idx val="3"/>
            <c:bubble3D val="0"/>
            <c:spPr>
              <a:ln w="28575" cap="rnd" cmpd="sng" algn="ctr">
                <a:solidFill>
                  <a:srgbClr val="F07169"/>
                </a:solidFill>
                <a:prstDash val="solid"/>
                <a:round/>
              </a:ln>
              <a:effectLst/>
            </c:spPr>
            <c:extLst>
              <c:ext xmlns:c16="http://schemas.microsoft.com/office/drawing/2014/chart" uri="{C3380CC4-5D6E-409C-BE32-E72D297353CC}">
                <c16:uniqueId val="{00000007-474C-4A57-84FC-0AD2AAC67011}"/>
              </c:ext>
            </c:extLst>
          </c:dPt>
          <c:dLbls>
            <c:dLbl>
              <c:idx val="64"/>
              <c:layout>
                <c:manualLayout>
                  <c:x val="-0.34057282985612203"/>
                  <c:y val="-9.9418432550453822E-2"/>
                </c:manualLayout>
              </c:layout>
              <c:tx>
                <c:rich>
                  <a:bodyPr/>
                  <a:lstStyle/>
                  <a:p>
                    <a:r>
                      <a:rPr lang="en-US"/>
                      <a:t>DRC unrest</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474C-4A57-84FC-0AD2AAC67011}"/>
                </c:ext>
              </c:extLst>
            </c:dLbl>
            <c:dLbl>
              <c:idx val="77"/>
              <c:layout>
                <c:manualLayout>
                  <c:x val="-0.18468685939804969"/>
                  <c:y val="-0.42570728645093142"/>
                </c:manualLayout>
              </c:layout>
              <c:tx>
                <c:rich>
                  <a:bodyPr/>
                  <a:lstStyle/>
                  <a:p>
                    <a:r>
                      <a:rPr lang="en-US"/>
                      <a:t>Kamoto mine</a:t>
                    </a:r>
                  </a:p>
                  <a:p>
                    <a:r>
                      <a:rPr lang="en-US"/>
                      <a:t>collapse</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74C-4A57-84FC-0AD2AAC67011}"/>
                </c:ext>
              </c:extLst>
            </c:dLbl>
            <c:dLbl>
              <c:idx val="93"/>
              <c:layout>
                <c:manualLayout>
                  <c:x val="-0.16148782497078384"/>
                  <c:y val="-0.30353762865044176"/>
                </c:manualLayout>
              </c:layout>
              <c:tx>
                <c:rich>
                  <a:bodyPr/>
                  <a:lstStyle/>
                  <a:p>
                    <a:r>
                      <a:rPr lang="en-US"/>
                      <a:t>GFC</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474C-4A57-84FC-0AD2AAC67011}"/>
                </c:ext>
              </c:extLst>
            </c:dLbl>
            <c:dLbl>
              <c:idx val="107"/>
              <c:layout>
                <c:manualLayout>
                  <c:x val="-6.0827250608272508E-2"/>
                  <c:y val="-0.3107597448872757"/>
                </c:manualLayout>
              </c:layout>
              <c:tx>
                <c:rich>
                  <a:bodyPr/>
                  <a:lstStyle/>
                  <a:p>
                    <a:r>
                      <a:rPr lang="en-US"/>
                      <a:t>EV-related</a:t>
                    </a:r>
                  </a:p>
                  <a:p>
                    <a:r>
                      <a:rPr lang="en-US"/>
                      <a:t>shortages</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474C-4A57-84FC-0AD2AAC67011}"/>
                </c:ext>
              </c:extLst>
            </c:dLbl>
            <c:dLbl>
              <c:idx val="110"/>
              <c:layout>
                <c:manualLayout>
                  <c:x val="-3.6496350364963501E-2"/>
                  <c:y val="3.3001034855285917E-2"/>
                </c:manualLayout>
              </c:layout>
              <c:tx>
                <c:rich>
                  <a:bodyPr/>
                  <a:lstStyle/>
                  <a:p>
                    <a:r>
                      <a:rPr lang="en-US"/>
                      <a:t>2024</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474C-4A57-84FC-0AD2AAC67011}"/>
                </c:ext>
              </c:extLst>
            </c:dLbl>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Arial" panose="020B0604020202020204" pitchFamily="34" charset="0"/>
                    <a:ea typeface="Helvetica Neue" panose="02000503000000020004" pitchFamily="2" charset="0"/>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rgbClr val="FFFFFF"/>
                      </a:solidFill>
                      <a:prstDash val="solid"/>
                      <a:round/>
                    </a:ln>
                    <a:effectLst/>
                  </c:spPr>
                </c15:leaderLines>
              </c:ext>
            </c:extLst>
          </c:dLbls>
          <c:cat>
            <c:numRef>
              <c:f>A!$A$3:$A$113</c:f>
              <c:numCache>
                <c:formatCode>General</c:formatCode>
                <c:ptCount val="111"/>
                <c:pt idx="0">
                  <c:v>1915</c:v>
                </c:pt>
                <c:pt idx="1">
                  <c:v>1916</c:v>
                </c:pt>
                <c:pt idx="2">
                  <c:v>1917</c:v>
                </c:pt>
                <c:pt idx="3">
                  <c:v>1918</c:v>
                </c:pt>
                <c:pt idx="4">
                  <c:v>1919</c:v>
                </c:pt>
                <c:pt idx="5">
                  <c:v>1920</c:v>
                </c:pt>
                <c:pt idx="6">
                  <c:v>1921</c:v>
                </c:pt>
                <c:pt idx="7">
                  <c:v>1922</c:v>
                </c:pt>
                <c:pt idx="8">
                  <c:v>1923</c:v>
                </c:pt>
                <c:pt idx="9">
                  <c:v>1924</c:v>
                </c:pt>
                <c:pt idx="10">
                  <c:v>1925</c:v>
                </c:pt>
                <c:pt idx="11">
                  <c:v>1926</c:v>
                </c:pt>
                <c:pt idx="12">
                  <c:v>1927</c:v>
                </c:pt>
                <c:pt idx="13">
                  <c:v>1928</c:v>
                </c:pt>
                <c:pt idx="14">
                  <c:v>1929</c:v>
                </c:pt>
                <c:pt idx="15">
                  <c:v>1930</c:v>
                </c:pt>
                <c:pt idx="16">
                  <c:v>1931</c:v>
                </c:pt>
                <c:pt idx="17">
                  <c:v>1932</c:v>
                </c:pt>
                <c:pt idx="18">
                  <c:v>1933</c:v>
                </c:pt>
                <c:pt idx="19">
                  <c:v>1934</c:v>
                </c:pt>
                <c:pt idx="20">
                  <c:v>1935</c:v>
                </c:pt>
                <c:pt idx="21">
                  <c:v>1936</c:v>
                </c:pt>
                <c:pt idx="22">
                  <c:v>1937</c:v>
                </c:pt>
                <c:pt idx="23">
                  <c:v>1938</c:v>
                </c:pt>
                <c:pt idx="24">
                  <c:v>1939</c:v>
                </c:pt>
                <c:pt idx="25">
                  <c:v>1940</c:v>
                </c:pt>
                <c:pt idx="26">
                  <c:v>1941</c:v>
                </c:pt>
                <c:pt idx="27">
                  <c:v>1942</c:v>
                </c:pt>
                <c:pt idx="28">
                  <c:v>1943</c:v>
                </c:pt>
                <c:pt idx="29">
                  <c:v>1944</c:v>
                </c:pt>
                <c:pt idx="30">
                  <c:v>1945</c:v>
                </c:pt>
                <c:pt idx="31">
                  <c:v>1946</c:v>
                </c:pt>
                <c:pt idx="32">
                  <c:v>1947</c:v>
                </c:pt>
                <c:pt idx="33">
                  <c:v>1948</c:v>
                </c:pt>
                <c:pt idx="34">
                  <c:v>1949</c:v>
                </c:pt>
                <c:pt idx="35">
                  <c:v>1950</c:v>
                </c:pt>
                <c:pt idx="36">
                  <c:v>1951</c:v>
                </c:pt>
                <c:pt idx="37">
                  <c:v>1952</c:v>
                </c:pt>
                <c:pt idx="38">
                  <c:v>1953</c:v>
                </c:pt>
                <c:pt idx="39">
                  <c:v>1954</c:v>
                </c:pt>
                <c:pt idx="40">
                  <c:v>1955</c:v>
                </c:pt>
                <c:pt idx="41">
                  <c:v>1956</c:v>
                </c:pt>
                <c:pt idx="42">
                  <c:v>1957</c:v>
                </c:pt>
                <c:pt idx="43">
                  <c:v>1958</c:v>
                </c:pt>
                <c:pt idx="44">
                  <c:v>1959</c:v>
                </c:pt>
                <c:pt idx="45">
                  <c:v>1960</c:v>
                </c:pt>
                <c:pt idx="46">
                  <c:v>1961</c:v>
                </c:pt>
                <c:pt idx="47">
                  <c:v>1962</c:v>
                </c:pt>
                <c:pt idx="48">
                  <c:v>1963</c:v>
                </c:pt>
                <c:pt idx="49">
                  <c:v>1964</c:v>
                </c:pt>
                <c:pt idx="50">
                  <c:v>1965</c:v>
                </c:pt>
                <c:pt idx="51">
                  <c:v>1966</c:v>
                </c:pt>
                <c:pt idx="52">
                  <c:v>1967</c:v>
                </c:pt>
                <c:pt idx="53">
                  <c:v>1968</c:v>
                </c:pt>
                <c:pt idx="54">
                  <c:v>1969</c:v>
                </c:pt>
                <c:pt idx="55">
                  <c:v>1970</c:v>
                </c:pt>
                <c:pt idx="56">
                  <c:v>1971</c:v>
                </c:pt>
                <c:pt idx="57">
                  <c:v>1972</c:v>
                </c:pt>
                <c:pt idx="58">
                  <c:v>1973</c:v>
                </c:pt>
                <c:pt idx="59">
                  <c:v>1974</c:v>
                </c:pt>
                <c:pt idx="60">
                  <c:v>1975</c:v>
                </c:pt>
                <c:pt idx="61">
                  <c:v>1976</c:v>
                </c:pt>
                <c:pt idx="62">
                  <c:v>1977</c:v>
                </c:pt>
                <c:pt idx="63">
                  <c:v>1978</c:v>
                </c:pt>
                <c:pt idx="64">
                  <c:v>1979</c:v>
                </c:pt>
                <c:pt idx="65">
                  <c:v>1980</c:v>
                </c:pt>
                <c:pt idx="66">
                  <c:v>1981</c:v>
                </c:pt>
                <c:pt idx="67">
                  <c:v>1982</c:v>
                </c:pt>
                <c:pt idx="68">
                  <c:v>1983</c:v>
                </c:pt>
                <c:pt idx="69">
                  <c:v>1984</c:v>
                </c:pt>
                <c:pt idx="70">
                  <c:v>1985</c:v>
                </c:pt>
                <c:pt idx="71">
                  <c:v>1986</c:v>
                </c:pt>
                <c:pt idx="72">
                  <c:v>1987</c:v>
                </c:pt>
                <c:pt idx="73">
                  <c:v>1988</c:v>
                </c:pt>
                <c:pt idx="74">
                  <c:v>1989</c:v>
                </c:pt>
                <c:pt idx="75">
                  <c:v>1990</c:v>
                </c:pt>
                <c:pt idx="76">
                  <c:v>1991</c:v>
                </c:pt>
                <c:pt idx="77">
                  <c:v>1992</c:v>
                </c:pt>
                <c:pt idx="78">
                  <c:v>1993</c:v>
                </c:pt>
                <c:pt idx="79">
                  <c:v>1994</c:v>
                </c:pt>
                <c:pt idx="80">
                  <c:v>1995</c:v>
                </c:pt>
                <c:pt idx="81">
                  <c:v>1996</c:v>
                </c:pt>
                <c:pt idx="82">
                  <c:v>1997</c:v>
                </c:pt>
                <c:pt idx="83">
                  <c:v>1998</c:v>
                </c:pt>
                <c:pt idx="84">
                  <c:v>1999</c:v>
                </c:pt>
                <c:pt idx="85">
                  <c:v>2000</c:v>
                </c:pt>
                <c:pt idx="86">
                  <c:v>2001</c:v>
                </c:pt>
                <c:pt idx="87">
                  <c:v>2002</c:v>
                </c:pt>
                <c:pt idx="88">
                  <c:v>2003</c:v>
                </c:pt>
                <c:pt idx="89">
                  <c:v>2004</c:v>
                </c:pt>
                <c:pt idx="90">
                  <c:v>2005</c:v>
                </c:pt>
                <c:pt idx="91">
                  <c:v>2006</c:v>
                </c:pt>
                <c:pt idx="92">
                  <c:v>2007</c:v>
                </c:pt>
                <c:pt idx="93">
                  <c:v>2008</c:v>
                </c:pt>
                <c:pt idx="94">
                  <c:v>2009</c:v>
                </c:pt>
                <c:pt idx="95">
                  <c:v>2010</c:v>
                </c:pt>
                <c:pt idx="96">
                  <c:v>2011</c:v>
                </c:pt>
                <c:pt idx="97">
                  <c:v>2012</c:v>
                </c:pt>
                <c:pt idx="98">
                  <c:v>2013</c:v>
                </c:pt>
                <c:pt idx="99">
                  <c:v>2014</c:v>
                </c:pt>
                <c:pt idx="100">
                  <c:v>2015</c:v>
                </c:pt>
                <c:pt idx="101">
                  <c:v>2016</c:v>
                </c:pt>
                <c:pt idx="102">
                  <c:v>2017</c:v>
                </c:pt>
                <c:pt idx="103">
                  <c:v>2018</c:v>
                </c:pt>
                <c:pt idx="104">
                  <c:v>2019</c:v>
                </c:pt>
                <c:pt idx="105">
                  <c:v>2020</c:v>
                </c:pt>
                <c:pt idx="106">
                  <c:v>2021</c:v>
                </c:pt>
                <c:pt idx="107">
                  <c:v>2022</c:v>
                </c:pt>
                <c:pt idx="108">
                  <c:v>2023</c:v>
                </c:pt>
                <c:pt idx="109">
                  <c:v>2024</c:v>
                </c:pt>
                <c:pt idx="110">
                  <c:v>2025</c:v>
                </c:pt>
              </c:numCache>
            </c:numRef>
          </c:cat>
          <c:val>
            <c:numRef>
              <c:f>A!$E$3:$E$113</c:f>
              <c:numCache>
                <c:formatCode>0.00</c:formatCode>
                <c:ptCount val="111"/>
                <c:pt idx="0">
                  <c:v>38.072385705012465</c:v>
                </c:pt>
                <c:pt idx="1">
                  <c:v>38.0428978732442</c:v>
                </c:pt>
                <c:pt idx="2">
                  <c:v>42.728303185813118</c:v>
                </c:pt>
                <c:pt idx="3">
                  <c:v>36.416238386293713</c:v>
                </c:pt>
                <c:pt idx="4">
                  <c:v>37.784244820644503</c:v>
                </c:pt>
                <c:pt idx="5">
                  <c:v>42.479359165648802</c:v>
                </c:pt>
                <c:pt idx="6">
                  <c:v>38.556464477578167</c:v>
                </c:pt>
                <c:pt idx="7">
                  <c:v>44.008714192559871</c:v>
                </c:pt>
                <c:pt idx="8">
                  <c:v>42.335752931769363</c:v>
                </c:pt>
                <c:pt idx="9">
                  <c:v>40.627219850832695</c:v>
                </c:pt>
                <c:pt idx="10">
                  <c:v>38.133354721795421</c:v>
                </c:pt>
                <c:pt idx="11">
                  <c:v>35.906417798257927</c:v>
                </c:pt>
                <c:pt idx="12">
                  <c:v>34.570404184084495</c:v>
                </c:pt>
                <c:pt idx="13">
                  <c:v>35.35975718913113</c:v>
                </c:pt>
                <c:pt idx="14">
                  <c:v>34.556900988462431</c:v>
                </c:pt>
                <c:pt idx="15">
                  <c:v>34.911570219670757</c:v>
                </c:pt>
                <c:pt idx="16">
                  <c:v>25.924588097702784</c:v>
                </c:pt>
                <c:pt idx="17">
                  <c:v>23.594962339588331</c:v>
                </c:pt>
                <c:pt idx="18">
                  <c:v>22.2670159668832</c:v>
                </c:pt>
                <c:pt idx="19">
                  <c:v>21.639764934748651</c:v>
                </c:pt>
                <c:pt idx="20">
                  <c:v>22.594023219945587</c:v>
                </c:pt>
                <c:pt idx="21">
                  <c:v>24.269769353057132</c:v>
                </c:pt>
                <c:pt idx="22">
                  <c:v>27.019501422300994</c:v>
                </c:pt>
                <c:pt idx="23">
                  <c:v>25.137160157947836</c:v>
                </c:pt>
                <c:pt idx="24">
                  <c:v>26.276165487507818</c:v>
                </c:pt>
                <c:pt idx="25">
                  <c:v>22.574381481029633</c:v>
                </c:pt>
                <c:pt idx="26">
                  <c:v>22.282728146986841</c:v>
                </c:pt>
                <c:pt idx="27">
                  <c:v>18.044588930613894</c:v>
                </c:pt>
                <c:pt idx="28">
                  <c:v>21.426820439380108</c:v>
                </c:pt>
                <c:pt idx="29">
                  <c:v>29.025119168094424</c:v>
                </c:pt>
                <c:pt idx="30">
                  <c:v>24.874609696969209</c:v>
                </c:pt>
                <c:pt idx="31">
                  <c:v>22.563200578709463</c:v>
                </c:pt>
                <c:pt idx="32">
                  <c:v>17.897697072893976</c:v>
                </c:pt>
                <c:pt idx="33">
                  <c:v>16.348555433762343</c:v>
                </c:pt>
                <c:pt idx="34">
                  <c:v>17.65211989378906</c:v>
                </c:pt>
                <c:pt idx="35">
                  <c:v>18.433969454026219</c:v>
                </c:pt>
                <c:pt idx="36">
                  <c:v>21.917083622140737</c:v>
                </c:pt>
                <c:pt idx="37">
                  <c:v>22.993357023291896</c:v>
                </c:pt>
                <c:pt idx="38">
                  <c:v>22.917305291313969</c:v>
                </c:pt>
                <c:pt idx="39">
                  <c:v>24.463169538281477</c:v>
                </c:pt>
                <c:pt idx="40">
                  <c:v>24.317463841923004</c:v>
                </c:pt>
                <c:pt idx="41">
                  <c:v>24.852810871919857</c:v>
                </c:pt>
                <c:pt idx="42">
                  <c:v>19.404602012973449</c:v>
                </c:pt>
                <c:pt idx="43">
                  <c:v>18.572173998709729</c:v>
                </c:pt>
                <c:pt idx="44">
                  <c:v>16.271067506899502</c:v>
                </c:pt>
                <c:pt idx="45">
                  <c:v>13.925304719308517</c:v>
                </c:pt>
                <c:pt idx="46">
                  <c:v>13.276714939889867</c:v>
                </c:pt>
                <c:pt idx="47">
                  <c:v>12.854615724464805</c:v>
                </c:pt>
                <c:pt idx="48">
                  <c:v>12.576015657961603</c:v>
                </c:pt>
                <c:pt idx="49">
                  <c:v>12.440136520067854</c:v>
                </c:pt>
                <c:pt idx="50">
                  <c:v>13.448465132562356</c:v>
                </c:pt>
                <c:pt idx="51">
                  <c:v>12.980584418282938</c:v>
                </c:pt>
                <c:pt idx="52">
                  <c:v>16.127188291131599</c:v>
                </c:pt>
                <c:pt idx="53">
                  <c:v>16.094799058921215</c:v>
                </c:pt>
                <c:pt idx="54">
                  <c:v>14.003584922927281</c:v>
                </c:pt>
                <c:pt idx="55">
                  <c:v>15.924978928423524</c:v>
                </c:pt>
                <c:pt idx="56">
                  <c:v>14.827024122958361</c:v>
                </c:pt>
                <c:pt idx="57">
                  <c:v>15.478655023925496</c:v>
                </c:pt>
                <c:pt idx="58">
                  <c:v>18.547200342613312</c:v>
                </c:pt>
                <c:pt idx="59">
                  <c:v>20.267242806942821</c:v>
                </c:pt>
                <c:pt idx="60">
                  <c:v>22.547809733716655</c:v>
                </c:pt>
                <c:pt idx="61">
                  <c:v>20.908498492122273</c:v>
                </c:pt>
                <c:pt idx="62">
                  <c:v>25.055090792267134</c:v>
                </c:pt>
                <c:pt idx="63">
                  <c:v>43.546738213106444</c:v>
                </c:pt>
                <c:pt idx="64">
                  <c:v>97.600434565848175</c:v>
                </c:pt>
                <c:pt idx="65">
                  <c:v>85.246904418413223</c:v>
                </c:pt>
                <c:pt idx="66">
                  <c:v>53.524388585628927</c:v>
                </c:pt>
                <c:pt idx="67">
                  <c:v>33.256036887356167</c:v>
                </c:pt>
                <c:pt idx="68">
                  <c:v>18.453064551609184</c:v>
                </c:pt>
                <c:pt idx="69">
                  <c:v>22.737802236052666</c:v>
                </c:pt>
                <c:pt idx="70">
                  <c:v>27.39141695822989</c:v>
                </c:pt>
                <c:pt idx="71">
                  <c:v>17.132419938505663</c:v>
                </c:pt>
                <c:pt idx="72">
                  <c:v>15.582109930622646</c:v>
                </c:pt>
                <c:pt idx="73">
                  <c:v>16.564088070674959</c:v>
                </c:pt>
                <c:pt idx="74">
                  <c:v>17.108204166795751</c:v>
                </c:pt>
                <c:pt idx="75">
                  <c:v>21.824432854395099</c:v>
                </c:pt>
                <c:pt idx="76">
                  <c:v>35.20398290030041</c:v>
                </c:pt>
                <c:pt idx="77">
                  <c:v>46.57999171410566</c:v>
                </c:pt>
                <c:pt idx="78">
                  <c:v>27.086516092111836</c:v>
                </c:pt>
                <c:pt idx="79">
                  <c:v>47.867864859752217</c:v>
                </c:pt>
                <c:pt idx="80">
                  <c:v>55.357959627946535</c:v>
                </c:pt>
                <c:pt idx="81">
                  <c:v>47.348319885353568</c:v>
                </c:pt>
                <c:pt idx="82">
                  <c:v>42.60201453157574</c:v>
                </c:pt>
                <c:pt idx="83">
                  <c:v>38.856605560734963</c:v>
                </c:pt>
                <c:pt idx="84">
                  <c:v>30.062685478490842</c:v>
                </c:pt>
                <c:pt idx="85">
                  <c:v>26.34061782548277</c:v>
                </c:pt>
                <c:pt idx="86">
                  <c:v>18.023242201191245</c:v>
                </c:pt>
                <c:pt idx="87">
                  <c:v>11.767947858240122</c:v>
                </c:pt>
                <c:pt idx="88">
                  <c:v>17.220462081569369</c:v>
                </c:pt>
                <c:pt idx="89">
                  <c:v>39.271041042831811</c:v>
                </c:pt>
                <c:pt idx="90">
                  <c:v>25.085027890961502</c:v>
                </c:pt>
                <c:pt idx="91">
                  <c:v>25.486134535679248</c:v>
                </c:pt>
                <c:pt idx="92">
                  <c:v>43.397381464767598</c:v>
                </c:pt>
                <c:pt idx="93">
                  <c:v>55.079850820103061</c:v>
                </c:pt>
                <c:pt idx="94">
                  <c:v>24.299138707786611</c:v>
                </c:pt>
                <c:pt idx="95">
                  <c:v>29.227317069487711</c:v>
                </c:pt>
                <c:pt idx="96">
                  <c:v>24.889500739794194</c:v>
                </c:pt>
                <c:pt idx="97">
                  <c:v>19.406628970654733</c:v>
                </c:pt>
                <c:pt idx="98">
                  <c:v>17.392798177510272</c:v>
                </c:pt>
                <c:pt idx="99">
                  <c:v>19.569188657265766</c:v>
                </c:pt>
                <c:pt idx="100">
                  <c:v>17.83250018532226</c:v>
                </c:pt>
                <c:pt idx="101">
                  <c:v>15.494817367201819</c:v>
                </c:pt>
                <c:pt idx="102">
                  <c:v>34.600841511740882</c:v>
                </c:pt>
                <c:pt idx="103">
                  <c:v>46.54779334019161</c:v>
                </c:pt>
                <c:pt idx="104">
                  <c:v>20.999459519858931</c:v>
                </c:pt>
                <c:pt idx="105">
                  <c:v>18.782318668473355</c:v>
                </c:pt>
                <c:pt idx="106">
                  <c:v>24.543396836538445</c:v>
                </c:pt>
                <c:pt idx="107">
                  <c:v>35.793988376040858</c:v>
                </c:pt>
                <c:pt idx="108">
                  <c:v>18.42596450961538</c:v>
                </c:pt>
                <c:pt idx="109">
                  <c:v>15.111416666666663</c:v>
                </c:pt>
                <c:pt idx="110">
                  <c:v>12</c:v>
                </c:pt>
              </c:numCache>
            </c:numRef>
          </c:val>
          <c:smooth val="1"/>
          <c:extLst>
            <c:ext xmlns:c16="http://schemas.microsoft.com/office/drawing/2014/chart" uri="{C3380CC4-5D6E-409C-BE32-E72D297353CC}">
              <c16:uniqueId val="{0000000C-474C-4A57-84FC-0AD2AAC67011}"/>
            </c:ext>
          </c:extLst>
        </c:ser>
        <c:dLbls>
          <c:showLegendKey val="0"/>
          <c:showVal val="0"/>
          <c:showCatName val="0"/>
          <c:showSerName val="0"/>
          <c:showPercent val="0"/>
          <c:showBubbleSize val="0"/>
        </c:dLbls>
        <c:smooth val="0"/>
        <c:axId val="831629328"/>
        <c:axId val="1069910368"/>
      </c:lineChart>
      <c:catAx>
        <c:axId val="831629328"/>
        <c:scaling>
          <c:orientation val="minMax"/>
        </c:scaling>
        <c:delete val="0"/>
        <c:axPos val="b"/>
        <c:numFmt formatCode="General" sourceLinked="1"/>
        <c:majorTickMark val="out"/>
        <c:minorTickMark val="none"/>
        <c:tickLblPos val="nextTo"/>
        <c:spPr>
          <a:noFill/>
          <a:ln w="9525" cap="flat" cmpd="sng" algn="ctr">
            <a:solidFill>
              <a:srgbClr val="FFFFFF"/>
            </a:solidFill>
            <a:prstDash val="solid"/>
            <a:round/>
          </a:ln>
          <a:effectLst/>
        </c:spPr>
        <c:txPr>
          <a:bodyPr rot="-60000000" spcFirstLastPara="1" vertOverflow="ellipsis" vert="horz" wrap="square" anchor="ctr" anchorCtr="1"/>
          <a:lstStyle/>
          <a:p>
            <a:pPr>
              <a:defRPr sz="1200" b="0" i="0" u="none" strike="noStrike" kern="1200" baseline="0">
                <a:solidFill>
                  <a:schemeClr val="bg1"/>
                </a:solidFill>
                <a:latin typeface="Arial" panose="020B0604020202020204" pitchFamily="34" charset="0"/>
                <a:ea typeface="Helvetica Neue" panose="02000503000000020004" pitchFamily="2" charset="0"/>
                <a:cs typeface="Arial" panose="020B0604020202020204" pitchFamily="34" charset="0"/>
              </a:defRPr>
            </a:pPr>
            <a:endParaRPr lang="en-US"/>
          </a:p>
        </c:txPr>
        <c:crossAx val="1069910368"/>
        <c:crosses val="autoZero"/>
        <c:auto val="1"/>
        <c:lblAlgn val="l"/>
        <c:lblOffset val="100"/>
        <c:tickLblSkip val="20"/>
        <c:tickMarkSkip val="10"/>
        <c:noMultiLvlLbl val="0"/>
      </c:catAx>
      <c:valAx>
        <c:axId val="1069910368"/>
        <c:scaling>
          <c:orientation val="minMax"/>
        </c:scaling>
        <c:delete val="0"/>
        <c:axPos val="l"/>
        <c:majorGridlines>
          <c:spPr>
            <a:ln w="6350" cap="flat" cmpd="sng" algn="ctr">
              <a:noFill/>
              <a:prstDash val="solid"/>
              <a:round/>
            </a:ln>
            <a:effectLst/>
          </c:spPr>
        </c:majorGridlines>
        <c:numFmt formatCode="#,##0" sourceLinked="0"/>
        <c:majorTickMark val="out"/>
        <c:minorTickMark val="none"/>
        <c:tickLblPos val="nextTo"/>
        <c:spPr>
          <a:noFill/>
          <a:ln w="9525" cap="flat" cmpd="sng" algn="ctr">
            <a:noFill/>
            <a:prstDash val="solid"/>
            <a:round/>
          </a:ln>
          <a:effectLst/>
        </c:spPr>
        <c:txPr>
          <a:bodyPr rot="-60000000" spcFirstLastPara="1" vertOverflow="ellipsis" vert="horz" wrap="square" anchor="ctr" anchorCtr="1"/>
          <a:lstStyle/>
          <a:p>
            <a:pPr>
              <a:defRPr sz="1200" b="0" i="0" u="none" strike="noStrike" kern="1200" baseline="0">
                <a:solidFill>
                  <a:schemeClr val="bg1"/>
                </a:solidFill>
                <a:latin typeface="Arial" panose="020B0604020202020204" pitchFamily="34" charset="0"/>
                <a:ea typeface="Helvetica Neue" panose="02000503000000020004" pitchFamily="2" charset="0"/>
                <a:cs typeface="Arial" panose="020B0604020202020204" pitchFamily="34" charset="0"/>
              </a:defRPr>
            </a:pPr>
            <a:endParaRPr lang="en-US"/>
          </a:p>
        </c:txPr>
        <c:crossAx val="831629328"/>
        <c:crosses val="autoZero"/>
        <c:crossBetween val="between"/>
      </c:valAx>
      <c:spPr>
        <a:noFill/>
        <a:ln>
          <a:noFill/>
        </a:ln>
        <a:effectLst/>
      </c:spPr>
    </c:plotArea>
    <c:plotVisOnly val="1"/>
    <c:dispBlanksAs val="gap"/>
    <c:showDLblsOverMax val="0"/>
  </c:chart>
  <c:spPr>
    <a:noFill/>
    <a:ln w="6350" cap="flat" cmpd="sng" algn="ctr">
      <a:noFill/>
      <a:prstDash val="solid"/>
      <a:round/>
    </a:ln>
    <a:effectLst/>
  </c:spPr>
  <c:txPr>
    <a:bodyPr/>
    <a:lstStyle/>
    <a:p>
      <a:pPr>
        <a:defRPr sz="1100">
          <a:solidFill>
            <a:schemeClr val="bg1"/>
          </a:solidFill>
          <a:latin typeface="Arial" panose="020B0604020202020204" pitchFamily="34" charset="0"/>
          <a:ea typeface="Helvetica Neue" panose="02000503000000020004" pitchFamily="2" charset="0"/>
          <a:cs typeface="Arial" panose="020B0604020202020204" pitchFamily="34" charset="0"/>
        </a:defRPr>
      </a:pPr>
      <a:endParaRPr lang="en-US"/>
    </a:p>
  </c:txPr>
  <c:externalData r:id="rId4">
    <c:autoUpdate val="0"/>
  </c:externalData>
  <c:userShapes r:id="rId5"/>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269586492750878"/>
          <c:y val="0.11407365035634444"/>
          <c:w val="0.81383858267716536"/>
          <c:h val="0.86009336867591146"/>
        </c:manualLayout>
      </c:layout>
      <c:barChart>
        <c:barDir val="col"/>
        <c:grouping val="clustered"/>
        <c:varyColors val="0"/>
        <c:ser>
          <c:idx val="0"/>
          <c:order val="0"/>
          <c:tx>
            <c:strRef>
              <c:f>'China mining permit'!$A$57</c:f>
              <c:strCache>
                <c:ptCount val="1"/>
                <c:pt idx="0">
                  <c:v>2025 market surplus with closures</c:v>
                </c:pt>
              </c:strCache>
            </c:strRef>
          </c:tx>
          <c:spPr>
            <a:solidFill>
              <a:srgbClr val="18517F"/>
            </a:solidFill>
            <a:ln>
              <a:noFill/>
            </a:ln>
            <a:effectLst/>
          </c:spPr>
          <c:invertIfNegative val="0"/>
          <c:dLbls>
            <c:dLbl>
              <c:idx val="0"/>
              <c:tx>
                <c:rich>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100" b="0" i="0" u="none" strike="noStrike" kern="1200" baseline="0">
                        <a:solidFill>
                          <a:srgbClr val="000000"/>
                        </a:solidFill>
                        <a:latin typeface="+mj-lt"/>
                        <a:ea typeface="+mn-ea"/>
                        <a:cs typeface="+mn-cs"/>
                      </a:defRPr>
                    </a:pPr>
                    <a:r>
                      <a:rPr lang="en-US" sz="1100" b="1" i="0" u="none" strike="noStrike" kern="1200" baseline="0">
                        <a:solidFill>
                          <a:schemeClr val="bg1"/>
                        </a:solidFill>
                      </a:rPr>
                      <a:t>With</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u="none" strike="noStrike" kern="1200" baseline="0">
                        <a:solidFill>
                          <a:schemeClr val="bg1"/>
                        </a:solidFill>
                      </a:rPr>
                      <a:t>Chinese closures</a:t>
                    </a:r>
                  </a:p>
                </c:rich>
              </c:tx>
              <c:spPr>
                <a:noFill/>
                <a:ln>
                  <a:noFill/>
                </a:ln>
                <a:effectLst/>
              </c:spPr>
              <c:txPr>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100" b="0" i="0" u="none" strike="noStrike" kern="1200" baseline="0">
                      <a:solidFill>
                        <a:srgbClr val="000000"/>
                      </a:solidFill>
                      <a:latin typeface="+mj-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6E9-4129-9C0C-2DCA2204C2C4}"/>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000000"/>
                    </a:solidFill>
                    <a:latin typeface="+mj-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hina mining permit'!$B$56</c:f>
              <c:numCache>
                <c:formatCode>General</c:formatCode>
                <c:ptCount val="1"/>
                <c:pt idx="0">
                  <c:v>2025</c:v>
                </c:pt>
              </c:numCache>
            </c:numRef>
          </c:cat>
          <c:val>
            <c:numRef>
              <c:f>'China mining permit'!$B$57</c:f>
              <c:numCache>
                <c:formatCode>0</c:formatCode>
                <c:ptCount val="1"/>
                <c:pt idx="0">
                  <c:v>56.375578214161123</c:v>
                </c:pt>
              </c:numCache>
            </c:numRef>
          </c:val>
          <c:extLst>
            <c:ext xmlns:c16="http://schemas.microsoft.com/office/drawing/2014/chart" uri="{C3380CC4-5D6E-409C-BE32-E72D297353CC}">
              <c16:uniqueId val="{00000001-36E9-4129-9C0C-2DCA2204C2C4}"/>
            </c:ext>
          </c:extLst>
        </c:ser>
        <c:ser>
          <c:idx val="1"/>
          <c:order val="1"/>
          <c:tx>
            <c:strRef>
              <c:f>'China mining permit'!$A$58</c:f>
              <c:strCache>
                <c:ptCount val="1"/>
                <c:pt idx="0">
                  <c:v>2025 market surplus without closures</c:v>
                </c:pt>
              </c:strCache>
            </c:strRef>
          </c:tx>
          <c:spPr>
            <a:solidFill>
              <a:schemeClr val="accent2"/>
            </a:solidFill>
            <a:ln>
              <a:noFill/>
            </a:ln>
            <a:effectLst/>
          </c:spPr>
          <c:invertIfNegative val="0"/>
          <c:dLbls>
            <c:dLbl>
              <c:idx val="0"/>
              <c:tx>
                <c:rich>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j-lt"/>
                        <a:ea typeface="+mn-ea"/>
                        <a:cs typeface="+mn-cs"/>
                      </a:defRPr>
                    </a:pPr>
                    <a:r>
                      <a:rPr lang="en-US" b="1">
                        <a:solidFill>
                          <a:schemeClr val="bg1"/>
                        </a:solidFill>
                      </a:rPr>
                      <a:t>Without</a:t>
                    </a:r>
                    <a:r>
                      <a:rPr lang="en-US" b="1" baseline="0">
                        <a:solidFill>
                          <a:schemeClr val="bg1"/>
                        </a:solidFill>
                      </a:rPr>
                      <a:t> </a:t>
                    </a:r>
                    <a:r>
                      <a:rPr lang="en-US" baseline="0">
                        <a:solidFill>
                          <a:schemeClr val="bg1"/>
                        </a:solidFill>
                      </a:rPr>
                      <a:t>Chinese closures</a:t>
                    </a:r>
                    <a:endParaRPr lang="en-US">
                      <a:solidFill>
                        <a:schemeClr val="bg1"/>
                      </a:solidFill>
                    </a:endParaRPr>
                  </a:p>
                </c:rich>
              </c:tx>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j-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6E9-4129-9C0C-2DCA2204C2C4}"/>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000000"/>
                    </a:solidFill>
                    <a:latin typeface="+mj-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hina mining permit'!$B$56</c:f>
              <c:numCache>
                <c:formatCode>General</c:formatCode>
                <c:ptCount val="1"/>
                <c:pt idx="0">
                  <c:v>2025</c:v>
                </c:pt>
              </c:numCache>
            </c:numRef>
          </c:cat>
          <c:val>
            <c:numRef>
              <c:f>'China mining permit'!$C$58</c:f>
              <c:numCache>
                <c:formatCode>0</c:formatCode>
                <c:ptCount val="1"/>
                <c:pt idx="0">
                  <c:v>82.375578214161123</c:v>
                </c:pt>
              </c:numCache>
            </c:numRef>
          </c:val>
          <c:extLst>
            <c:ext xmlns:c16="http://schemas.microsoft.com/office/drawing/2014/chart" uri="{C3380CC4-5D6E-409C-BE32-E72D297353CC}">
              <c16:uniqueId val="{00000003-36E9-4129-9C0C-2DCA2204C2C4}"/>
            </c:ext>
          </c:extLst>
        </c:ser>
        <c:dLbls>
          <c:showLegendKey val="0"/>
          <c:showVal val="0"/>
          <c:showCatName val="0"/>
          <c:showSerName val="0"/>
          <c:showPercent val="0"/>
          <c:showBubbleSize val="0"/>
        </c:dLbls>
        <c:gapWidth val="50"/>
        <c:axId val="532446991"/>
        <c:axId val="532437871"/>
      </c:barChart>
      <c:catAx>
        <c:axId val="532446991"/>
        <c:scaling>
          <c:orientation val="minMax"/>
        </c:scaling>
        <c:delete val="1"/>
        <c:axPos val="b"/>
        <c:numFmt formatCode="General" sourceLinked="1"/>
        <c:majorTickMark val="none"/>
        <c:minorTickMark val="none"/>
        <c:tickLblPos val="nextTo"/>
        <c:crossAx val="532437871"/>
        <c:crosses val="autoZero"/>
        <c:auto val="1"/>
        <c:lblAlgn val="ctr"/>
        <c:lblOffset val="100"/>
        <c:noMultiLvlLbl val="0"/>
      </c:catAx>
      <c:valAx>
        <c:axId val="532437871"/>
        <c:scaling>
          <c:orientation val="minMax"/>
          <c:max val="85"/>
          <c:min val="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532446991"/>
        <c:crosses val="autoZero"/>
        <c:crossBetween val="between"/>
        <c:majorUnit val="20"/>
      </c:valAx>
      <c:spPr>
        <a:noFill/>
        <a:ln>
          <a:noFill/>
        </a:ln>
        <a:effectLst/>
      </c:spPr>
    </c:plotArea>
    <c:plotVisOnly val="1"/>
    <c:dispBlanksAs val="zero"/>
    <c:showDLblsOverMax val="0"/>
    <c:extLst/>
  </c:chart>
  <c:spPr>
    <a:noFill/>
    <a:ln w="9525" cap="flat" cmpd="sng" algn="ctr">
      <a:noFill/>
      <a:round/>
    </a:ln>
    <a:effectLst/>
  </c:spPr>
  <c:txPr>
    <a:bodyPr/>
    <a:lstStyle/>
    <a:p>
      <a:pPr>
        <a:defRPr sz="1100">
          <a:solidFill>
            <a:srgbClr val="000000"/>
          </a:solidFill>
          <a:latin typeface="+mj-lt"/>
        </a:defRPr>
      </a:pPr>
      <a:endParaRPr lang="en-US"/>
    </a:p>
  </c:txPr>
  <c:externalData r:id="rId4">
    <c:autoUpdate val="0"/>
  </c:externalData>
  <c:userShapes r:id="rId5"/>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8324868683541059E-2"/>
          <c:y val="0.17273876324507581"/>
          <c:w val="0.89961444488087561"/>
          <c:h val="0.75483739086542612"/>
        </c:manualLayout>
      </c:layout>
      <c:barChart>
        <c:barDir val="col"/>
        <c:grouping val="stacked"/>
        <c:varyColors val="0"/>
        <c:ser>
          <c:idx val="0"/>
          <c:order val="0"/>
          <c:tx>
            <c:strRef>
              <c:f>'Adj production'!$H$53</c:f>
              <c:strCache>
                <c:ptCount val="1"/>
                <c:pt idx="0">
                  <c:v>Lithium mining permit issued by MNR</c:v>
                </c:pt>
              </c:strCache>
            </c:strRef>
          </c:tx>
          <c:spPr>
            <a:solidFill>
              <a:srgbClr val="61C0BA"/>
            </a:solidFill>
            <a:ln>
              <a:noFill/>
            </a:ln>
            <a:effectLst/>
          </c:spPr>
          <c:invertIfNegative val="0"/>
          <c:cat>
            <c:strRef>
              <c:f>'Adj production'!$I$49:$M$49</c:f>
              <c:strCache>
                <c:ptCount val="5"/>
                <c:pt idx="0">
                  <c:v>2025</c:v>
                </c:pt>
                <c:pt idx="1">
                  <c:v>2026</c:v>
                </c:pt>
                <c:pt idx="2">
                  <c:v>2027</c:v>
                </c:pt>
                <c:pt idx="3">
                  <c:v>2028</c:v>
                </c:pt>
                <c:pt idx="4">
                  <c:v>2029</c:v>
                </c:pt>
              </c:strCache>
            </c:strRef>
          </c:cat>
          <c:val>
            <c:numRef>
              <c:f>'Adj production'!$I$53:$M$53</c:f>
              <c:numCache>
                <c:formatCode>_(* #,##0.00_);_(* \(#,##0.00\);_(* "-"??_);_(@_)</c:formatCode>
                <c:ptCount val="5"/>
                <c:pt idx="0">
                  <c:v>111.64699999999999</c:v>
                </c:pt>
                <c:pt idx="1">
                  <c:v>137.24529999999999</c:v>
                </c:pt>
                <c:pt idx="2">
                  <c:v>155.89839999999998</c:v>
                </c:pt>
                <c:pt idx="3">
                  <c:v>193.57901999999999</c:v>
                </c:pt>
                <c:pt idx="4">
                  <c:v>199.26321999999999</c:v>
                </c:pt>
              </c:numCache>
            </c:numRef>
          </c:val>
          <c:extLst>
            <c:ext xmlns:c16="http://schemas.microsoft.com/office/drawing/2014/chart" uri="{C3380CC4-5D6E-409C-BE32-E72D297353CC}">
              <c16:uniqueId val="{00000000-6767-456C-AA93-0B49D6242EF6}"/>
            </c:ext>
          </c:extLst>
        </c:ser>
        <c:ser>
          <c:idx val="1"/>
          <c:order val="1"/>
          <c:tx>
            <c:strRef>
              <c:f>'Adj production'!$H$52</c:f>
              <c:strCache>
                <c:ptCount val="1"/>
                <c:pt idx="0">
                  <c:v>Undeclared</c:v>
                </c:pt>
              </c:strCache>
            </c:strRef>
          </c:tx>
          <c:spPr>
            <a:solidFill>
              <a:srgbClr val="E8E8E8"/>
            </a:solidFill>
            <a:ln>
              <a:noFill/>
            </a:ln>
            <a:effectLst/>
          </c:spPr>
          <c:invertIfNegative val="0"/>
          <c:cat>
            <c:strRef>
              <c:f>'Adj production'!$I$49:$M$49</c:f>
              <c:strCache>
                <c:ptCount val="5"/>
                <c:pt idx="0">
                  <c:v>2025</c:v>
                </c:pt>
                <c:pt idx="1">
                  <c:v>2026</c:v>
                </c:pt>
                <c:pt idx="2">
                  <c:v>2027</c:v>
                </c:pt>
                <c:pt idx="3">
                  <c:v>2028</c:v>
                </c:pt>
                <c:pt idx="4">
                  <c:v>2029</c:v>
                </c:pt>
              </c:strCache>
            </c:strRef>
          </c:cat>
          <c:val>
            <c:numRef>
              <c:f>'Adj production'!$I$52:$M$52</c:f>
              <c:numCache>
                <c:formatCode>_(* #,##0.00_);_(* \(#,##0.00\);_(* "-"??_);_(@_)</c:formatCode>
                <c:ptCount val="5"/>
                <c:pt idx="0">
                  <c:v>24.240300000000047</c:v>
                </c:pt>
                <c:pt idx="1">
                  <c:v>45.911069999999995</c:v>
                </c:pt>
                <c:pt idx="2">
                  <c:v>50.23726999999991</c:v>
                </c:pt>
                <c:pt idx="3">
                  <c:v>47.734670000000051</c:v>
                </c:pt>
                <c:pt idx="4">
                  <c:v>50.237270000000194</c:v>
                </c:pt>
              </c:numCache>
            </c:numRef>
          </c:val>
          <c:extLst>
            <c:ext xmlns:c16="http://schemas.microsoft.com/office/drawing/2014/chart" uri="{C3380CC4-5D6E-409C-BE32-E72D297353CC}">
              <c16:uniqueId val="{00000001-6767-456C-AA93-0B49D6242EF6}"/>
            </c:ext>
          </c:extLst>
        </c:ser>
        <c:ser>
          <c:idx val="2"/>
          <c:order val="2"/>
          <c:tx>
            <c:strRef>
              <c:f>'Adj production'!$H$51</c:f>
              <c:strCache>
                <c:ptCount val="1"/>
                <c:pt idx="0">
                  <c:v>Lithium permit not issued by MNR</c:v>
                </c:pt>
              </c:strCache>
            </c:strRef>
          </c:tx>
          <c:spPr>
            <a:solidFill>
              <a:srgbClr val="F07169">
                <a:lumMod val="60000"/>
                <a:lumOff val="40000"/>
              </a:srgbClr>
            </a:solidFill>
            <a:ln>
              <a:noFill/>
            </a:ln>
            <a:effectLst/>
          </c:spPr>
          <c:invertIfNegative val="0"/>
          <c:cat>
            <c:strRef>
              <c:f>'Adj production'!$I$49:$M$49</c:f>
              <c:strCache>
                <c:ptCount val="5"/>
                <c:pt idx="0">
                  <c:v>2025</c:v>
                </c:pt>
                <c:pt idx="1">
                  <c:v>2026</c:v>
                </c:pt>
                <c:pt idx="2">
                  <c:v>2027</c:v>
                </c:pt>
                <c:pt idx="3">
                  <c:v>2028</c:v>
                </c:pt>
                <c:pt idx="4">
                  <c:v>2029</c:v>
                </c:pt>
              </c:strCache>
            </c:strRef>
          </c:cat>
          <c:val>
            <c:numRef>
              <c:f>'Adj production'!$I$51:$M$51</c:f>
              <c:numCache>
                <c:formatCode>_(* #,##0.00_);_(* \(#,##0.00\);_(* "-"??_);_(@_)</c:formatCode>
                <c:ptCount val="5"/>
                <c:pt idx="0">
                  <c:v>61.003299999999996</c:v>
                </c:pt>
                <c:pt idx="1">
                  <c:v>84.545200000000008</c:v>
                </c:pt>
                <c:pt idx="2">
                  <c:v>108.43145</c:v>
                </c:pt>
                <c:pt idx="3">
                  <c:v>127.58894999999998</c:v>
                </c:pt>
                <c:pt idx="4">
                  <c:v>141.7364</c:v>
                </c:pt>
              </c:numCache>
            </c:numRef>
          </c:val>
          <c:extLst>
            <c:ext xmlns:c16="http://schemas.microsoft.com/office/drawing/2014/chart" uri="{C3380CC4-5D6E-409C-BE32-E72D297353CC}">
              <c16:uniqueId val="{00000002-6767-456C-AA93-0B49D6242EF6}"/>
            </c:ext>
          </c:extLst>
        </c:ser>
        <c:ser>
          <c:idx val="3"/>
          <c:order val="3"/>
          <c:tx>
            <c:strRef>
              <c:f>'Adj production'!$H$50</c:f>
              <c:strCache>
                <c:ptCount val="1"/>
                <c:pt idx="0">
                  <c:v>No lithium mining permit</c:v>
                </c:pt>
              </c:strCache>
            </c:strRef>
          </c:tx>
          <c:spPr>
            <a:solidFill>
              <a:srgbClr val="F07169"/>
            </a:solidFill>
            <a:ln w="25400">
              <a:noFill/>
            </a:ln>
            <a:effectLst/>
          </c:spPr>
          <c:invertIfNegative val="0"/>
          <c:cat>
            <c:strRef>
              <c:f>'Adj production'!$I$49:$M$49</c:f>
              <c:strCache>
                <c:ptCount val="5"/>
                <c:pt idx="0">
                  <c:v>2025</c:v>
                </c:pt>
                <c:pt idx="1">
                  <c:v>2026</c:v>
                </c:pt>
                <c:pt idx="2">
                  <c:v>2027</c:v>
                </c:pt>
                <c:pt idx="3">
                  <c:v>2028</c:v>
                </c:pt>
                <c:pt idx="4">
                  <c:v>2029</c:v>
                </c:pt>
              </c:strCache>
            </c:strRef>
          </c:cat>
          <c:val>
            <c:numRef>
              <c:f>'Adj production'!$I$50:$M$50</c:f>
              <c:numCache>
                <c:formatCode>_(* #,##0.00_);_(* \(#,##0.00\);_(* "-"??_);_(@_)</c:formatCode>
                <c:ptCount val="5"/>
                <c:pt idx="0">
                  <c:v>174.16349999999997</c:v>
                </c:pt>
                <c:pt idx="1">
                  <c:v>183.21747999999999</c:v>
                </c:pt>
                <c:pt idx="2">
                  <c:v>194.51797999999999</c:v>
                </c:pt>
                <c:pt idx="3">
                  <c:v>204.01427999999999</c:v>
                </c:pt>
                <c:pt idx="4">
                  <c:v>203.94637999999998</c:v>
                </c:pt>
              </c:numCache>
            </c:numRef>
          </c:val>
          <c:extLst>
            <c:ext xmlns:c16="http://schemas.microsoft.com/office/drawing/2014/chart" uri="{C3380CC4-5D6E-409C-BE32-E72D297353CC}">
              <c16:uniqueId val="{00000003-6767-456C-AA93-0B49D6242EF6}"/>
            </c:ext>
          </c:extLst>
        </c:ser>
        <c:dLbls>
          <c:showLegendKey val="0"/>
          <c:showVal val="0"/>
          <c:showCatName val="0"/>
          <c:showSerName val="0"/>
          <c:showPercent val="0"/>
          <c:showBubbleSize val="0"/>
        </c:dLbls>
        <c:gapWidth val="50"/>
        <c:overlap val="100"/>
        <c:axId val="283751552"/>
        <c:axId val="283753088"/>
      </c:barChart>
      <c:lineChart>
        <c:grouping val="standard"/>
        <c:varyColors val="0"/>
        <c:ser>
          <c:idx val="4"/>
          <c:order val="4"/>
          <c:tx>
            <c:strRef>
              <c:f>'Adj production'!$H$54</c:f>
              <c:strCache>
                <c:ptCount val="1"/>
                <c:pt idx="0">
                  <c:v>Affected production as share of global supply</c:v>
                </c:pt>
              </c:strCache>
            </c:strRef>
          </c:tx>
          <c:spPr>
            <a:ln w="28575" cap="rnd" cmpd="sng" algn="ctr">
              <a:solidFill>
                <a:srgbClr val="8159A6"/>
              </a:solidFill>
              <a:prstDash val="solid"/>
              <a:round/>
            </a:ln>
            <a:effectLst/>
          </c:spPr>
          <c:marker>
            <c:symbol val="none"/>
          </c:marker>
          <c:cat>
            <c:strRef>
              <c:f>'Adj production'!$I$49:$M$49</c:f>
              <c:strCache>
                <c:ptCount val="5"/>
                <c:pt idx="0">
                  <c:v>2025</c:v>
                </c:pt>
                <c:pt idx="1">
                  <c:v>2026</c:v>
                </c:pt>
                <c:pt idx="2">
                  <c:v>2027</c:v>
                </c:pt>
                <c:pt idx="3">
                  <c:v>2028</c:v>
                </c:pt>
                <c:pt idx="4">
                  <c:v>2029</c:v>
                </c:pt>
              </c:strCache>
            </c:strRef>
          </c:cat>
          <c:val>
            <c:numRef>
              <c:f>'Adj production'!$I$54:$M$54</c:f>
              <c:numCache>
                <c:formatCode>0%</c:formatCode>
                <c:ptCount val="5"/>
                <c:pt idx="0">
                  <c:v>0.16183517510627354</c:v>
                </c:pt>
                <c:pt idx="1">
                  <c:v>0.17129205487656987</c:v>
                </c:pt>
                <c:pt idx="2">
                  <c:v>0.169992859689197</c:v>
                </c:pt>
                <c:pt idx="3">
                  <c:v>0.16134971179763835</c:v>
                </c:pt>
                <c:pt idx="4">
                  <c:v>0.14984059125864357</c:v>
                </c:pt>
              </c:numCache>
            </c:numRef>
          </c:val>
          <c:smooth val="0"/>
          <c:extLst>
            <c:ext xmlns:c16="http://schemas.microsoft.com/office/drawing/2014/chart" uri="{C3380CC4-5D6E-409C-BE32-E72D297353CC}">
              <c16:uniqueId val="{00000004-6767-456C-AA93-0B49D6242EF6}"/>
            </c:ext>
          </c:extLst>
        </c:ser>
        <c:dLbls>
          <c:showLegendKey val="0"/>
          <c:showVal val="0"/>
          <c:showCatName val="0"/>
          <c:showSerName val="0"/>
          <c:showPercent val="0"/>
          <c:showBubbleSize val="0"/>
        </c:dLbls>
        <c:marker val="1"/>
        <c:smooth val="0"/>
        <c:axId val="765877375"/>
        <c:axId val="765876415"/>
      </c:lineChart>
      <c:catAx>
        <c:axId val="283751552"/>
        <c:scaling>
          <c:orientation val="minMax"/>
        </c:scaling>
        <c:delete val="0"/>
        <c:axPos val="b"/>
        <c:numFmt formatCode="General" sourceLinked="0"/>
        <c:majorTickMark val="none"/>
        <c:minorTickMark val="none"/>
        <c:tickLblPos val="nextTo"/>
        <c:spPr>
          <a:noFill/>
          <a:ln w="9525" cap="flat" cmpd="sng" algn="ctr">
            <a:noFill/>
            <a:prstDash val="solid"/>
            <a:round/>
          </a:ln>
          <a:effectLst/>
        </c:spPr>
        <c:txPr>
          <a:bodyPr rot="-60000000" spcFirstLastPara="1" vertOverflow="ellipsis" vert="horz" wrap="square" anchor="ctr" anchorCtr="1"/>
          <a:lstStyle/>
          <a:p>
            <a:pPr>
              <a:defRPr sz="1100" b="0" i="0" u="none" strike="noStrike" kern="1200" baseline="0">
                <a:solidFill>
                  <a:schemeClr val="bg1"/>
                </a:solidFill>
                <a:latin typeface="Arial" panose="020B0604020202020204" pitchFamily="34" charset="0"/>
                <a:ea typeface="Helvetica Neue" panose="02000503000000020004" pitchFamily="2" charset="0"/>
                <a:cs typeface="Arial" panose="020B0604020202020204" pitchFamily="34" charset="0"/>
              </a:defRPr>
            </a:pPr>
            <a:endParaRPr lang="en-US"/>
          </a:p>
        </c:txPr>
        <c:crossAx val="283753088"/>
        <c:crosses val="autoZero"/>
        <c:auto val="1"/>
        <c:lblAlgn val="ctr"/>
        <c:lblOffset val="100"/>
        <c:noMultiLvlLbl val="0"/>
      </c:catAx>
      <c:valAx>
        <c:axId val="283753088"/>
        <c:scaling>
          <c:orientation val="minMax"/>
          <c:max val="800"/>
        </c:scaling>
        <c:delete val="0"/>
        <c:axPos val="l"/>
        <c:majorGridlines>
          <c:spPr>
            <a:ln w="6350" cap="flat" cmpd="sng" algn="ctr">
              <a:noFill/>
              <a:prstDash val="solid"/>
              <a:round/>
            </a:ln>
            <a:effectLst/>
          </c:spPr>
        </c:majorGridlines>
        <c:numFmt formatCode="#,##0" sourceLinked="0"/>
        <c:majorTickMark val="none"/>
        <c:minorTickMark val="none"/>
        <c:tickLblPos val="nextTo"/>
        <c:spPr>
          <a:noFill/>
          <a:ln w="9525" cap="flat" cmpd="sng" algn="ctr">
            <a:noFill/>
            <a:prstDash val="solid"/>
            <a:round/>
          </a:ln>
          <a:effectLst/>
        </c:spPr>
        <c:txPr>
          <a:bodyPr rot="-60000000" spcFirstLastPara="1" vertOverflow="ellipsis" vert="horz" wrap="square" anchor="ctr" anchorCtr="1"/>
          <a:lstStyle/>
          <a:p>
            <a:pPr>
              <a:defRPr sz="1100" b="0" i="0" u="none" strike="noStrike" kern="1200" baseline="0">
                <a:solidFill>
                  <a:schemeClr val="bg1"/>
                </a:solidFill>
                <a:latin typeface="Arial" panose="020B0604020202020204" pitchFamily="34" charset="0"/>
                <a:ea typeface="Helvetica Neue" panose="02000503000000020004" pitchFamily="2" charset="0"/>
                <a:cs typeface="Arial" panose="020B0604020202020204" pitchFamily="34" charset="0"/>
              </a:defRPr>
            </a:pPr>
            <a:endParaRPr lang="en-US"/>
          </a:p>
        </c:txPr>
        <c:crossAx val="283751552"/>
        <c:crosses val="autoZero"/>
        <c:crossBetween val="between"/>
        <c:majorUnit val="200"/>
      </c:valAx>
      <c:valAx>
        <c:axId val="765876415"/>
        <c:scaling>
          <c:orientation val="minMax"/>
          <c:max val="0.18000000000000002"/>
          <c:min val="0.14000000000000001"/>
        </c:scaling>
        <c:delete val="0"/>
        <c:axPos val="r"/>
        <c:numFmt formatCode="0%" sourceLinked="1"/>
        <c:majorTickMark val="out"/>
        <c:minorTickMark val="none"/>
        <c:tickLblPos val="nextTo"/>
        <c:spPr>
          <a:noFill/>
          <a:ln w="9525" cap="flat" cmpd="sng" algn="ctr">
            <a:noFill/>
            <a:prstDash val="solid"/>
            <a:round/>
          </a:ln>
          <a:effectLst/>
        </c:spPr>
        <c:txPr>
          <a:bodyPr rot="-60000000" spcFirstLastPara="1" vertOverflow="ellipsis" vert="horz" wrap="square" anchor="ctr" anchorCtr="1"/>
          <a:lstStyle/>
          <a:p>
            <a:pPr>
              <a:defRPr sz="1100" b="0" i="0" u="none" strike="noStrike" kern="1200" baseline="0">
                <a:solidFill>
                  <a:schemeClr val="bg1"/>
                </a:solidFill>
                <a:latin typeface="Arial" panose="020B0604020202020204" pitchFamily="34" charset="0"/>
                <a:ea typeface="Helvetica Neue" panose="02000503000000020004" pitchFamily="2" charset="0"/>
                <a:cs typeface="Arial" panose="020B0604020202020204" pitchFamily="34" charset="0"/>
              </a:defRPr>
            </a:pPr>
            <a:endParaRPr lang="en-US"/>
          </a:p>
        </c:txPr>
        <c:crossAx val="765877375"/>
        <c:crosses val="max"/>
        <c:crossBetween val="between"/>
        <c:majorUnit val="1.0000000000000002E-2"/>
      </c:valAx>
      <c:catAx>
        <c:axId val="765877375"/>
        <c:scaling>
          <c:orientation val="minMax"/>
        </c:scaling>
        <c:delete val="1"/>
        <c:axPos val="b"/>
        <c:numFmt formatCode="General" sourceLinked="1"/>
        <c:majorTickMark val="out"/>
        <c:minorTickMark val="none"/>
        <c:tickLblPos val="nextTo"/>
        <c:crossAx val="765876415"/>
        <c:crosses val="autoZero"/>
        <c:auto val="1"/>
        <c:lblAlgn val="ctr"/>
        <c:lblOffset val="100"/>
        <c:noMultiLvlLbl val="0"/>
      </c:catAx>
      <c:spPr>
        <a:noFill/>
        <a:ln>
          <a:noFill/>
        </a:ln>
        <a:effectLst/>
      </c:spPr>
    </c:plotArea>
    <c:legend>
      <c:legendPos val="t"/>
      <c:layout>
        <c:manualLayout>
          <c:xMode val="edge"/>
          <c:yMode val="edge"/>
          <c:x val="0.23203057646991207"/>
          <c:y val="7.3726799291176009E-2"/>
          <c:w val="0.63212368526926832"/>
          <c:h val="0.22313939883981007"/>
        </c:manualLayout>
      </c:layout>
      <c:overlay val="1"/>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Arial" panose="020B0604020202020204" pitchFamily="34" charset="0"/>
              <a:ea typeface="Helvetica Neue" panose="02000503000000020004" pitchFamily="2" charset="0"/>
              <a:cs typeface="Arial" panose="020B0604020202020204" pitchFamily="34" charset="0"/>
            </a:defRPr>
          </a:pPr>
          <a:endParaRPr lang="en-US"/>
        </a:p>
      </c:txPr>
    </c:legend>
    <c:plotVisOnly val="1"/>
    <c:dispBlanksAs val="gap"/>
    <c:showDLblsOverMax val="0"/>
  </c:chart>
  <c:spPr>
    <a:noFill/>
    <a:ln w="6350" cap="flat" cmpd="sng" algn="ctr">
      <a:noFill/>
      <a:prstDash val="solid"/>
      <a:round/>
    </a:ln>
    <a:effectLst/>
  </c:spPr>
  <c:txPr>
    <a:bodyPr/>
    <a:lstStyle/>
    <a:p>
      <a:pPr>
        <a:defRPr sz="1100">
          <a:solidFill>
            <a:sysClr val="windowText" lastClr="000000"/>
          </a:solidFill>
          <a:latin typeface="Arial" panose="020B0604020202020204" pitchFamily="34" charset="0"/>
          <a:ea typeface="Helvetica Neue" panose="02000503000000020004" pitchFamily="2" charset="0"/>
          <a:cs typeface="Arial" panose="020B0604020202020204" pitchFamily="34" charset="0"/>
        </a:defRPr>
      </a:pPr>
      <a:endParaRPr lang="en-US"/>
    </a:p>
  </c:txPr>
  <c:externalData r:id="rId4">
    <c:autoUpdate val="0"/>
  </c:externalData>
  <c:userShapes r:id="rId5"/>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431929821560733E-2"/>
          <c:y val="0.11449680551295295"/>
          <c:w val="0.88301851265265896"/>
          <c:h val="0.79664955716586139"/>
        </c:manualLayout>
      </c:layout>
      <c:barChart>
        <c:barDir val="col"/>
        <c:grouping val="clustered"/>
        <c:varyColors val="0"/>
        <c:ser>
          <c:idx val="0"/>
          <c:order val="1"/>
          <c:spPr>
            <a:solidFill>
              <a:schemeClr val="accent1"/>
            </a:solidFill>
            <a:ln>
              <a:noFill/>
            </a:ln>
            <a:effectLst/>
          </c:spPr>
          <c:invertIfNegative val="0"/>
          <c:dPt>
            <c:idx val="5"/>
            <c:invertIfNegative val="0"/>
            <c:bubble3D val="0"/>
            <c:spPr>
              <a:pattFill prst="wdDnDiag">
                <a:fgClr>
                  <a:schemeClr val="tx1">
                    <a:lumMod val="90000"/>
                    <a:lumOff val="10000"/>
                  </a:schemeClr>
                </a:fgClr>
                <a:bgClr>
                  <a:schemeClr val="accent1"/>
                </a:bgClr>
              </a:pattFill>
              <a:ln>
                <a:noFill/>
              </a:ln>
              <a:effectLst/>
            </c:spPr>
            <c:extLst>
              <c:ext xmlns:c16="http://schemas.microsoft.com/office/drawing/2014/chart" uri="{C3380CC4-5D6E-409C-BE32-E72D297353CC}">
                <c16:uniqueId val="{00000001-DBB3-400A-96F6-28039D93516B}"/>
              </c:ext>
            </c:extLst>
          </c:dPt>
          <c:cat>
            <c:numRef>
              <c:f>Balance!$I$2:$N$2</c:f>
              <c:numCache>
                <c:formatCode>General</c:formatCode>
                <c:ptCount val="6"/>
                <c:pt idx="0">
                  <c:v>2021</c:v>
                </c:pt>
                <c:pt idx="1">
                  <c:v>2022</c:v>
                </c:pt>
                <c:pt idx="2">
                  <c:v>2023</c:v>
                </c:pt>
                <c:pt idx="3">
                  <c:v>2024</c:v>
                </c:pt>
                <c:pt idx="4">
                  <c:v>2025</c:v>
                </c:pt>
                <c:pt idx="5">
                  <c:v>2026</c:v>
                </c:pt>
              </c:numCache>
              <c:extLst/>
            </c:numRef>
          </c:cat>
          <c:val>
            <c:numRef>
              <c:f>Balance!$I$9:$N$9</c:f>
              <c:numCache>
                <c:formatCode>0%</c:formatCode>
                <c:ptCount val="6"/>
                <c:pt idx="0" formatCode="0.0%">
                  <c:v>-8.5619673323765841E-2</c:v>
                </c:pt>
                <c:pt idx="1">
                  <c:v>-8.1504848156767937E-2</c:v>
                </c:pt>
                <c:pt idx="2" formatCode="0.0%">
                  <c:v>6.7789259739100785E-2</c:v>
                </c:pt>
                <c:pt idx="3" formatCode="0.0%">
                  <c:v>0.15633734614216066</c:v>
                </c:pt>
                <c:pt idx="4" formatCode="0.0%">
                  <c:v>3.7080691498204525E-2</c:v>
                </c:pt>
                <c:pt idx="5" formatCode="0.0%">
                  <c:v>6.463273842427196E-2</c:v>
                </c:pt>
              </c:numCache>
              <c:extLst/>
            </c:numRef>
          </c:val>
          <c:extLst>
            <c:ext xmlns:c16="http://schemas.microsoft.com/office/drawing/2014/chart" uri="{C3380CC4-5D6E-409C-BE32-E72D297353CC}">
              <c16:uniqueId val="{00000002-DBB3-400A-96F6-28039D93516B}"/>
            </c:ext>
          </c:extLst>
        </c:ser>
        <c:dLbls>
          <c:showLegendKey val="0"/>
          <c:showVal val="0"/>
          <c:showCatName val="0"/>
          <c:showSerName val="0"/>
          <c:showPercent val="0"/>
          <c:showBubbleSize val="0"/>
        </c:dLbls>
        <c:gapWidth val="0"/>
        <c:overlap val="30"/>
        <c:axId val="283751552"/>
        <c:axId val="283753088"/>
        <c:extLst>
          <c:ext xmlns:c15="http://schemas.microsoft.com/office/drawing/2012/chart" uri="{02D57815-91ED-43cb-92C2-25804820EDAC}">
            <c15:filteredBarSeries>
              <c15:ser>
                <c:idx val="2"/>
                <c:order val="0"/>
                <c:spPr>
                  <a:solidFill>
                    <a:schemeClr val="bg2">
                      <a:lumMod val="90000"/>
                    </a:schemeClr>
                  </a:solidFill>
                  <a:ln>
                    <a:noFill/>
                  </a:ln>
                  <a:effectLst/>
                </c:spPr>
                <c:invertIfNegative val="0"/>
                <c:dLbls>
                  <c:dLbl>
                    <c:idx val="2"/>
                    <c:layout>
                      <c:manualLayout>
                        <c:x val="-1.2670347966087425E-17"/>
                        <c:y val="4.7267514543624517E-2"/>
                      </c:manualLayout>
                    </c:layout>
                    <c:tx>
                      <c:rich>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Arial" panose="020B0604020202020204" pitchFamily="34" charset="0"/>
                              <a:ea typeface="+mn-ea"/>
                              <a:cs typeface="Arial" panose="020B0604020202020204" pitchFamily="34" charset="0"/>
                            </a:defRPr>
                          </a:pPr>
                          <a:r>
                            <a:rPr lang="en-US" b="1">
                              <a:solidFill>
                                <a:schemeClr val="bg1"/>
                              </a:solidFill>
                            </a:rPr>
                            <a:t>May '25</a:t>
                          </a:r>
                        </a:p>
                      </c:rich>
                    </c:tx>
                    <c:spPr>
                      <a:noFill/>
                      <a:ln>
                        <a:noFill/>
                      </a:ln>
                      <a:effectLst/>
                    </c:spPr>
                    <c:showLegendKey val="0"/>
                    <c:showVal val="1"/>
                    <c:showCatName val="0"/>
                    <c:showSerName val="0"/>
                    <c:showPercent val="0"/>
                    <c:showBubbleSize val="0"/>
                    <c:extLst>
                      <c:ext uri="{CE6537A1-D6FC-4f65-9D91-7224C49458BB}"/>
                      <c:ext xmlns:c16="http://schemas.microsoft.com/office/drawing/2014/chart" uri="{C3380CC4-5D6E-409C-BE32-E72D297353CC}">
                        <c16:uniqueId val="{00000008-DBB3-400A-96F6-28039D93516B}"/>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4B4B4B"/>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numRef>
                    <c:extLst>
                      <c:ext uri="{02D57815-91ED-43cb-92C2-25804820EDAC}">
                        <c15:formulaRef>
                          <c15:sqref>Balance!$I$2:$N$2</c15:sqref>
                        </c15:formulaRef>
                      </c:ext>
                    </c:extLst>
                    <c:numCache>
                      <c:formatCode>General</c:formatCode>
                      <c:ptCount val="6"/>
                      <c:pt idx="0">
                        <c:v>2021</c:v>
                      </c:pt>
                      <c:pt idx="1">
                        <c:v>2022</c:v>
                      </c:pt>
                      <c:pt idx="2">
                        <c:v>2023</c:v>
                      </c:pt>
                      <c:pt idx="3">
                        <c:v>2024</c:v>
                      </c:pt>
                      <c:pt idx="4">
                        <c:v>2025</c:v>
                      </c:pt>
                      <c:pt idx="5">
                        <c:v>2026</c:v>
                      </c:pt>
                    </c:numCache>
                  </c:numRef>
                </c:cat>
                <c:val>
                  <c:numRef>
                    <c:extLst>
                      <c:ext uri="{02D57815-91ED-43cb-92C2-25804820EDAC}">
                        <c15:formulaRef>
                          <c15:sqref>Balance!$I$33:$N$33</c15:sqref>
                        </c15:formulaRef>
                      </c:ext>
                    </c:extLst>
                    <c:numCache>
                      <c:formatCode>0.0%</c:formatCode>
                      <c:ptCount val="6"/>
                      <c:pt idx="0">
                        <c:v>-9.4967155916356072E-2</c:v>
                      </c:pt>
                      <c:pt idx="1">
                        <c:v>-8.6498065931827364E-2</c:v>
                      </c:pt>
                      <c:pt idx="2">
                        <c:v>4.8981657603395366E-2</c:v>
                      </c:pt>
                      <c:pt idx="3">
                        <c:v>0.15781793985453146</c:v>
                      </c:pt>
                      <c:pt idx="4">
                        <c:v>8.9383985736865304E-2</c:v>
                      </c:pt>
                      <c:pt idx="5">
                        <c:v>1.1156750709360541E-2</c:v>
                      </c:pt>
                    </c:numCache>
                  </c:numRef>
                </c:val>
                <c:extLst>
                  <c:ext xmlns:c16="http://schemas.microsoft.com/office/drawing/2014/chart" uri="{C3380CC4-5D6E-409C-BE32-E72D297353CC}">
                    <c16:uniqueId val="{00000009-DBB3-400A-96F6-28039D93516B}"/>
                  </c:ext>
                </c:extLst>
              </c15:ser>
            </c15:filteredBarSeries>
          </c:ext>
        </c:extLst>
      </c:barChart>
      <c:lineChart>
        <c:grouping val="standard"/>
        <c:varyColors val="0"/>
        <c:ser>
          <c:idx val="1"/>
          <c:order val="2"/>
          <c:tx>
            <c:strRef>
              <c:f>Balance!$A$11</c:f>
              <c:strCache>
                <c:ptCount val="1"/>
                <c:pt idx="0">
                  <c:v>Stocks as days of consumption</c:v>
                </c:pt>
              </c:strCache>
            </c:strRef>
          </c:tx>
          <c:spPr>
            <a:ln w="28575" cap="rnd" cmpd="sng" algn="ctr">
              <a:solidFill>
                <a:schemeClr val="accent4"/>
              </a:solidFill>
              <a:prstDash val="solid"/>
              <a:round/>
            </a:ln>
            <a:effectLst/>
          </c:spPr>
          <c:marker>
            <c:symbol val="none"/>
          </c:marker>
          <c:dPt>
            <c:idx val="2"/>
            <c:bubble3D val="0"/>
            <c:spPr>
              <a:ln w="28575" cap="rnd" cmpd="sng" algn="ctr">
                <a:solidFill>
                  <a:schemeClr val="accent4"/>
                </a:solidFill>
                <a:prstDash val="solid"/>
                <a:round/>
              </a:ln>
              <a:effectLst/>
            </c:spPr>
            <c:extLst>
              <c:ext xmlns:c16="http://schemas.microsoft.com/office/drawing/2014/chart" uri="{C3380CC4-5D6E-409C-BE32-E72D297353CC}">
                <c16:uniqueId val="{00000004-DBB3-400A-96F6-28039D93516B}"/>
              </c:ext>
            </c:extLst>
          </c:dPt>
          <c:dPt>
            <c:idx val="5"/>
            <c:bubble3D val="0"/>
            <c:spPr>
              <a:ln w="28575" cap="rnd" cmpd="sng" algn="ctr">
                <a:solidFill>
                  <a:schemeClr val="accent4"/>
                </a:solidFill>
                <a:prstDash val="sysDash"/>
                <a:round/>
              </a:ln>
              <a:effectLst/>
            </c:spPr>
            <c:extLst>
              <c:ext xmlns:c16="http://schemas.microsoft.com/office/drawing/2014/chart" uri="{C3380CC4-5D6E-409C-BE32-E72D297353CC}">
                <c16:uniqueId val="{00000006-DBB3-400A-96F6-28039D93516B}"/>
              </c:ext>
            </c:extLst>
          </c:dPt>
          <c:cat>
            <c:numRef>
              <c:f>Balance!$I$2:$N$2</c:f>
              <c:numCache>
                <c:formatCode>General</c:formatCode>
                <c:ptCount val="6"/>
                <c:pt idx="0">
                  <c:v>2021</c:v>
                </c:pt>
                <c:pt idx="1">
                  <c:v>2022</c:v>
                </c:pt>
                <c:pt idx="2">
                  <c:v>2023</c:v>
                </c:pt>
                <c:pt idx="3">
                  <c:v>2024</c:v>
                </c:pt>
                <c:pt idx="4">
                  <c:v>2025</c:v>
                </c:pt>
                <c:pt idx="5">
                  <c:v>2026</c:v>
                </c:pt>
              </c:numCache>
              <c:extLst/>
            </c:numRef>
          </c:cat>
          <c:val>
            <c:numRef>
              <c:f>Balance!$I$11:$N$11</c:f>
              <c:numCache>
                <c:formatCode>0</c:formatCode>
                <c:ptCount val="6"/>
                <c:pt idx="0">
                  <c:v>141.64124355409649</c:v>
                </c:pt>
                <c:pt idx="1">
                  <c:v>68.719608408196549</c:v>
                </c:pt>
                <c:pt idx="2">
                  <c:v>82.572306608234371</c:v>
                </c:pt>
                <c:pt idx="3">
                  <c:v>125.44881798791754</c:v>
                </c:pt>
                <c:pt idx="4">
                  <c:v>116.25909548984677</c:v>
                </c:pt>
                <c:pt idx="5">
                  <c:v>124.52563776431106</c:v>
                </c:pt>
              </c:numCache>
              <c:extLst/>
            </c:numRef>
          </c:val>
          <c:smooth val="1"/>
          <c:extLst>
            <c:ext xmlns:c16="http://schemas.microsoft.com/office/drawing/2014/chart" uri="{C3380CC4-5D6E-409C-BE32-E72D297353CC}">
              <c16:uniqueId val="{00000007-DBB3-400A-96F6-28039D93516B}"/>
            </c:ext>
          </c:extLst>
        </c:ser>
        <c:dLbls>
          <c:showLegendKey val="0"/>
          <c:showVal val="0"/>
          <c:showCatName val="0"/>
          <c:showSerName val="0"/>
          <c:showPercent val="0"/>
          <c:showBubbleSize val="0"/>
        </c:dLbls>
        <c:marker val="1"/>
        <c:smooth val="0"/>
        <c:axId val="1206390048"/>
        <c:axId val="1309851120"/>
        <c:extLst/>
      </c:lineChart>
      <c:catAx>
        <c:axId val="283751552"/>
        <c:scaling>
          <c:orientation val="minMax"/>
        </c:scaling>
        <c:delete val="0"/>
        <c:axPos val="b"/>
        <c:numFmt formatCode="General" sourceLinked="0"/>
        <c:majorTickMark val="none"/>
        <c:minorTickMark val="none"/>
        <c:tickLblPos val="low"/>
        <c:spPr>
          <a:noFill/>
          <a:ln w="9525" cap="flat" cmpd="sng" algn="ctr">
            <a:noFill/>
            <a:prstDash val="solid"/>
            <a:round/>
          </a:ln>
          <a:effectLst/>
        </c:spPr>
        <c:txPr>
          <a:bodyPr rot="-60000000" spcFirstLastPara="1" vertOverflow="ellipsis" vert="horz" wrap="square" anchor="ctr" anchorCtr="1"/>
          <a:lstStyle/>
          <a:p>
            <a:pPr>
              <a:defRPr sz="11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283753088"/>
        <c:crosses val="autoZero"/>
        <c:auto val="1"/>
        <c:lblAlgn val="ctr"/>
        <c:lblOffset val="100"/>
        <c:noMultiLvlLbl val="0"/>
      </c:catAx>
      <c:valAx>
        <c:axId val="283753088"/>
        <c:scaling>
          <c:orientation val="minMax"/>
          <c:max val="0.25"/>
          <c:min val="-0.1"/>
        </c:scaling>
        <c:delete val="0"/>
        <c:axPos val="l"/>
        <c:numFmt formatCode="0%" sourceLinked="0"/>
        <c:majorTickMark val="none"/>
        <c:minorTickMark val="none"/>
        <c:tickLblPos val="nextTo"/>
        <c:spPr>
          <a:noFill/>
          <a:ln w="9525" cap="flat" cmpd="sng" algn="ctr">
            <a:noFill/>
            <a:prstDash val="solid"/>
            <a:round/>
          </a:ln>
          <a:effectLst/>
        </c:spPr>
        <c:txPr>
          <a:bodyPr rot="-60000000" spcFirstLastPara="1" vertOverflow="ellipsis" vert="horz" wrap="square" anchor="ctr" anchorCtr="1"/>
          <a:lstStyle/>
          <a:p>
            <a:pPr>
              <a:defRPr sz="11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283751552"/>
        <c:crosses val="autoZero"/>
        <c:crossBetween val="between"/>
        <c:majorUnit val="0.1"/>
      </c:valAx>
      <c:valAx>
        <c:axId val="1309851120"/>
        <c:scaling>
          <c:orientation val="minMax"/>
          <c:max val="150"/>
          <c:min val="0"/>
        </c:scaling>
        <c:delete val="0"/>
        <c:axPos val="r"/>
        <c:numFmt formatCode="#,##0" sourceLinked="0"/>
        <c:majorTickMark val="out"/>
        <c:minorTickMark val="none"/>
        <c:tickLblPos val="nextTo"/>
        <c:spPr>
          <a:noFill/>
          <a:ln w="9525" cap="flat" cmpd="sng" algn="ctr">
            <a:noFill/>
            <a:prstDash val="solid"/>
            <a:round/>
          </a:ln>
          <a:effectLst/>
        </c:spPr>
        <c:txPr>
          <a:bodyPr rot="-60000000" spcFirstLastPara="1" vertOverflow="ellipsis" vert="horz" wrap="square" anchor="ctr" anchorCtr="1"/>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1206390048"/>
        <c:crosses val="max"/>
        <c:crossBetween val="between"/>
        <c:majorUnit val="50"/>
      </c:valAx>
      <c:catAx>
        <c:axId val="1206390048"/>
        <c:scaling>
          <c:orientation val="minMax"/>
        </c:scaling>
        <c:delete val="1"/>
        <c:axPos val="b"/>
        <c:numFmt formatCode="General" sourceLinked="1"/>
        <c:majorTickMark val="out"/>
        <c:minorTickMark val="none"/>
        <c:tickLblPos val="nextTo"/>
        <c:crossAx val="1309851120"/>
        <c:crosses val="autoZero"/>
        <c:auto val="1"/>
        <c:lblAlgn val="ctr"/>
        <c:lblOffset val="100"/>
        <c:noMultiLvlLbl val="0"/>
      </c:catAx>
      <c:spPr>
        <a:noFill/>
        <a:ln>
          <a:noFill/>
        </a:ln>
        <a:effectLst/>
      </c:spPr>
    </c:plotArea>
    <c:plotVisOnly val="1"/>
    <c:dispBlanksAs val="gap"/>
    <c:showDLblsOverMax val="0"/>
  </c:chart>
  <c:spPr>
    <a:noFill/>
    <a:ln w="6350" cap="flat" cmpd="sng" algn="ctr">
      <a:noFill/>
      <a:prstDash val="solid"/>
      <a:round/>
    </a:ln>
    <a:effectLst/>
  </c:spPr>
  <c:txPr>
    <a:bodyPr/>
    <a:lstStyle/>
    <a:p>
      <a:pPr>
        <a:defRPr>
          <a:solidFill>
            <a:srgbClr val="4B4B4B"/>
          </a:solidFill>
          <a:latin typeface="Arial" panose="020B0604020202020204" pitchFamily="34" charset="0"/>
          <a:cs typeface="Arial" panose="020B0604020202020204" pitchFamily="34" charset="0"/>
        </a:defRPr>
      </a:pPr>
      <a:endParaRPr lang="en-US"/>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63537037037034"/>
          <c:y val="0.10878085212396522"/>
          <c:w val="0.85727833333333336"/>
          <c:h val="0.78376981388412448"/>
        </c:manualLayout>
      </c:layout>
      <c:lineChart>
        <c:grouping val="standard"/>
        <c:varyColors val="0"/>
        <c:ser>
          <c:idx val="0"/>
          <c:order val="0"/>
          <c:tx>
            <c:strRef>
              <c:f>'DRC export ban'!$A$31</c:f>
              <c:strCache>
                <c:ptCount val="1"/>
                <c:pt idx="0">
                  <c:v>China Sulphate</c:v>
                </c:pt>
              </c:strCache>
            </c:strRef>
          </c:tx>
          <c:spPr>
            <a:ln w="28575" cap="rnd" cmpd="sng" algn="ctr">
              <a:solidFill>
                <a:schemeClr val="accent1">
                  <a:lumMod val="60000"/>
                  <a:lumOff val="40000"/>
                </a:schemeClr>
              </a:solidFill>
              <a:prstDash val="solid"/>
              <a:round/>
            </a:ln>
            <a:effectLst/>
          </c:spPr>
          <c:marker>
            <c:symbol val="none"/>
          </c:marker>
          <c:dPt>
            <c:idx val="0"/>
            <c:bubble3D val="0"/>
            <c:spPr>
              <a:ln w="28575" cap="rnd" cmpd="sng" algn="ctr">
                <a:solidFill>
                  <a:schemeClr val="accent1">
                    <a:lumMod val="60000"/>
                    <a:lumOff val="40000"/>
                  </a:schemeClr>
                </a:solidFill>
                <a:prstDash val="solid"/>
                <a:round/>
              </a:ln>
              <a:effectLst/>
            </c:spPr>
            <c:extLst>
              <c:ext xmlns:c16="http://schemas.microsoft.com/office/drawing/2014/chart" uri="{C3380CC4-5D6E-409C-BE32-E72D297353CC}">
                <c16:uniqueId val="{00000001-2AAC-45AE-BA0B-0D1366EA89B8}"/>
              </c:ext>
            </c:extLst>
          </c:dPt>
          <c:dPt>
            <c:idx val="1"/>
            <c:bubble3D val="0"/>
            <c:spPr>
              <a:ln w="28575" cap="rnd" cmpd="sng" algn="ctr">
                <a:solidFill>
                  <a:schemeClr val="accent1">
                    <a:lumMod val="60000"/>
                    <a:lumOff val="40000"/>
                  </a:schemeClr>
                </a:solidFill>
                <a:prstDash val="solid"/>
                <a:round/>
              </a:ln>
              <a:effectLst/>
            </c:spPr>
            <c:extLst>
              <c:ext xmlns:c16="http://schemas.microsoft.com/office/drawing/2014/chart" uri="{C3380CC4-5D6E-409C-BE32-E72D297353CC}">
                <c16:uniqueId val="{00000003-2AAC-45AE-BA0B-0D1366EA89B8}"/>
              </c:ext>
            </c:extLst>
          </c:dPt>
          <c:dPt>
            <c:idx val="2"/>
            <c:bubble3D val="0"/>
            <c:spPr>
              <a:ln w="28575" cap="rnd" cmpd="sng" algn="ctr">
                <a:solidFill>
                  <a:schemeClr val="accent1">
                    <a:lumMod val="60000"/>
                    <a:lumOff val="40000"/>
                  </a:schemeClr>
                </a:solidFill>
                <a:prstDash val="solid"/>
                <a:round/>
              </a:ln>
              <a:effectLst/>
            </c:spPr>
            <c:extLst>
              <c:ext xmlns:c16="http://schemas.microsoft.com/office/drawing/2014/chart" uri="{C3380CC4-5D6E-409C-BE32-E72D297353CC}">
                <c16:uniqueId val="{00000005-2AAC-45AE-BA0B-0D1366EA89B8}"/>
              </c:ext>
            </c:extLst>
          </c:dPt>
          <c:dPt>
            <c:idx val="3"/>
            <c:bubble3D val="0"/>
            <c:spPr>
              <a:ln w="28575" cap="rnd" cmpd="sng" algn="ctr">
                <a:solidFill>
                  <a:schemeClr val="accent1">
                    <a:lumMod val="60000"/>
                    <a:lumOff val="40000"/>
                  </a:schemeClr>
                </a:solidFill>
                <a:prstDash val="solid"/>
                <a:round/>
              </a:ln>
              <a:effectLst/>
            </c:spPr>
            <c:extLst>
              <c:ext xmlns:c16="http://schemas.microsoft.com/office/drawing/2014/chart" uri="{C3380CC4-5D6E-409C-BE32-E72D297353CC}">
                <c16:uniqueId val="{00000007-2AAC-45AE-BA0B-0D1366EA89B8}"/>
              </c:ext>
            </c:extLst>
          </c:dPt>
          <c:dLbls>
            <c:dLbl>
              <c:idx val="7"/>
              <c:layout>
                <c:manualLayout>
                  <c:x val="-0.17244992519589505"/>
                  <c:y val="-0.25826771653543312"/>
                </c:manualLayout>
              </c:layout>
              <c:tx>
                <c:rich>
                  <a:bodyPr/>
                  <a:lstStyle/>
                  <a:p>
                    <a:r>
                      <a:rPr lang="en-US" sz="1100"/>
                      <a:t>Four-month</a:t>
                    </a:r>
                    <a:r>
                      <a:rPr lang="en-US" sz="1100" baseline="0"/>
                      <a:t> e</a:t>
                    </a:r>
                    <a:r>
                      <a:rPr lang="en-US" sz="1100"/>
                      <a:t>xport ban</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2AAC-45AE-BA0B-0D1366EA89B8}"/>
                </c:ext>
              </c:extLst>
            </c:dLbl>
            <c:dLbl>
              <c:idx val="24"/>
              <c:layout>
                <c:manualLayout>
                  <c:x val="-0.48908070245162572"/>
                  <c:y val="-0.23017897196700235"/>
                </c:manualLayout>
              </c:layout>
              <c:tx>
                <c:rich>
                  <a:bodyPr/>
                  <a:lstStyle/>
                  <a:p>
                    <a:r>
                      <a:rPr lang="en-US"/>
                      <a:t>Three-month ban extension</a:t>
                    </a:r>
                  </a:p>
                </c:rich>
              </c:tx>
              <c:showLegendKey val="0"/>
              <c:showVal val="1"/>
              <c:showCatName val="0"/>
              <c:showSerName val="0"/>
              <c:showPercent val="0"/>
              <c:showBubbleSize val="0"/>
              <c:extLst>
                <c:ext xmlns:c15="http://schemas.microsoft.com/office/drawing/2012/chart" uri="{CE6537A1-D6FC-4f65-9D91-7224C49458BB}">
                  <c15:layout>
                    <c:manualLayout>
                      <c:w val="0.24520002216417922"/>
                      <c:h val="0.22940684110770485"/>
                    </c:manualLayout>
                  </c15:layout>
                </c:ext>
                <c:ext xmlns:c16="http://schemas.microsoft.com/office/drawing/2014/chart" uri="{C3380CC4-5D6E-409C-BE32-E72D297353CC}">
                  <c16:uniqueId val="{00000009-2AAC-45AE-BA0B-0D1366EA89B8}"/>
                </c:ext>
              </c:extLst>
            </c:dLbl>
            <c:dLbl>
              <c:idx val="37"/>
              <c:layout>
                <c:manualLayout>
                  <c:x val="-0.12915005167138705"/>
                  <c:y val="-0.11164431022285311"/>
                </c:manualLayout>
              </c:layout>
              <c:tx>
                <c:rich>
                  <a:bodyPr/>
                  <a:lstStyle/>
                  <a:p>
                    <a:r>
                      <a:rPr lang="en-US"/>
                      <a:t>One-month ban extension &amp; quotas</a:t>
                    </a:r>
                  </a:p>
                </c:rich>
              </c:tx>
              <c:showLegendKey val="0"/>
              <c:showVal val="1"/>
              <c:showCatName val="0"/>
              <c:showSerName val="0"/>
              <c:showPercent val="0"/>
              <c:showBubbleSize val="0"/>
              <c:extLst>
                <c:ext xmlns:c15="http://schemas.microsoft.com/office/drawing/2012/chart" uri="{CE6537A1-D6FC-4f65-9D91-7224C49458BB}">
                  <c15:layout>
                    <c:manualLayout>
                      <c:w val="0.26057512883882217"/>
                      <c:h val="0.14282518741188086"/>
                    </c:manualLayout>
                  </c15:layout>
                </c:ext>
                <c:ext xmlns:c16="http://schemas.microsoft.com/office/drawing/2014/chart" uri="{C3380CC4-5D6E-409C-BE32-E72D297353CC}">
                  <c16:uniqueId val="{0000000A-2AAC-45AE-BA0B-0D1366EA89B8}"/>
                </c:ext>
              </c:extLst>
            </c:dLbl>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Arial" panose="020B0604020202020204" pitchFamily="34" charset="0"/>
                    <a:ea typeface="Helvetica Neue" panose="02000503000000020004" pitchFamily="2" charset="0"/>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12700" cap="flat" cmpd="sng" algn="ctr">
                      <a:solidFill>
                        <a:schemeClr val="bg1"/>
                      </a:solidFill>
                      <a:prstDash val="solid"/>
                      <a:round/>
                    </a:ln>
                    <a:effectLst/>
                  </c:spPr>
                </c15:leaderLines>
              </c:ext>
            </c:extLst>
          </c:dLbls>
          <c:cat>
            <c:numRef>
              <c:f>'DRC export ban'!$C$30:$AP$30</c:f>
              <c:numCache>
                <c:formatCode>[$-F800]dddd\,\ mmmm\ dd\,\ yyyy</c:formatCode>
                <c:ptCount val="40"/>
                <c:pt idx="0">
                  <c:v>45660</c:v>
                </c:pt>
                <c:pt idx="1">
                  <c:v>45667</c:v>
                </c:pt>
                <c:pt idx="2">
                  <c:v>45674</c:v>
                </c:pt>
                <c:pt idx="3">
                  <c:v>45681</c:v>
                </c:pt>
                <c:pt idx="4">
                  <c:v>45688</c:v>
                </c:pt>
                <c:pt idx="5">
                  <c:v>45695</c:v>
                </c:pt>
                <c:pt idx="6">
                  <c:v>45702</c:v>
                </c:pt>
                <c:pt idx="7">
                  <c:v>45709</c:v>
                </c:pt>
                <c:pt idx="8">
                  <c:v>45716</c:v>
                </c:pt>
                <c:pt idx="9">
                  <c:v>45723</c:v>
                </c:pt>
                <c:pt idx="10">
                  <c:v>45730</c:v>
                </c:pt>
                <c:pt idx="11">
                  <c:v>45737</c:v>
                </c:pt>
                <c:pt idx="12">
                  <c:v>45744</c:v>
                </c:pt>
                <c:pt idx="13">
                  <c:v>45751</c:v>
                </c:pt>
                <c:pt idx="14">
                  <c:v>45758</c:v>
                </c:pt>
                <c:pt idx="15">
                  <c:v>45765</c:v>
                </c:pt>
                <c:pt idx="16">
                  <c:v>45772</c:v>
                </c:pt>
                <c:pt idx="17">
                  <c:v>45779</c:v>
                </c:pt>
                <c:pt idx="18">
                  <c:v>45786</c:v>
                </c:pt>
                <c:pt idx="19">
                  <c:v>45793</c:v>
                </c:pt>
                <c:pt idx="20">
                  <c:v>45800</c:v>
                </c:pt>
                <c:pt idx="21">
                  <c:v>45807</c:v>
                </c:pt>
                <c:pt idx="22">
                  <c:v>45814</c:v>
                </c:pt>
                <c:pt idx="23">
                  <c:v>45821</c:v>
                </c:pt>
                <c:pt idx="24">
                  <c:v>45828</c:v>
                </c:pt>
                <c:pt idx="25">
                  <c:v>45835</c:v>
                </c:pt>
                <c:pt idx="26">
                  <c:v>45842</c:v>
                </c:pt>
                <c:pt idx="27">
                  <c:v>45849</c:v>
                </c:pt>
                <c:pt idx="28">
                  <c:v>45856</c:v>
                </c:pt>
                <c:pt idx="29">
                  <c:v>45863</c:v>
                </c:pt>
                <c:pt idx="30">
                  <c:v>45870</c:v>
                </c:pt>
                <c:pt idx="31">
                  <c:v>45877</c:v>
                </c:pt>
                <c:pt idx="32">
                  <c:v>45884</c:v>
                </c:pt>
                <c:pt idx="33">
                  <c:v>45891</c:v>
                </c:pt>
                <c:pt idx="34">
                  <c:v>45898</c:v>
                </c:pt>
                <c:pt idx="35">
                  <c:v>45905</c:v>
                </c:pt>
                <c:pt idx="36">
                  <c:v>45912</c:v>
                </c:pt>
                <c:pt idx="37">
                  <c:v>45919</c:v>
                </c:pt>
                <c:pt idx="38">
                  <c:v>45926</c:v>
                </c:pt>
                <c:pt idx="39">
                  <c:v>45933</c:v>
                </c:pt>
              </c:numCache>
            </c:numRef>
          </c:cat>
          <c:val>
            <c:numRef>
              <c:f>'DRC export ban'!$C$34:$AP$34</c:f>
              <c:numCache>
                <c:formatCode>0.0</c:formatCode>
                <c:ptCount val="40"/>
                <c:pt idx="0">
                  <c:v>1</c:v>
                </c:pt>
                <c:pt idx="1">
                  <c:v>1</c:v>
                </c:pt>
                <c:pt idx="2">
                  <c:v>1</c:v>
                </c:pt>
                <c:pt idx="3">
                  <c:v>1</c:v>
                </c:pt>
                <c:pt idx="4">
                  <c:v>1</c:v>
                </c:pt>
                <c:pt idx="5">
                  <c:v>1</c:v>
                </c:pt>
                <c:pt idx="6">
                  <c:v>1</c:v>
                </c:pt>
                <c:pt idx="7">
                  <c:v>1</c:v>
                </c:pt>
                <c:pt idx="8">
                  <c:v>1.0377358490566038</c:v>
                </c:pt>
                <c:pt idx="9">
                  <c:v>1.320754716981132</c:v>
                </c:pt>
                <c:pt idx="10">
                  <c:v>1.5094339622641511</c:v>
                </c:pt>
                <c:pt idx="11">
                  <c:v>1.7924528301886793</c:v>
                </c:pt>
                <c:pt idx="12">
                  <c:v>1.7924528301886793</c:v>
                </c:pt>
                <c:pt idx="13">
                  <c:v>1.7924528301886793</c:v>
                </c:pt>
                <c:pt idx="14">
                  <c:v>1.7924528301886793</c:v>
                </c:pt>
                <c:pt idx="15">
                  <c:v>1.7924528301886793</c:v>
                </c:pt>
                <c:pt idx="16">
                  <c:v>1.7924528301886793</c:v>
                </c:pt>
                <c:pt idx="17">
                  <c:v>1.7924528301886793</c:v>
                </c:pt>
                <c:pt idx="18">
                  <c:v>1.7924528301886793</c:v>
                </c:pt>
                <c:pt idx="19">
                  <c:v>1.7358490566037736</c:v>
                </c:pt>
                <c:pt idx="20">
                  <c:v>1.7358490566037736</c:v>
                </c:pt>
                <c:pt idx="21">
                  <c:v>1.7358490566037736</c:v>
                </c:pt>
                <c:pt idx="22">
                  <c:v>1.6981132075471699</c:v>
                </c:pt>
                <c:pt idx="23">
                  <c:v>1.6981132075471699</c:v>
                </c:pt>
                <c:pt idx="24">
                  <c:v>1.6981132075471699</c:v>
                </c:pt>
                <c:pt idx="25">
                  <c:v>1.7924528301886793</c:v>
                </c:pt>
                <c:pt idx="26">
                  <c:v>1.7924528301886793</c:v>
                </c:pt>
                <c:pt idx="27">
                  <c:v>1.7924528301886793</c:v>
                </c:pt>
                <c:pt idx="28">
                  <c:v>1.7924528301886793</c:v>
                </c:pt>
                <c:pt idx="29">
                  <c:v>1.8301886792452831</c:v>
                </c:pt>
                <c:pt idx="30">
                  <c:v>1.8301886792452831</c:v>
                </c:pt>
                <c:pt idx="31">
                  <c:v>1.8490566037735849</c:v>
                </c:pt>
                <c:pt idx="32">
                  <c:v>1.9245283018867925</c:v>
                </c:pt>
                <c:pt idx="33">
                  <c:v>1.9245283018867925</c:v>
                </c:pt>
                <c:pt idx="34">
                  <c:v>1.9433962264150944</c:v>
                </c:pt>
                <c:pt idx="35">
                  <c:v>2</c:v>
                </c:pt>
                <c:pt idx="36">
                  <c:v>2.0377358490566038</c:v>
                </c:pt>
                <c:pt idx="37">
                  <c:v>2.1509433962264151</c:v>
                </c:pt>
                <c:pt idx="38">
                  <c:v>2.1509433962264151</c:v>
                </c:pt>
                <c:pt idx="39">
                  <c:v>2.1509433962264151</c:v>
                </c:pt>
              </c:numCache>
            </c:numRef>
          </c:val>
          <c:smooth val="1"/>
          <c:extLst>
            <c:ext xmlns:c16="http://schemas.microsoft.com/office/drawing/2014/chart" uri="{C3380CC4-5D6E-409C-BE32-E72D297353CC}">
              <c16:uniqueId val="{0000000B-2AAC-45AE-BA0B-0D1366EA89B8}"/>
            </c:ext>
          </c:extLst>
        </c:ser>
        <c:ser>
          <c:idx val="1"/>
          <c:order val="1"/>
          <c:tx>
            <c:strRef>
              <c:f>'DRC export ban'!$A$32</c:f>
              <c:strCache>
                <c:ptCount val="1"/>
                <c:pt idx="0">
                  <c:v>EU Metal</c:v>
                </c:pt>
              </c:strCache>
            </c:strRef>
          </c:tx>
          <c:spPr>
            <a:ln w="28575" cap="rnd" cmpd="sng" algn="ctr">
              <a:solidFill>
                <a:schemeClr val="accent3"/>
              </a:solidFill>
              <a:prstDash val="solid"/>
              <a:round/>
            </a:ln>
            <a:effectLst/>
          </c:spPr>
          <c:marker>
            <c:symbol val="none"/>
          </c:marker>
          <c:cat>
            <c:numRef>
              <c:f>'DRC export ban'!$C$30:$AP$30</c:f>
              <c:numCache>
                <c:formatCode>[$-F800]dddd\,\ mmmm\ dd\,\ yyyy</c:formatCode>
                <c:ptCount val="40"/>
                <c:pt idx="0">
                  <c:v>45660</c:v>
                </c:pt>
                <c:pt idx="1">
                  <c:v>45667</c:v>
                </c:pt>
                <c:pt idx="2">
                  <c:v>45674</c:v>
                </c:pt>
                <c:pt idx="3">
                  <c:v>45681</c:v>
                </c:pt>
                <c:pt idx="4">
                  <c:v>45688</c:v>
                </c:pt>
                <c:pt idx="5">
                  <c:v>45695</c:v>
                </c:pt>
                <c:pt idx="6">
                  <c:v>45702</c:v>
                </c:pt>
                <c:pt idx="7">
                  <c:v>45709</c:v>
                </c:pt>
                <c:pt idx="8">
                  <c:v>45716</c:v>
                </c:pt>
                <c:pt idx="9">
                  <c:v>45723</c:v>
                </c:pt>
                <c:pt idx="10">
                  <c:v>45730</c:v>
                </c:pt>
                <c:pt idx="11">
                  <c:v>45737</c:v>
                </c:pt>
                <c:pt idx="12">
                  <c:v>45744</c:v>
                </c:pt>
                <c:pt idx="13">
                  <c:v>45751</c:v>
                </c:pt>
                <c:pt idx="14">
                  <c:v>45758</c:v>
                </c:pt>
                <c:pt idx="15">
                  <c:v>45765</c:v>
                </c:pt>
                <c:pt idx="16">
                  <c:v>45772</c:v>
                </c:pt>
                <c:pt idx="17">
                  <c:v>45779</c:v>
                </c:pt>
                <c:pt idx="18">
                  <c:v>45786</c:v>
                </c:pt>
                <c:pt idx="19">
                  <c:v>45793</c:v>
                </c:pt>
                <c:pt idx="20">
                  <c:v>45800</c:v>
                </c:pt>
                <c:pt idx="21">
                  <c:v>45807</c:v>
                </c:pt>
                <c:pt idx="22">
                  <c:v>45814</c:v>
                </c:pt>
                <c:pt idx="23">
                  <c:v>45821</c:v>
                </c:pt>
                <c:pt idx="24">
                  <c:v>45828</c:v>
                </c:pt>
                <c:pt idx="25">
                  <c:v>45835</c:v>
                </c:pt>
                <c:pt idx="26">
                  <c:v>45842</c:v>
                </c:pt>
                <c:pt idx="27">
                  <c:v>45849</c:v>
                </c:pt>
                <c:pt idx="28">
                  <c:v>45856</c:v>
                </c:pt>
                <c:pt idx="29">
                  <c:v>45863</c:v>
                </c:pt>
                <c:pt idx="30">
                  <c:v>45870</c:v>
                </c:pt>
                <c:pt idx="31">
                  <c:v>45877</c:v>
                </c:pt>
                <c:pt idx="32">
                  <c:v>45884</c:v>
                </c:pt>
                <c:pt idx="33">
                  <c:v>45891</c:v>
                </c:pt>
                <c:pt idx="34">
                  <c:v>45898</c:v>
                </c:pt>
                <c:pt idx="35">
                  <c:v>45905</c:v>
                </c:pt>
                <c:pt idx="36">
                  <c:v>45912</c:v>
                </c:pt>
                <c:pt idx="37">
                  <c:v>45919</c:v>
                </c:pt>
                <c:pt idx="38">
                  <c:v>45926</c:v>
                </c:pt>
                <c:pt idx="39">
                  <c:v>45933</c:v>
                </c:pt>
              </c:numCache>
            </c:numRef>
          </c:cat>
          <c:val>
            <c:numRef>
              <c:f>'DRC export ban'!$C$35:$AP$35</c:f>
              <c:numCache>
                <c:formatCode>0.0</c:formatCode>
                <c:ptCount val="40"/>
                <c:pt idx="0">
                  <c:v>1</c:v>
                </c:pt>
                <c:pt idx="1">
                  <c:v>1</c:v>
                </c:pt>
                <c:pt idx="2">
                  <c:v>1</c:v>
                </c:pt>
                <c:pt idx="3">
                  <c:v>0.98571428571428565</c:v>
                </c:pt>
                <c:pt idx="4">
                  <c:v>0.98571428571428565</c:v>
                </c:pt>
                <c:pt idx="5">
                  <c:v>0.98571428571428565</c:v>
                </c:pt>
                <c:pt idx="6">
                  <c:v>0.98571428571428565</c:v>
                </c:pt>
                <c:pt idx="7">
                  <c:v>0.96190476190476182</c:v>
                </c:pt>
                <c:pt idx="8">
                  <c:v>0.96190476190476182</c:v>
                </c:pt>
                <c:pt idx="9">
                  <c:v>1.0476190476190477</c:v>
                </c:pt>
                <c:pt idx="10">
                  <c:v>1.2619047619047619</c:v>
                </c:pt>
                <c:pt idx="11">
                  <c:v>1.5261904761904761</c:v>
                </c:pt>
                <c:pt idx="12">
                  <c:v>1.5261904761904761</c:v>
                </c:pt>
                <c:pt idx="13">
                  <c:v>1.5666666666666667</c:v>
                </c:pt>
                <c:pt idx="14">
                  <c:v>1.5666666666666667</c:v>
                </c:pt>
                <c:pt idx="15">
                  <c:v>1.4619047619047618</c:v>
                </c:pt>
                <c:pt idx="16">
                  <c:v>1.4619047619047618</c:v>
                </c:pt>
                <c:pt idx="17">
                  <c:v>1.4619047619047618</c:v>
                </c:pt>
                <c:pt idx="18">
                  <c:v>1.4619047619047618</c:v>
                </c:pt>
                <c:pt idx="19">
                  <c:v>1.4619047619047618</c:v>
                </c:pt>
                <c:pt idx="20">
                  <c:v>1.4619047619047618</c:v>
                </c:pt>
                <c:pt idx="21">
                  <c:v>1.4619047619047618</c:v>
                </c:pt>
                <c:pt idx="22">
                  <c:v>1.4619047619047618</c:v>
                </c:pt>
                <c:pt idx="23">
                  <c:v>1.4619047619047618</c:v>
                </c:pt>
                <c:pt idx="24">
                  <c:v>1.4380952380952381</c:v>
                </c:pt>
                <c:pt idx="25">
                  <c:v>1.4380952380952381</c:v>
                </c:pt>
                <c:pt idx="26">
                  <c:v>1.4761904761904763</c:v>
                </c:pt>
                <c:pt idx="27">
                  <c:v>1.4761904761904763</c:v>
                </c:pt>
                <c:pt idx="28">
                  <c:v>1.4761904761904763</c:v>
                </c:pt>
                <c:pt idx="29">
                  <c:v>1.4761904761904763</c:v>
                </c:pt>
                <c:pt idx="30">
                  <c:v>1.4761904761904763</c:v>
                </c:pt>
                <c:pt idx="31">
                  <c:v>1.4761904761904763</c:v>
                </c:pt>
                <c:pt idx="32">
                  <c:v>1.4761904761904763</c:v>
                </c:pt>
                <c:pt idx="33">
                  <c:v>1.4761904761904763</c:v>
                </c:pt>
                <c:pt idx="34">
                  <c:v>1.4761904761904763</c:v>
                </c:pt>
                <c:pt idx="35">
                  <c:v>1.4761904761904763</c:v>
                </c:pt>
                <c:pt idx="36">
                  <c:v>1.4761904761904763</c:v>
                </c:pt>
                <c:pt idx="37">
                  <c:v>1.4761904761904763</c:v>
                </c:pt>
                <c:pt idx="38">
                  <c:v>1.6190476190476191</c:v>
                </c:pt>
                <c:pt idx="39">
                  <c:v>1.8333333333333333</c:v>
                </c:pt>
              </c:numCache>
            </c:numRef>
          </c:val>
          <c:smooth val="0"/>
          <c:extLst>
            <c:ext xmlns:c16="http://schemas.microsoft.com/office/drawing/2014/chart" uri="{C3380CC4-5D6E-409C-BE32-E72D297353CC}">
              <c16:uniqueId val="{0000000C-2AAC-45AE-BA0B-0D1366EA89B8}"/>
            </c:ext>
          </c:extLst>
        </c:ser>
        <c:dLbls>
          <c:showLegendKey val="0"/>
          <c:showVal val="0"/>
          <c:showCatName val="0"/>
          <c:showSerName val="0"/>
          <c:showPercent val="0"/>
          <c:showBubbleSize val="0"/>
        </c:dLbls>
        <c:smooth val="0"/>
        <c:axId val="831629328"/>
        <c:axId val="1069910368"/>
      </c:lineChart>
      <c:dateAx>
        <c:axId val="831629328"/>
        <c:scaling>
          <c:orientation val="minMax"/>
          <c:max val="45940"/>
        </c:scaling>
        <c:delete val="0"/>
        <c:axPos val="b"/>
        <c:numFmt formatCode="mmm" sourceLinked="0"/>
        <c:majorTickMark val="out"/>
        <c:minorTickMark val="none"/>
        <c:tickLblPos val="nextTo"/>
        <c:spPr>
          <a:noFill/>
          <a:ln w="12700" cap="flat" cmpd="sng" algn="ctr">
            <a:solidFill>
              <a:schemeClr val="bg1"/>
            </a:solidFill>
            <a:prstDash val="solid"/>
            <a:round/>
          </a:ln>
          <a:effectLst/>
        </c:spPr>
        <c:txPr>
          <a:bodyPr rot="-5400000" spcFirstLastPara="1" vertOverflow="ellipsis" wrap="square" anchor="ctr" anchorCtr="1"/>
          <a:lstStyle/>
          <a:p>
            <a:pPr>
              <a:defRPr sz="1200" b="0" i="0" u="none" strike="noStrike" kern="1200" baseline="0">
                <a:solidFill>
                  <a:schemeClr val="bg1"/>
                </a:solidFill>
                <a:latin typeface="Arial" panose="020B0604020202020204" pitchFamily="34" charset="0"/>
                <a:ea typeface="Helvetica Neue" panose="02000503000000020004" pitchFamily="2" charset="0"/>
                <a:cs typeface="Arial" panose="020B0604020202020204" pitchFamily="34" charset="0"/>
              </a:defRPr>
            </a:pPr>
            <a:endParaRPr lang="en-US"/>
          </a:p>
        </c:txPr>
        <c:crossAx val="1069910368"/>
        <c:crosses val="autoZero"/>
        <c:auto val="1"/>
        <c:lblOffset val="100"/>
        <c:baseTimeUnit val="days"/>
        <c:majorUnit val="1"/>
        <c:majorTimeUnit val="months"/>
      </c:dateAx>
      <c:valAx>
        <c:axId val="1069910368"/>
        <c:scaling>
          <c:orientation val="minMax"/>
          <c:max val="2.4"/>
          <c:min val="0.8"/>
        </c:scaling>
        <c:delete val="0"/>
        <c:axPos val="l"/>
        <c:majorGridlines>
          <c:spPr>
            <a:ln w="6350" cap="flat" cmpd="sng" algn="ctr">
              <a:noFill/>
              <a:prstDash val="solid"/>
              <a:round/>
            </a:ln>
            <a:effectLst/>
          </c:spPr>
        </c:majorGridlines>
        <c:numFmt formatCode="0%" sourceLinked="0"/>
        <c:majorTickMark val="out"/>
        <c:minorTickMark val="none"/>
        <c:tickLblPos val="nextTo"/>
        <c:spPr>
          <a:noFill/>
          <a:ln w="12700" cap="flat" cmpd="sng" algn="ctr">
            <a:noFill/>
            <a:prstDash val="solid"/>
            <a:round/>
          </a:ln>
          <a:effectLst/>
        </c:spPr>
        <c:txPr>
          <a:bodyPr rot="-60000000" spcFirstLastPara="1" vertOverflow="ellipsis" vert="horz" wrap="square" anchor="ctr" anchorCtr="1"/>
          <a:lstStyle/>
          <a:p>
            <a:pPr>
              <a:defRPr sz="1200" b="0" i="0" u="none" strike="noStrike" kern="1200" baseline="0">
                <a:solidFill>
                  <a:schemeClr val="bg1"/>
                </a:solidFill>
                <a:latin typeface="Arial" panose="020B0604020202020204" pitchFamily="34" charset="0"/>
                <a:ea typeface="Helvetica Neue" panose="02000503000000020004" pitchFamily="2" charset="0"/>
                <a:cs typeface="Arial" panose="020B0604020202020204" pitchFamily="34" charset="0"/>
              </a:defRPr>
            </a:pPr>
            <a:endParaRPr lang="en-US"/>
          </a:p>
        </c:txPr>
        <c:crossAx val="831629328"/>
        <c:crosses val="autoZero"/>
        <c:crossBetween val="between"/>
        <c:majorUnit val="0.2"/>
      </c:valAx>
      <c:spPr>
        <a:noFill/>
        <a:ln>
          <a:noFill/>
        </a:ln>
        <a:effectLst/>
      </c:spPr>
    </c:plotArea>
    <c:plotVisOnly val="1"/>
    <c:dispBlanksAs val="gap"/>
    <c:showDLblsOverMax val="0"/>
  </c:chart>
  <c:spPr>
    <a:noFill/>
    <a:ln w="6350" cap="flat" cmpd="sng" algn="ctr">
      <a:noFill/>
      <a:prstDash val="solid"/>
      <a:round/>
    </a:ln>
    <a:effectLst/>
  </c:spPr>
  <c:txPr>
    <a:bodyPr/>
    <a:lstStyle/>
    <a:p>
      <a:pPr>
        <a:defRPr sz="1100">
          <a:solidFill>
            <a:schemeClr val="bg1"/>
          </a:solidFill>
          <a:latin typeface="Arial" panose="020B0604020202020204" pitchFamily="34" charset="0"/>
          <a:ea typeface="Helvetica Neue" panose="02000503000000020004" pitchFamily="2" charset="0"/>
          <a:cs typeface="Arial" panose="020B0604020202020204" pitchFamily="34" charset="0"/>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589101484063056"/>
          <c:y val="0.13280599527461556"/>
          <c:w val="0.824827382463591"/>
          <c:h val="0.77551955517030291"/>
        </c:manualLayout>
      </c:layout>
      <c:barChart>
        <c:barDir val="col"/>
        <c:grouping val="clustered"/>
        <c:varyColors val="0"/>
        <c:ser>
          <c:idx val="0"/>
          <c:order val="0"/>
          <c:tx>
            <c:strRef>
              <c:f>'DRC export ban'!$A$507</c:f>
              <c:strCache>
                <c:ptCount val="1"/>
                <c:pt idx="0">
                  <c:v>DRC</c:v>
                </c:pt>
              </c:strCache>
            </c:strRef>
          </c:tx>
          <c:spPr>
            <a:solidFill>
              <a:srgbClr val="18527F"/>
            </a:solidFill>
            <a:ln>
              <a:noFill/>
            </a:ln>
            <a:effectLst/>
          </c:spPr>
          <c:invertIfNegative val="0"/>
          <c:dPt>
            <c:idx val="8"/>
            <c:invertIfNegative val="0"/>
            <c:bubble3D val="0"/>
            <c:spPr>
              <a:pattFill prst="wdUpDiag">
                <a:fgClr>
                  <a:srgbClr val="FFFFFF"/>
                </a:fgClr>
                <a:bgClr>
                  <a:srgbClr val="18517F"/>
                </a:bgClr>
              </a:pattFill>
              <a:ln>
                <a:noFill/>
              </a:ln>
              <a:effectLst/>
            </c:spPr>
            <c:extLst>
              <c:ext xmlns:c16="http://schemas.microsoft.com/office/drawing/2014/chart" uri="{C3380CC4-5D6E-409C-BE32-E72D297353CC}">
                <c16:uniqueId val="{00000001-C45E-4E8B-BA40-50EAEEA9250B}"/>
              </c:ext>
            </c:extLst>
          </c:dPt>
          <c:dPt>
            <c:idx val="9"/>
            <c:invertIfNegative val="0"/>
            <c:bubble3D val="0"/>
            <c:spPr>
              <a:pattFill prst="wdUpDiag">
                <a:fgClr>
                  <a:srgbClr val="FFFFFF"/>
                </a:fgClr>
                <a:bgClr>
                  <a:srgbClr val="18517F"/>
                </a:bgClr>
              </a:pattFill>
              <a:ln>
                <a:noFill/>
              </a:ln>
              <a:effectLst/>
            </c:spPr>
            <c:extLst>
              <c:ext xmlns:c16="http://schemas.microsoft.com/office/drawing/2014/chart" uri="{C3380CC4-5D6E-409C-BE32-E72D297353CC}">
                <c16:uniqueId val="{00000003-C45E-4E8B-BA40-50EAEEA9250B}"/>
              </c:ext>
            </c:extLst>
          </c:dPt>
          <c:dPt>
            <c:idx val="10"/>
            <c:invertIfNegative val="0"/>
            <c:bubble3D val="0"/>
            <c:spPr>
              <a:pattFill prst="wdUpDiag">
                <a:fgClr>
                  <a:srgbClr val="FFFFFF"/>
                </a:fgClr>
                <a:bgClr>
                  <a:srgbClr val="18517F"/>
                </a:bgClr>
              </a:pattFill>
              <a:ln>
                <a:noFill/>
              </a:ln>
              <a:effectLst/>
            </c:spPr>
            <c:extLst>
              <c:ext xmlns:c16="http://schemas.microsoft.com/office/drawing/2014/chart" uri="{C3380CC4-5D6E-409C-BE32-E72D297353CC}">
                <c16:uniqueId val="{00000005-C45E-4E8B-BA40-50EAEEA9250B}"/>
              </c:ext>
            </c:extLst>
          </c:dPt>
          <c:dPt>
            <c:idx val="11"/>
            <c:invertIfNegative val="0"/>
            <c:bubble3D val="0"/>
            <c:spPr>
              <a:pattFill prst="wdUpDiag">
                <a:fgClr>
                  <a:srgbClr val="FFFFFF"/>
                </a:fgClr>
                <a:bgClr>
                  <a:srgbClr val="18517F"/>
                </a:bgClr>
              </a:pattFill>
              <a:ln>
                <a:noFill/>
              </a:ln>
              <a:effectLst/>
            </c:spPr>
            <c:extLst>
              <c:ext xmlns:c16="http://schemas.microsoft.com/office/drawing/2014/chart" uri="{C3380CC4-5D6E-409C-BE32-E72D297353CC}">
                <c16:uniqueId val="{00000007-C45E-4E8B-BA40-50EAEEA9250B}"/>
              </c:ext>
            </c:extLst>
          </c:dPt>
          <c:dPt>
            <c:idx val="12"/>
            <c:invertIfNegative val="0"/>
            <c:bubble3D val="0"/>
            <c:spPr>
              <a:pattFill prst="wdUpDiag">
                <a:fgClr>
                  <a:srgbClr val="FFFFFF"/>
                </a:fgClr>
                <a:bgClr>
                  <a:srgbClr val="18517F"/>
                </a:bgClr>
              </a:pattFill>
              <a:ln>
                <a:noFill/>
              </a:ln>
              <a:effectLst/>
            </c:spPr>
            <c:extLst>
              <c:ext xmlns:c16="http://schemas.microsoft.com/office/drawing/2014/chart" uri="{C3380CC4-5D6E-409C-BE32-E72D297353CC}">
                <c16:uniqueId val="{00000009-C45E-4E8B-BA40-50EAEEA9250B}"/>
              </c:ext>
            </c:extLst>
          </c:dPt>
          <c:dPt>
            <c:idx val="13"/>
            <c:invertIfNegative val="0"/>
            <c:bubble3D val="0"/>
            <c:spPr>
              <a:pattFill prst="wdUpDiag">
                <a:fgClr>
                  <a:srgbClr val="FFFFFF"/>
                </a:fgClr>
                <a:bgClr>
                  <a:srgbClr val="18517F"/>
                </a:bgClr>
              </a:pattFill>
              <a:ln>
                <a:noFill/>
              </a:ln>
              <a:effectLst/>
            </c:spPr>
            <c:extLst>
              <c:ext xmlns:c16="http://schemas.microsoft.com/office/drawing/2014/chart" uri="{C3380CC4-5D6E-409C-BE32-E72D297353CC}">
                <c16:uniqueId val="{0000000B-C45E-4E8B-BA40-50EAEEA9250B}"/>
              </c:ext>
            </c:extLst>
          </c:dPt>
          <c:dPt>
            <c:idx val="14"/>
            <c:invertIfNegative val="0"/>
            <c:bubble3D val="0"/>
            <c:spPr>
              <a:pattFill prst="wdUpDiag">
                <a:fgClr>
                  <a:srgbClr val="FFFFFF"/>
                </a:fgClr>
                <a:bgClr>
                  <a:srgbClr val="18517F"/>
                </a:bgClr>
              </a:pattFill>
              <a:ln>
                <a:noFill/>
              </a:ln>
              <a:effectLst/>
            </c:spPr>
            <c:extLst>
              <c:ext xmlns:c16="http://schemas.microsoft.com/office/drawing/2014/chart" uri="{C3380CC4-5D6E-409C-BE32-E72D297353CC}">
                <c16:uniqueId val="{0000000D-C45E-4E8B-BA40-50EAEEA9250B}"/>
              </c:ext>
            </c:extLst>
          </c:dPt>
          <c:dPt>
            <c:idx val="15"/>
            <c:invertIfNegative val="0"/>
            <c:bubble3D val="0"/>
            <c:spPr>
              <a:pattFill prst="wdUpDiag">
                <a:fgClr>
                  <a:srgbClr val="FFFFFF"/>
                </a:fgClr>
                <a:bgClr>
                  <a:srgbClr val="18517F"/>
                </a:bgClr>
              </a:pattFill>
              <a:ln>
                <a:noFill/>
              </a:ln>
              <a:effectLst/>
            </c:spPr>
            <c:extLst>
              <c:ext xmlns:c16="http://schemas.microsoft.com/office/drawing/2014/chart" uri="{C3380CC4-5D6E-409C-BE32-E72D297353CC}">
                <c16:uniqueId val="{0000000F-C45E-4E8B-BA40-50EAEEA9250B}"/>
              </c:ext>
            </c:extLst>
          </c:dPt>
          <c:dPt>
            <c:idx val="16"/>
            <c:invertIfNegative val="0"/>
            <c:bubble3D val="0"/>
            <c:spPr>
              <a:pattFill prst="wdUpDiag">
                <a:fgClr>
                  <a:srgbClr val="FFFFFF"/>
                </a:fgClr>
                <a:bgClr>
                  <a:srgbClr val="18517F"/>
                </a:bgClr>
              </a:pattFill>
              <a:ln>
                <a:noFill/>
              </a:ln>
              <a:effectLst/>
            </c:spPr>
            <c:extLst>
              <c:ext xmlns:c16="http://schemas.microsoft.com/office/drawing/2014/chart" uri="{C3380CC4-5D6E-409C-BE32-E72D297353CC}">
                <c16:uniqueId val="{00000011-C45E-4E8B-BA40-50EAEEA9250B}"/>
              </c:ext>
            </c:extLst>
          </c:dPt>
          <c:dLbls>
            <c:dLbl>
              <c:idx val="1"/>
              <c:layout>
                <c:manualLayout>
                  <c:x val="0.15397990841873249"/>
                  <c:y val="-0.14265430850443089"/>
                </c:manualLayout>
              </c:layout>
              <c:tx>
                <c:rich>
                  <a:bodyPr rot="0" spcFirstLastPara="1" vertOverflow="ellipsis" vert="horz" wrap="square" anchor="ctr" anchorCtr="1"/>
                  <a:lstStyle/>
                  <a:p>
                    <a:pPr>
                      <a:defRPr sz="1100" b="1" i="0" u="none" strike="noStrike" kern="1200" baseline="0">
                        <a:solidFill>
                          <a:schemeClr val="bg1"/>
                        </a:solidFill>
                        <a:latin typeface="Arial" panose="020B0604020202020204" pitchFamily="34" charset="0"/>
                        <a:ea typeface="Helvetica Neue" panose="02000503000000020004" pitchFamily="2" charset="0"/>
                        <a:cs typeface="Arial" panose="020B0604020202020204" pitchFamily="34" charset="0"/>
                      </a:defRPr>
                    </a:pPr>
                    <a:r>
                      <a:rPr lang="en-US" b="1"/>
                      <a:t>Ban announced</a:t>
                    </a:r>
                  </a:p>
                </c:rich>
              </c:tx>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Arial" panose="020B0604020202020204" pitchFamily="34" charset="0"/>
                      <a:ea typeface="Helvetica Neue" panose="02000503000000020004" pitchFamily="2" charset="0"/>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19925283062244956"/>
                      <c:h val="8.7027453439632474E-2"/>
                    </c:manualLayout>
                  </c15:layout>
                </c:ext>
                <c:ext xmlns:c16="http://schemas.microsoft.com/office/drawing/2014/chart" uri="{C3380CC4-5D6E-409C-BE32-E72D297353CC}">
                  <c16:uniqueId val="{00000012-C45E-4E8B-BA40-50EAEEA9250B}"/>
                </c:ext>
              </c:extLst>
            </c:dLbl>
            <c:dLbl>
              <c:idx val="5"/>
              <c:layout>
                <c:manualLayout>
                  <c:x val="9.7318510458298077E-2"/>
                  <c:y val="-0.28710892847513958"/>
                </c:manualLayout>
              </c:layout>
              <c:tx>
                <c:rich>
                  <a:bodyPr/>
                  <a:lstStyle/>
                  <a:p>
                    <a:r>
                      <a:rPr lang="en-US" b="1">
                        <a:solidFill>
                          <a:schemeClr val="bg1"/>
                        </a:solidFill>
                      </a:rPr>
                      <a:t>Ban</a:t>
                    </a:r>
                    <a:r>
                      <a:rPr lang="en-US" b="1" baseline="0">
                        <a:solidFill>
                          <a:schemeClr val="bg1"/>
                        </a:solidFill>
                      </a:rPr>
                      <a:t> extended</a:t>
                    </a:r>
                    <a:endParaRPr lang="en-US" b="1">
                      <a:solidFill>
                        <a:schemeClr val="bg1"/>
                      </a:solidFill>
                    </a:endParaRPr>
                  </a:p>
                </c:rich>
              </c:tx>
              <c:showLegendKey val="0"/>
              <c:showVal val="1"/>
              <c:showCatName val="0"/>
              <c:showSerName val="0"/>
              <c:showPercent val="0"/>
              <c:showBubbleSize val="0"/>
              <c:extLst>
                <c:ext xmlns:c15="http://schemas.microsoft.com/office/drawing/2012/chart" uri="{CE6537A1-D6FC-4f65-9D91-7224C49458BB}">
                  <c15:layout>
                    <c:manualLayout>
                      <c:w val="0.20251297967316129"/>
                      <c:h val="8.7865255302198741E-2"/>
                    </c:manualLayout>
                  </c15:layout>
                </c:ext>
                <c:ext xmlns:c16="http://schemas.microsoft.com/office/drawing/2014/chart" uri="{C3380CC4-5D6E-409C-BE32-E72D297353CC}">
                  <c16:uniqueId val="{00000013-C45E-4E8B-BA40-50EAEEA9250B}"/>
                </c:ext>
              </c:extLst>
            </c:dLbl>
            <c:dLbl>
              <c:idx val="8"/>
              <c:layout>
                <c:manualLayout>
                  <c:x val="2.9391440121079665E-2"/>
                  <c:y val="-0.28559082571231026"/>
                </c:manualLayout>
              </c:layout>
              <c:tx>
                <c:rich>
                  <a:bodyPr/>
                  <a:lstStyle/>
                  <a:p>
                    <a:r>
                      <a:rPr lang="en-US" b="1">
                        <a:solidFill>
                          <a:schemeClr val="bg1"/>
                        </a:solidFill>
                      </a:rPr>
                      <a:t>Quotas</a:t>
                    </a:r>
                    <a:r>
                      <a:rPr lang="en-US" b="1" baseline="0">
                        <a:solidFill>
                          <a:schemeClr val="bg1"/>
                        </a:solidFill>
                      </a:rPr>
                      <a:t> announced</a:t>
                    </a:r>
                    <a:endParaRPr lang="en-US" b="1">
                      <a:solidFill>
                        <a:schemeClr val="bg1"/>
                      </a:solidFill>
                    </a:endParaRPr>
                  </a:p>
                </c:rich>
              </c:tx>
              <c:showLegendKey val="0"/>
              <c:showVal val="1"/>
              <c:showCatName val="0"/>
              <c:showSerName val="0"/>
              <c:showPercent val="0"/>
              <c:showBubbleSize val="0"/>
              <c:extLst>
                <c:ext xmlns:c15="http://schemas.microsoft.com/office/drawing/2012/chart" uri="{CE6537A1-D6FC-4f65-9D91-7224C49458BB}">
                  <c15:layout>
                    <c:manualLayout>
                      <c:w val="0.19851504875759141"/>
                      <c:h val="0.11261603144366318"/>
                    </c:manualLayout>
                  </c15:layout>
                </c:ext>
                <c:ext xmlns:c16="http://schemas.microsoft.com/office/drawing/2014/chart" uri="{C3380CC4-5D6E-409C-BE32-E72D297353CC}">
                  <c16:uniqueId val="{00000001-C45E-4E8B-BA40-50EAEEA9250B}"/>
                </c:ext>
              </c:extLst>
            </c:dLbl>
            <c:dLbl>
              <c:idx val="9"/>
              <c:layout>
                <c:manualLayout>
                  <c:x val="0.13641914286261653"/>
                  <c:y val="-0.19236680000614981"/>
                </c:manualLayout>
              </c:layout>
              <c:tx>
                <c:rich>
                  <a:bodyPr/>
                  <a:lstStyle/>
                  <a:p>
                    <a:r>
                      <a:rPr lang="en-US" b="1">
                        <a:solidFill>
                          <a:schemeClr val="bg1"/>
                        </a:solidFill>
                      </a:rPr>
                      <a:t>Shipments resume</a:t>
                    </a:r>
                  </a:p>
                </c:rich>
              </c:tx>
              <c:showLegendKey val="0"/>
              <c:showVal val="1"/>
              <c:showCatName val="0"/>
              <c:showSerName val="0"/>
              <c:showPercent val="0"/>
              <c:showBubbleSize val="0"/>
              <c:extLst>
                <c:ext xmlns:c15="http://schemas.microsoft.com/office/drawing/2012/chart" uri="{CE6537A1-D6FC-4f65-9D91-7224C49458BB}">
                  <c15:layout>
                    <c:manualLayout>
                      <c:w val="0.16232293043661514"/>
                      <c:h val="0.11261603144366318"/>
                    </c:manualLayout>
                  </c15:layout>
                </c:ext>
                <c:ext xmlns:c16="http://schemas.microsoft.com/office/drawing/2014/chart" uri="{C3380CC4-5D6E-409C-BE32-E72D297353CC}">
                  <c16:uniqueId val="{00000003-C45E-4E8B-BA40-50EAEEA9250B}"/>
                </c:ext>
              </c:extLst>
            </c:dLbl>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Arial" panose="020B0604020202020204" pitchFamily="34" charset="0"/>
                    <a:ea typeface="Helvetica Neue" panose="02000503000000020004" pitchFamily="2" charset="0"/>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rgbClr val="FFFFFF"/>
                      </a:solidFill>
                      <a:prstDash val="solid"/>
                      <a:round/>
                    </a:ln>
                    <a:effectLst/>
                  </c:spPr>
                </c15:leaderLines>
              </c:ext>
            </c:extLst>
          </c:dLbls>
          <c:cat>
            <c:numRef>
              <c:f>'DRC export ban'!$N$506:$AD$506</c:f>
              <c:numCache>
                <c:formatCode>mmm\-yy</c:formatCode>
                <c:ptCount val="17"/>
                <c:pt idx="0">
                  <c:v>45658</c:v>
                </c:pt>
                <c:pt idx="1">
                  <c:v>45689</c:v>
                </c:pt>
                <c:pt idx="2">
                  <c:v>45717</c:v>
                </c:pt>
                <c:pt idx="3">
                  <c:v>45748</c:v>
                </c:pt>
                <c:pt idx="4">
                  <c:v>45778</c:v>
                </c:pt>
                <c:pt idx="5">
                  <c:v>45809</c:v>
                </c:pt>
                <c:pt idx="6">
                  <c:v>45839</c:v>
                </c:pt>
                <c:pt idx="7">
                  <c:v>45870</c:v>
                </c:pt>
                <c:pt idx="8">
                  <c:v>45901</c:v>
                </c:pt>
                <c:pt idx="9">
                  <c:v>45931</c:v>
                </c:pt>
                <c:pt idx="10">
                  <c:v>45962</c:v>
                </c:pt>
                <c:pt idx="11">
                  <c:v>45992</c:v>
                </c:pt>
                <c:pt idx="12">
                  <c:v>46023</c:v>
                </c:pt>
                <c:pt idx="13">
                  <c:v>46054</c:v>
                </c:pt>
                <c:pt idx="14">
                  <c:v>46082</c:v>
                </c:pt>
                <c:pt idx="15">
                  <c:v>46113</c:v>
                </c:pt>
                <c:pt idx="16">
                  <c:v>46143</c:v>
                </c:pt>
              </c:numCache>
              <c:extLst/>
            </c:numRef>
          </c:cat>
          <c:val>
            <c:numRef>
              <c:f>'DRC export ban'!$N$507:$AD$507</c:f>
              <c:numCache>
                <c:formatCode>#,##0</c:formatCode>
                <c:ptCount val="17"/>
                <c:pt idx="0">
                  <c:v>15866.184599999999</c:v>
                </c:pt>
                <c:pt idx="1">
                  <c:v>12855.204299999999</c:v>
                </c:pt>
                <c:pt idx="2">
                  <c:v>15253.171199999999</c:v>
                </c:pt>
                <c:pt idx="3">
                  <c:v>16035.3822</c:v>
                </c:pt>
                <c:pt idx="4">
                  <c:v>14842.3788</c:v>
                </c:pt>
                <c:pt idx="5">
                  <c:v>5971.7984999999999</c:v>
                </c:pt>
                <c:pt idx="6">
                  <c:v>4414.8647999999994</c:v>
                </c:pt>
                <c:pt idx="7">
                  <c:v>2000</c:v>
                </c:pt>
                <c:pt idx="8" formatCode="General">
                  <c:v>1000</c:v>
                </c:pt>
                <c:pt idx="9" formatCode="General">
                  <c:v>500</c:v>
                </c:pt>
                <c:pt idx="10" formatCode="General">
                  <c:v>500</c:v>
                </c:pt>
                <c:pt idx="11" formatCode="General">
                  <c:v>500</c:v>
                </c:pt>
                <c:pt idx="12" formatCode="0">
                  <c:v>1812.5</c:v>
                </c:pt>
                <c:pt idx="13" formatCode="0">
                  <c:v>4531.25</c:v>
                </c:pt>
                <c:pt idx="14" formatCode="0">
                  <c:v>7250</c:v>
                </c:pt>
                <c:pt idx="15" formatCode="0">
                  <c:v>7250</c:v>
                </c:pt>
                <c:pt idx="16" formatCode="General">
                  <c:v>8000</c:v>
                </c:pt>
              </c:numCache>
              <c:extLst/>
            </c:numRef>
          </c:val>
          <c:extLst>
            <c:ext xmlns:c16="http://schemas.microsoft.com/office/drawing/2014/chart" uri="{C3380CC4-5D6E-409C-BE32-E72D297353CC}">
              <c16:uniqueId val="{00000014-C45E-4E8B-BA40-50EAEEA9250B}"/>
            </c:ext>
          </c:extLst>
        </c:ser>
        <c:dLbls>
          <c:showLegendKey val="0"/>
          <c:showVal val="0"/>
          <c:showCatName val="0"/>
          <c:showSerName val="0"/>
          <c:showPercent val="0"/>
          <c:showBubbleSize val="0"/>
        </c:dLbls>
        <c:gapWidth val="50"/>
        <c:axId val="283751552"/>
        <c:axId val="283753088"/>
      </c:barChart>
      <c:dateAx>
        <c:axId val="283751552"/>
        <c:scaling>
          <c:orientation val="minMax"/>
        </c:scaling>
        <c:delete val="0"/>
        <c:axPos val="b"/>
        <c:numFmt formatCode="mmm\-yy" sourceLinked="0"/>
        <c:majorTickMark val="none"/>
        <c:minorTickMark val="none"/>
        <c:tickLblPos val="nextTo"/>
        <c:spPr>
          <a:noFill/>
          <a:ln w="9525" cap="flat" cmpd="sng" algn="ctr">
            <a:noFill/>
            <a:prstDash val="solid"/>
            <a:round/>
          </a:ln>
          <a:effectLst/>
        </c:spPr>
        <c:txPr>
          <a:bodyPr rot="-60000000" spcFirstLastPara="1" vertOverflow="ellipsis" vert="horz" wrap="square" anchor="ctr" anchorCtr="1"/>
          <a:lstStyle/>
          <a:p>
            <a:pPr>
              <a:defRPr sz="1200" b="0" i="0" u="none" strike="noStrike" kern="1200" baseline="0">
                <a:solidFill>
                  <a:schemeClr val="bg1"/>
                </a:solidFill>
                <a:latin typeface="Arial" panose="020B0604020202020204" pitchFamily="34" charset="0"/>
                <a:ea typeface="Helvetica Neue" panose="02000503000000020004" pitchFamily="2" charset="0"/>
                <a:cs typeface="Arial" panose="020B0604020202020204" pitchFamily="34" charset="0"/>
              </a:defRPr>
            </a:pPr>
            <a:endParaRPr lang="en-US"/>
          </a:p>
        </c:txPr>
        <c:crossAx val="283753088"/>
        <c:crosses val="autoZero"/>
        <c:auto val="1"/>
        <c:lblOffset val="100"/>
        <c:baseTimeUnit val="months"/>
        <c:majorUnit val="3"/>
        <c:majorTimeUnit val="months"/>
      </c:dateAx>
      <c:valAx>
        <c:axId val="283753088"/>
        <c:scaling>
          <c:orientation val="minMax"/>
          <c:max val="16000"/>
        </c:scaling>
        <c:delete val="0"/>
        <c:axPos val="l"/>
        <c:majorGridlines>
          <c:spPr>
            <a:ln w="6350" cap="flat" cmpd="sng" algn="ctr">
              <a:noFill/>
              <a:prstDash val="solid"/>
              <a:round/>
            </a:ln>
            <a:effectLst/>
          </c:spPr>
        </c:majorGridlines>
        <c:numFmt formatCode="#,##0" sourceLinked="0"/>
        <c:majorTickMark val="none"/>
        <c:minorTickMark val="none"/>
        <c:tickLblPos val="nextTo"/>
        <c:spPr>
          <a:noFill/>
          <a:ln w="9525" cap="flat" cmpd="sng" algn="ctr">
            <a:noFill/>
            <a:prstDash val="solid"/>
            <a:round/>
          </a:ln>
          <a:effectLst/>
        </c:spPr>
        <c:txPr>
          <a:bodyPr rot="-60000000" spcFirstLastPara="1" vertOverflow="ellipsis" vert="horz" wrap="square" anchor="ctr" anchorCtr="1"/>
          <a:lstStyle/>
          <a:p>
            <a:pPr>
              <a:defRPr sz="1200" b="0" i="0" u="none" strike="noStrike" kern="1200" baseline="0">
                <a:solidFill>
                  <a:schemeClr val="bg1"/>
                </a:solidFill>
                <a:latin typeface="Arial" panose="020B0604020202020204" pitchFamily="34" charset="0"/>
                <a:ea typeface="Helvetica Neue" panose="02000503000000020004" pitchFamily="2" charset="0"/>
                <a:cs typeface="Arial" panose="020B0604020202020204" pitchFamily="34" charset="0"/>
              </a:defRPr>
            </a:pPr>
            <a:endParaRPr lang="en-US"/>
          </a:p>
        </c:txPr>
        <c:crossAx val="283751552"/>
        <c:crosses val="autoZero"/>
        <c:crossBetween val="between"/>
        <c:majorUnit val="4000"/>
        <c:dispUnits>
          <c:builtInUnit val="thousands"/>
        </c:dispUnits>
      </c:valAx>
      <c:spPr>
        <a:noFill/>
        <a:ln>
          <a:noFill/>
        </a:ln>
        <a:effectLst/>
      </c:spPr>
    </c:plotArea>
    <c:plotVisOnly val="1"/>
    <c:dispBlanksAs val="gap"/>
    <c:showDLblsOverMax val="0"/>
  </c:chart>
  <c:spPr>
    <a:noFill/>
    <a:ln w="6350" cap="flat" cmpd="sng" algn="ctr">
      <a:noFill/>
      <a:prstDash val="solid"/>
      <a:round/>
    </a:ln>
    <a:effectLst/>
  </c:spPr>
  <c:txPr>
    <a:bodyPr/>
    <a:lstStyle/>
    <a:p>
      <a:pPr>
        <a:defRPr sz="1100">
          <a:solidFill>
            <a:schemeClr val="bg1"/>
          </a:solidFill>
          <a:latin typeface="Arial" panose="020B0604020202020204" pitchFamily="34" charset="0"/>
          <a:ea typeface="Helvetica Neue" panose="02000503000000020004" pitchFamily="2" charset="0"/>
          <a:cs typeface="Arial" panose="020B0604020202020204" pitchFamily="34" charset="0"/>
        </a:defRPr>
      </a:pPr>
      <a:endParaRPr lang="en-US"/>
    </a:p>
  </c:txPr>
  <c:externalData r:id="rId4">
    <c:autoUpdate val="0"/>
  </c:externalData>
  <c:userShapes r:id="rId5"/>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33202642830969E-2"/>
          <c:y val="0.10367680455037462"/>
          <c:w val="0.91974131017831229"/>
          <c:h val="0.80470276121145223"/>
        </c:manualLayout>
      </c:layout>
      <c:areaChart>
        <c:grouping val="standard"/>
        <c:varyColors val="0"/>
        <c:ser>
          <c:idx val="0"/>
          <c:order val="0"/>
          <c:tx>
            <c:strRef>
              <c:f>'Intermediates inventory track '!$D$31</c:f>
              <c:strCache>
                <c:ptCount val="1"/>
                <c:pt idx="0">
                  <c:v>Stocks</c:v>
                </c:pt>
              </c:strCache>
            </c:strRef>
          </c:tx>
          <c:spPr>
            <a:solidFill>
              <a:srgbClr val="18527F"/>
            </a:solidFill>
            <a:ln>
              <a:noFill/>
            </a:ln>
            <a:effectLst/>
          </c:spPr>
          <c:cat>
            <c:numRef>
              <c:f>'Intermediates inventory track '!$G$29:$W$29</c:f>
              <c:numCache>
                <c:formatCode>mmm\-yy</c:formatCode>
                <c:ptCount val="17"/>
                <c:pt idx="0">
                  <c:v>45658</c:v>
                </c:pt>
                <c:pt idx="1">
                  <c:v>45689</c:v>
                </c:pt>
                <c:pt idx="2">
                  <c:v>45717</c:v>
                </c:pt>
                <c:pt idx="3">
                  <c:v>45748</c:v>
                </c:pt>
                <c:pt idx="4">
                  <c:v>45778</c:v>
                </c:pt>
                <c:pt idx="5">
                  <c:v>45809</c:v>
                </c:pt>
                <c:pt idx="6">
                  <c:v>45839</c:v>
                </c:pt>
                <c:pt idx="7">
                  <c:v>45870</c:v>
                </c:pt>
                <c:pt idx="8">
                  <c:v>45901</c:v>
                </c:pt>
                <c:pt idx="9">
                  <c:v>45931</c:v>
                </c:pt>
                <c:pt idx="10">
                  <c:v>45962</c:v>
                </c:pt>
                <c:pt idx="11">
                  <c:v>45992</c:v>
                </c:pt>
                <c:pt idx="12">
                  <c:v>46023</c:v>
                </c:pt>
                <c:pt idx="13">
                  <c:v>46054</c:v>
                </c:pt>
                <c:pt idx="14">
                  <c:v>46082</c:v>
                </c:pt>
                <c:pt idx="15">
                  <c:v>46113</c:v>
                </c:pt>
                <c:pt idx="16">
                  <c:v>46143</c:v>
                </c:pt>
              </c:numCache>
            </c:numRef>
          </c:cat>
          <c:val>
            <c:numRef>
              <c:f>'Intermediates inventory track '!$G$32:$W$32</c:f>
              <c:numCache>
                <c:formatCode>_-* #,##0.0_-;\-* #,##0.0_-;_-* "-"??_-;_-@_-</c:formatCode>
                <c:ptCount val="17"/>
                <c:pt idx="0">
                  <c:v>4.7045750871682515</c:v>
                </c:pt>
                <c:pt idx="1">
                  <c:v>4.8604127901801188</c:v>
                </c:pt>
                <c:pt idx="2">
                  <c:v>5.1620098505246599</c:v>
                </c:pt>
                <c:pt idx="3">
                  <c:v>5.525056152458756</c:v>
                </c:pt>
                <c:pt idx="4">
                  <c:v>5.9416842386647755</c:v>
                </c:pt>
                <c:pt idx="5">
                  <c:v>5.5695156077470127</c:v>
                </c:pt>
                <c:pt idx="6">
                  <c:v>5.2293913318659362</c:v>
                </c:pt>
                <c:pt idx="7">
                  <c:v>4.6959191323781813</c:v>
                </c:pt>
                <c:pt idx="8">
                  <c:v>4.0400749765340258</c:v>
                </c:pt>
                <c:pt idx="9">
                  <c:v>3.430613009929202</c:v>
                </c:pt>
                <c:pt idx="10">
                  <c:v>2.8675332325637104</c:v>
                </c:pt>
                <c:pt idx="11">
                  <c:v>2.3508356444375509</c:v>
                </c:pt>
                <c:pt idx="12">
                  <c:v>1.9525740488902408</c:v>
                </c:pt>
                <c:pt idx="13">
                  <c:v>1.8453719153095358</c:v>
                </c:pt>
                <c:pt idx="14">
                  <c:v>1.8843097631759553</c:v>
                </c:pt>
                <c:pt idx="15">
                  <c:v>1.8925205562822183</c:v>
                </c:pt>
                <c:pt idx="16">
                  <c:v>1.9029394694155717</c:v>
                </c:pt>
              </c:numCache>
            </c:numRef>
          </c:val>
          <c:extLst>
            <c:ext xmlns:c16="http://schemas.microsoft.com/office/drawing/2014/chart" uri="{C3380CC4-5D6E-409C-BE32-E72D297353CC}">
              <c16:uniqueId val="{00000000-99D5-4602-83D5-A53CE5CC946D}"/>
            </c:ext>
          </c:extLst>
        </c:ser>
        <c:dLbls>
          <c:showLegendKey val="0"/>
          <c:showVal val="0"/>
          <c:showCatName val="0"/>
          <c:showSerName val="0"/>
          <c:showPercent val="0"/>
          <c:showBubbleSize val="0"/>
        </c:dLbls>
        <c:axId val="283751552"/>
        <c:axId val="283753088"/>
      </c:areaChart>
      <c:lineChart>
        <c:grouping val="standard"/>
        <c:varyColors val="0"/>
        <c:ser>
          <c:idx val="1"/>
          <c:order val="1"/>
          <c:tx>
            <c:strRef>
              <c:f>'Intermediates inventory track '!$D$33</c:f>
              <c:strCache>
                <c:ptCount val="1"/>
                <c:pt idx="0">
                  <c:v>CoS price</c:v>
                </c:pt>
              </c:strCache>
            </c:strRef>
          </c:tx>
          <c:spPr>
            <a:ln w="28575" cap="rnd" cmpd="sng" algn="ctr">
              <a:solidFill>
                <a:srgbClr val="BF59A6"/>
              </a:solidFill>
              <a:prstDash val="dash"/>
              <a:round/>
            </a:ln>
            <a:effectLst/>
          </c:spPr>
          <c:marker>
            <c:symbol val="none"/>
          </c:marker>
          <c:cat>
            <c:numRef>
              <c:f>'Intermediates inventory track '!$G$29:$W$29</c:f>
              <c:numCache>
                <c:formatCode>mmm\-yy</c:formatCode>
                <c:ptCount val="17"/>
                <c:pt idx="0">
                  <c:v>45658</c:v>
                </c:pt>
                <c:pt idx="1">
                  <c:v>45689</c:v>
                </c:pt>
                <c:pt idx="2">
                  <c:v>45717</c:v>
                </c:pt>
                <c:pt idx="3">
                  <c:v>45748</c:v>
                </c:pt>
                <c:pt idx="4">
                  <c:v>45778</c:v>
                </c:pt>
                <c:pt idx="5">
                  <c:v>45809</c:v>
                </c:pt>
                <c:pt idx="6">
                  <c:v>45839</c:v>
                </c:pt>
                <c:pt idx="7">
                  <c:v>45870</c:v>
                </c:pt>
                <c:pt idx="8">
                  <c:v>45901</c:v>
                </c:pt>
                <c:pt idx="9">
                  <c:v>45931</c:v>
                </c:pt>
                <c:pt idx="10">
                  <c:v>45962</c:v>
                </c:pt>
                <c:pt idx="11">
                  <c:v>45992</c:v>
                </c:pt>
                <c:pt idx="12">
                  <c:v>46023</c:v>
                </c:pt>
                <c:pt idx="13">
                  <c:v>46054</c:v>
                </c:pt>
                <c:pt idx="14">
                  <c:v>46082</c:v>
                </c:pt>
                <c:pt idx="15">
                  <c:v>46113</c:v>
                </c:pt>
                <c:pt idx="16">
                  <c:v>46143</c:v>
                </c:pt>
              </c:numCache>
            </c:numRef>
          </c:cat>
          <c:val>
            <c:numRef>
              <c:f>'Intermediates inventory track '!$G$33:$W$33</c:f>
              <c:numCache>
                <c:formatCode>General</c:formatCode>
                <c:ptCount val="17"/>
                <c:pt idx="0">
                  <c:v>26500</c:v>
                </c:pt>
                <c:pt idx="1">
                  <c:v>27500</c:v>
                </c:pt>
                <c:pt idx="2">
                  <c:v>47500</c:v>
                </c:pt>
                <c:pt idx="3">
                  <c:v>47500</c:v>
                </c:pt>
                <c:pt idx="4">
                  <c:v>46000</c:v>
                </c:pt>
                <c:pt idx="5">
                  <c:v>47500</c:v>
                </c:pt>
                <c:pt idx="6">
                  <c:v>48500</c:v>
                </c:pt>
                <c:pt idx="7">
                  <c:v>51500</c:v>
                </c:pt>
                <c:pt idx="8">
                  <c:v>57000</c:v>
                </c:pt>
              </c:numCache>
            </c:numRef>
          </c:val>
          <c:smooth val="0"/>
          <c:extLst>
            <c:ext xmlns:c16="http://schemas.microsoft.com/office/drawing/2014/chart" uri="{C3380CC4-5D6E-409C-BE32-E72D297353CC}">
              <c16:uniqueId val="{00000001-99D5-4602-83D5-A53CE5CC946D}"/>
            </c:ext>
          </c:extLst>
        </c:ser>
        <c:dLbls>
          <c:showLegendKey val="0"/>
          <c:showVal val="0"/>
          <c:showCatName val="0"/>
          <c:showSerName val="0"/>
          <c:showPercent val="0"/>
          <c:showBubbleSize val="0"/>
        </c:dLbls>
        <c:marker val="1"/>
        <c:smooth val="0"/>
        <c:axId val="1993482864"/>
        <c:axId val="1819671744"/>
      </c:lineChart>
      <c:dateAx>
        <c:axId val="283751552"/>
        <c:scaling>
          <c:orientation val="minMax"/>
        </c:scaling>
        <c:delete val="0"/>
        <c:axPos val="b"/>
        <c:numFmt formatCode="mmm\-yy" sourceLinked="0"/>
        <c:majorTickMark val="none"/>
        <c:minorTickMark val="none"/>
        <c:tickLblPos val="nextTo"/>
        <c:spPr>
          <a:noFill/>
          <a:ln w="9525" cap="flat" cmpd="sng" algn="ctr">
            <a:noFill/>
            <a:prstDash val="solid"/>
            <a:round/>
          </a:ln>
          <a:effectLst/>
        </c:spPr>
        <c:txPr>
          <a:bodyPr rot="-60000000" spcFirstLastPara="1" vertOverflow="ellipsis" vert="horz" wrap="square" anchor="ctr" anchorCtr="1"/>
          <a:lstStyle/>
          <a:p>
            <a:pPr>
              <a:defRPr sz="1200" b="0" i="0" u="none" strike="noStrike" kern="1200" baseline="0">
                <a:solidFill>
                  <a:schemeClr val="bg1"/>
                </a:solidFill>
                <a:latin typeface="Arial" panose="020B0604020202020204" pitchFamily="34" charset="0"/>
                <a:ea typeface="Helvetica Neue" panose="02000503000000020004" pitchFamily="2" charset="0"/>
                <a:cs typeface="Arial" panose="020B0604020202020204" pitchFamily="34" charset="0"/>
              </a:defRPr>
            </a:pPr>
            <a:endParaRPr lang="en-US"/>
          </a:p>
        </c:txPr>
        <c:crossAx val="283753088"/>
        <c:crosses val="autoZero"/>
        <c:auto val="1"/>
        <c:lblOffset val="100"/>
        <c:baseTimeUnit val="months"/>
        <c:majorUnit val="3"/>
        <c:majorTimeUnit val="months"/>
      </c:dateAx>
      <c:valAx>
        <c:axId val="283753088"/>
        <c:scaling>
          <c:orientation val="minMax"/>
          <c:max val="6.5"/>
          <c:min val="0"/>
        </c:scaling>
        <c:delete val="0"/>
        <c:axPos val="l"/>
        <c:majorGridlines>
          <c:spPr>
            <a:ln w="6350" cap="flat" cmpd="sng" algn="ctr">
              <a:noFill/>
              <a:prstDash val="solid"/>
              <a:round/>
            </a:ln>
            <a:effectLst/>
          </c:spPr>
        </c:majorGridlines>
        <c:numFmt formatCode="#,##0" sourceLinked="0"/>
        <c:majorTickMark val="none"/>
        <c:minorTickMark val="none"/>
        <c:tickLblPos val="nextTo"/>
        <c:spPr>
          <a:noFill/>
          <a:ln w="9525" cap="flat" cmpd="sng" algn="ctr">
            <a:noFill/>
            <a:prstDash val="solid"/>
            <a:round/>
          </a:ln>
          <a:effectLst/>
        </c:spPr>
        <c:txPr>
          <a:bodyPr rot="-60000000" spcFirstLastPara="1" vertOverflow="ellipsis" vert="horz" wrap="square" anchor="ctr" anchorCtr="1"/>
          <a:lstStyle/>
          <a:p>
            <a:pPr>
              <a:defRPr sz="1200" b="0" i="0" u="none" strike="noStrike" kern="1200" baseline="0">
                <a:solidFill>
                  <a:schemeClr val="bg1"/>
                </a:solidFill>
                <a:latin typeface="Arial" panose="020B0604020202020204" pitchFamily="34" charset="0"/>
                <a:ea typeface="Helvetica Neue" panose="02000503000000020004" pitchFamily="2" charset="0"/>
                <a:cs typeface="Arial" panose="020B0604020202020204" pitchFamily="34" charset="0"/>
              </a:defRPr>
            </a:pPr>
            <a:endParaRPr lang="en-US"/>
          </a:p>
        </c:txPr>
        <c:crossAx val="283751552"/>
        <c:crosses val="autoZero"/>
        <c:crossBetween val="between"/>
      </c:valAx>
      <c:valAx>
        <c:axId val="1819671744"/>
        <c:scaling>
          <c:orientation val="minMax"/>
        </c:scaling>
        <c:delete val="0"/>
        <c:axPos val="r"/>
        <c:numFmt formatCode="General" sourceLinked="1"/>
        <c:majorTickMark val="out"/>
        <c:minorTickMark val="none"/>
        <c:tickLblPos val="nextTo"/>
        <c:spPr>
          <a:noFill/>
          <a:ln w="9525" cap="flat" cmpd="sng" algn="ctr">
            <a:noFill/>
            <a:prstDash val="solid"/>
            <a:round/>
          </a:ln>
          <a:effectLst/>
        </c:spPr>
        <c:txPr>
          <a:bodyPr rot="-60000000" spcFirstLastPara="1" vertOverflow="ellipsis" vert="horz" wrap="square" anchor="ctr" anchorCtr="1"/>
          <a:lstStyle/>
          <a:p>
            <a:pPr>
              <a:defRPr sz="1100" b="0" i="0" u="none" strike="noStrike" kern="1200" baseline="0">
                <a:solidFill>
                  <a:schemeClr val="bg1"/>
                </a:solidFill>
                <a:latin typeface="Arial" panose="020B0604020202020204" pitchFamily="34" charset="0"/>
                <a:ea typeface="Helvetica Neue" panose="02000503000000020004" pitchFamily="2" charset="0"/>
                <a:cs typeface="Arial" panose="020B0604020202020204" pitchFamily="34" charset="0"/>
              </a:defRPr>
            </a:pPr>
            <a:endParaRPr lang="en-US"/>
          </a:p>
        </c:txPr>
        <c:crossAx val="1993482864"/>
        <c:crosses val="max"/>
        <c:crossBetween val="between"/>
        <c:dispUnits>
          <c:builtInUnit val="thousands"/>
        </c:dispUnits>
      </c:valAx>
      <c:dateAx>
        <c:axId val="1993482864"/>
        <c:scaling>
          <c:orientation val="minMax"/>
        </c:scaling>
        <c:delete val="1"/>
        <c:axPos val="b"/>
        <c:numFmt formatCode="mmm\-yy" sourceLinked="1"/>
        <c:majorTickMark val="out"/>
        <c:minorTickMark val="none"/>
        <c:tickLblPos val="nextTo"/>
        <c:crossAx val="1819671744"/>
        <c:crosses val="autoZero"/>
        <c:auto val="1"/>
        <c:lblOffset val="100"/>
        <c:baseTimeUnit val="months"/>
        <c:majorUnit val="1"/>
        <c:minorUnit val="1"/>
      </c:dateAx>
      <c:spPr>
        <a:noFill/>
        <a:ln>
          <a:noFill/>
        </a:ln>
        <a:effectLst/>
      </c:spPr>
    </c:plotArea>
    <c:legend>
      <c:legendPos val="r"/>
      <c:layout>
        <c:manualLayout>
          <c:xMode val="edge"/>
          <c:yMode val="edge"/>
          <c:x val="0.60538257124368366"/>
          <c:y val="0.11377873014535729"/>
          <c:w val="0.2388475099037049"/>
          <c:h val="0.1650547217128073"/>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Arial" panose="020B0604020202020204" pitchFamily="34" charset="0"/>
              <a:ea typeface="Helvetica Neue" panose="02000503000000020004" pitchFamily="2" charset="0"/>
              <a:cs typeface="Arial" panose="020B0604020202020204" pitchFamily="34" charset="0"/>
            </a:defRPr>
          </a:pPr>
          <a:endParaRPr lang="en-US"/>
        </a:p>
      </c:txPr>
    </c:legend>
    <c:plotVisOnly val="1"/>
    <c:dispBlanksAs val="gap"/>
    <c:showDLblsOverMax val="0"/>
  </c:chart>
  <c:spPr>
    <a:noFill/>
    <a:ln w="6350" cap="flat" cmpd="sng" algn="ctr">
      <a:noFill/>
      <a:prstDash val="solid"/>
      <a:round/>
    </a:ln>
    <a:effectLst/>
  </c:spPr>
  <c:txPr>
    <a:bodyPr/>
    <a:lstStyle/>
    <a:p>
      <a:pPr>
        <a:defRPr sz="1100">
          <a:solidFill>
            <a:schemeClr val="bg1"/>
          </a:solidFill>
          <a:latin typeface="Arial" panose="020B0604020202020204" pitchFamily="34" charset="0"/>
          <a:ea typeface="Helvetica Neue" panose="02000503000000020004" pitchFamily="2" charset="0"/>
          <a:cs typeface="Arial" panose="020B0604020202020204" pitchFamily="34" charset="0"/>
        </a:defRPr>
      </a:pPr>
      <a:endParaRPr lang="en-US"/>
    </a:p>
  </c:txPr>
  <c:externalData r:id="rId4">
    <c:autoUpdate val="0"/>
  </c:externalData>
  <c:userShapes r:id="rId5"/>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976044635010253"/>
          <c:y val="0.15781530289852769"/>
          <c:w val="0.8459808812780929"/>
          <c:h val="0.73950973370023931"/>
        </c:manualLayout>
      </c:layout>
      <c:barChart>
        <c:barDir val="col"/>
        <c:grouping val="stacked"/>
        <c:varyColors val="0"/>
        <c:ser>
          <c:idx val="6"/>
          <c:order val="0"/>
          <c:tx>
            <c:strRef>
              <c:f>'Intermediates inventory track '!$D$82</c:f>
              <c:strCache>
                <c:ptCount val="1"/>
                <c:pt idx="0">
                  <c:v>DRC</c:v>
                </c:pt>
              </c:strCache>
            </c:strRef>
          </c:tx>
          <c:spPr>
            <a:solidFill>
              <a:srgbClr val="18517F"/>
            </a:solidFill>
            <a:ln>
              <a:noFill/>
            </a:ln>
            <a:effectLst/>
          </c:spPr>
          <c:invertIfNegative val="0"/>
          <c:dPt>
            <c:idx val="0"/>
            <c:invertIfNegative val="0"/>
            <c:bubble3D val="0"/>
            <c:spPr>
              <a:solidFill>
                <a:srgbClr val="18517F"/>
              </a:solidFill>
              <a:ln w="34925">
                <a:noFill/>
              </a:ln>
              <a:effectLst/>
            </c:spPr>
            <c:extLst>
              <c:ext xmlns:c16="http://schemas.microsoft.com/office/drawing/2014/chart" uri="{C3380CC4-5D6E-409C-BE32-E72D297353CC}">
                <c16:uniqueId val="{00000001-80FB-4F9B-9AC8-C9BB384D4225}"/>
              </c:ext>
            </c:extLst>
          </c:dPt>
          <c:dPt>
            <c:idx val="1"/>
            <c:invertIfNegative val="0"/>
            <c:bubble3D val="0"/>
            <c:spPr>
              <a:solidFill>
                <a:srgbClr val="18517F"/>
              </a:solidFill>
              <a:ln w="34925">
                <a:noFill/>
              </a:ln>
              <a:effectLst/>
            </c:spPr>
            <c:extLst>
              <c:ext xmlns:c16="http://schemas.microsoft.com/office/drawing/2014/chart" uri="{C3380CC4-5D6E-409C-BE32-E72D297353CC}">
                <c16:uniqueId val="{00000003-80FB-4F9B-9AC8-C9BB384D4225}"/>
              </c:ext>
            </c:extLst>
          </c:dPt>
          <c:dPt>
            <c:idx val="2"/>
            <c:invertIfNegative val="0"/>
            <c:bubble3D val="0"/>
            <c:spPr>
              <a:solidFill>
                <a:srgbClr val="18517F"/>
              </a:solidFill>
              <a:ln w="34925">
                <a:noFill/>
              </a:ln>
              <a:effectLst/>
            </c:spPr>
            <c:extLst>
              <c:ext xmlns:c16="http://schemas.microsoft.com/office/drawing/2014/chart" uri="{C3380CC4-5D6E-409C-BE32-E72D297353CC}">
                <c16:uniqueId val="{00000005-80FB-4F9B-9AC8-C9BB384D4225}"/>
              </c:ext>
            </c:extLst>
          </c:dPt>
          <c:dLbls>
            <c:dLbl>
              <c:idx val="2"/>
              <c:tx>
                <c:rich>
                  <a:bodyPr/>
                  <a:lstStyle/>
                  <a:p>
                    <a:fld id="{496AE9B4-0DA7-4474-8CA2-A2DF9D70C40E}" type="SERIESNAME">
                      <a:rPr lang="en-US" sz="1600" b="1" smtClean="0"/>
                      <a:pPr/>
                      <a:t>[SERIES NAM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80FB-4F9B-9AC8-C9BB384D4225}"/>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Arial" panose="020B0604020202020204" pitchFamily="34" charset="0"/>
                    <a:ea typeface="Helvetica Neue" panose="02000503000000020004" pitchFamily="2" charset="0"/>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numRef>
              <c:f>'Intermediates inventory track '!$K$58:$M$58</c:f>
              <c:numCache>
                <c:formatCode>0</c:formatCode>
                <c:ptCount val="3"/>
                <c:pt idx="0">
                  <c:v>2024</c:v>
                </c:pt>
                <c:pt idx="1">
                  <c:v>2025</c:v>
                </c:pt>
                <c:pt idx="2">
                  <c:v>2026</c:v>
                </c:pt>
              </c:numCache>
              <c:extLst/>
            </c:numRef>
          </c:cat>
          <c:val>
            <c:numRef>
              <c:f>'Intermediates inventory track '!$K$82:$M$82</c:f>
              <c:numCache>
                <c:formatCode>#,##0</c:formatCode>
                <c:ptCount val="3"/>
                <c:pt idx="0">
                  <c:v>31822</c:v>
                </c:pt>
                <c:pt idx="1">
                  <c:v>151872</c:v>
                </c:pt>
                <c:pt idx="2">
                  <c:v>168042</c:v>
                </c:pt>
              </c:numCache>
              <c:extLst/>
            </c:numRef>
          </c:val>
          <c:extLst>
            <c:ext xmlns:c16="http://schemas.microsoft.com/office/drawing/2014/chart" uri="{C3380CC4-5D6E-409C-BE32-E72D297353CC}">
              <c16:uniqueId val="{00000006-80FB-4F9B-9AC8-C9BB384D4225}"/>
            </c:ext>
          </c:extLst>
        </c:ser>
        <c:ser>
          <c:idx val="7"/>
          <c:order val="1"/>
          <c:tx>
            <c:strRef>
              <c:f>'Intermediates inventory track '!$D$84</c:f>
              <c:strCache>
                <c:ptCount val="1"/>
                <c:pt idx="0">
                  <c:v>Ex. DRC</c:v>
                </c:pt>
              </c:strCache>
            </c:strRef>
          </c:tx>
          <c:spPr>
            <a:solidFill>
              <a:srgbClr val="62C0BA"/>
            </a:solidFill>
            <a:ln>
              <a:noFill/>
            </a:ln>
            <a:effectLst/>
          </c:spPr>
          <c:invertIfNegative val="0"/>
          <c:dPt>
            <c:idx val="0"/>
            <c:invertIfNegative val="0"/>
            <c:bubble3D val="0"/>
            <c:spPr>
              <a:solidFill>
                <a:srgbClr val="62C0BA"/>
              </a:solidFill>
              <a:ln w="34925">
                <a:noFill/>
              </a:ln>
              <a:effectLst/>
            </c:spPr>
            <c:extLst>
              <c:ext xmlns:c16="http://schemas.microsoft.com/office/drawing/2014/chart" uri="{C3380CC4-5D6E-409C-BE32-E72D297353CC}">
                <c16:uniqueId val="{00000008-80FB-4F9B-9AC8-C9BB384D4225}"/>
              </c:ext>
            </c:extLst>
          </c:dPt>
          <c:dPt>
            <c:idx val="1"/>
            <c:invertIfNegative val="0"/>
            <c:bubble3D val="0"/>
            <c:spPr>
              <a:solidFill>
                <a:srgbClr val="62C0BA"/>
              </a:solidFill>
              <a:ln w="34925">
                <a:noFill/>
              </a:ln>
              <a:effectLst/>
            </c:spPr>
            <c:extLst>
              <c:ext xmlns:c16="http://schemas.microsoft.com/office/drawing/2014/chart" uri="{C3380CC4-5D6E-409C-BE32-E72D297353CC}">
                <c16:uniqueId val="{0000000A-80FB-4F9B-9AC8-C9BB384D4225}"/>
              </c:ext>
            </c:extLst>
          </c:dPt>
          <c:dPt>
            <c:idx val="2"/>
            <c:invertIfNegative val="0"/>
            <c:bubble3D val="0"/>
            <c:spPr>
              <a:solidFill>
                <a:srgbClr val="62C0BA"/>
              </a:solidFill>
              <a:ln w="34925">
                <a:noFill/>
              </a:ln>
              <a:effectLst/>
            </c:spPr>
            <c:extLst>
              <c:ext xmlns:c16="http://schemas.microsoft.com/office/drawing/2014/chart" uri="{C3380CC4-5D6E-409C-BE32-E72D297353CC}">
                <c16:uniqueId val="{0000000C-80FB-4F9B-9AC8-C9BB384D4225}"/>
              </c:ext>
            </c:extLst>
          </c:dPt>
          <c:dLbls>
            <c:dLbl>
              <c:idx val="2"/>
              <c:tx>
                <c:rich>
                  <a:bodyPr/>
                  <a:lstStyle/>
                  <a:p>
                    <a:r>
                      <a:rPr lang="en-US" sz="1600" b="1"/>
                      <a:t>Ex.</a:t>
                    </a:r>
                  </a:p>
                  <a:p>
                    <a:r>
                      <a:rPr lang="en-US" sz="1600" b="1"/>
                      <a:t>DRC</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80FB-4F9B-9AC8-C9BB384D4225}"/>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Arial" panose="020B0604020202020204" pitchFamily="34" charset="0"/>
                    <a:ea typeface="Helvetica Neue" panose="02000503000000020004" pitchFamily="2" charset="0"/>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Lit>
              <c:ptCount val="3"/>
              <c:pt idx="0">
                <c:v>2024</c:v>
              </c:pt>
              <c:pt idx="1">
                <c:v>2025</c:v>
              </c:pt>
              <c:pt idx="2">
                <c:v>2026</c:v>
              </c:pt>
              <c:extLst>
                <c:ext xmlns:c15="http://schemas.microsoft.com/office/drawing/2012/chart" uri="{02D57815-91ED-43cb-92C2-25804820EDAC}">
                  <c15:autoCat val="1"/>
                </c:ext>
              </c:extLst>
            </c:strLit>
          </c:cat>
          <c:val>
            <c:numRef>
              <c:f>'Intermediates inventory track '!$K$84:$M$84</c:f>
              <c:numCache>
                <c:formatCode>#,##0</c:formatCode>
                <c:ptCount val="3"/>
                <c:pt idx="0">
                  <c:v>80000</c:v>
                </c:pt>
                <c:pt idx="1">
                  <c:v>44876</c:v>
                </c:pt>
                <c:pt idx="2">
                  <c:v>44186</c:v>
                </c:pt>
              </c:numCache>
              <c:extLst/>
            </c:numRef>
          </c:val>
          <c:extLst>
            <c:ext xmlns:c16="http://schemas.microsoft.com/office/drawing/2014/chart" uri="{C3380CC4-5D6E-409C-BE32-E72D297353CC}">
              <c16:uniqueId val="{0000000D-80FB-4F9B-9AC8-C9BB384D4225}"/>
            </c:ext>
          </c:extLst>
        </c:ser>
        <c:dLbls>
          <c:showLegendKey val="0"/>
          <c:showVal val="0"/>
          <c:showCatName val="0"/>
          <c:showSerName val="0"/>
          <c:showPercent val="0"/>
          <c:showBubbleSize val="0"/>
        </c:dLbls>
        <c:gapWidth val="100"/>
        <c:overlap val="100"/>
        <c:axId val="831629328"/>
        <c:axId val="1069910368"/>
      </c:barChart>
      <c:catAx>
        <c:axId val="831629328"/>
        <c:scaling>
          <c:orientation val="minMax"/>
        </c:scaling>
        <c:delete val="0"/>
        <c:axPos val="b"/>
        <c:numFmt formatCode="0" sourceLinked="1"/>
        <c:majorTickMark val="out"/>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sz="1200" b="0" i="0" u="none" strike="noStrike" kern="1200" baseline="0">
                <a:solidFill>
                  <a:schemeClr val="bg1"/>
                </a:solidFill>
                <a:latin typeface="Arial" panose="020B0604020202020204" pitchFamily="34" charset="0"/>
                <a:ea typeface="Helvetica Neue" panose="02000503000000020004" pitchFamily="2" charset="0"/>
                <a:cs typeface="Arial" panose="020B0604020202020204" pitchFamily="34" charset="0"/>
              </a:defRPr>
            </a:pPr>
            <a:endParaRPr lang="en-US"/>
          </a:p>
        </c:txPr>
        <c:crossAx val="1069910368"/>
        <c:crosses val="autoZero"/>
        <c:auto val="1"/>
        <c:lblAlgn val="ctr"/>
        <c:lblOffset val="100"/>
        <c:noMultiLvlLbl val="0"/>
      </c:catAx>
      <c:valAx>
        <c:axId val="1069910368"/>
        <c:scaling>
          <c:orientation val="minMax"/>
        </c:scaling>
        <c:delete val="0"/>
        <c:axPos val="l"/>
        <c:majorGridlines>
          <c:spPr>
            <a:ln w="6350" cap="flat" cmpd="sng" algn="ctr">
              <a:noFill/>
              <a:prstDash val="solid"/>
              <a:round/>
            </a:ln>
            <a:effectLst/>
          </c:spPr>
        </c:majorGridlines>
        <c:numFmt formatCode="#,##0" sourceLinked="0"/>
        <c:majorTickMark val="out"/>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sz="1200" b="0" i="0" u="none" strike="noStrike" kern="1200" baseline="0">
                <a:solidFill>
                  <a:schemeClr val="bg1"/>
                </a:solidFill>
                <a:latin typeface="Arial" panose="020B0604020202020204" pitchFamily="34" charset="0"/>
                <a:ea typeface="Helvetica Neue" panose="02000503000000020004" pitchFamily="2" charset="0"/>
                <a:cs typeface="Arial" panose="020B0604020202020204" pitchFamily="34" charset="0"/>
              </a:defRPr>
            </a:pPr>
            <a:endParaRPr lang="en-US"/>
          </a:p>
        </c:txPr>
        <c:crossAx val="831629328"/>
        <c:crosses val="autoZero"/>
        <c:crossBetween val="between"/>
        <c:dispUnits>
          <c:builtInUnit val="thousands"/>
        </c:dispUnits>
      </c:valAx>
      <c:spPr>
        <a:noFill/>
        <a:ln>
          <a:noFill/>
        </a:ln>
        <a:effectLst/>
      </c:spPr>
    </c:plotArea>
    <c:plotVisOnly val="1"/>
    <c:dispBlanksAs val="gap"/>
    <c:showDLblsOverMax val="0"/>
  </c:chart>
  <c:spPr>
    <a:noFill/>
    <a:ln w="6350" cap="flat" cmpd="sng" algn="ctr">
      <a:noFill/>
      <a:prstDash val="solid"/>
      <a:round/>
    </a:ln>
    <a:effectLst/>
  </c:spPr>
  <c:txPr>
    <a:bodyPr/>
    <a:lstStyle/>
    <a:p>
      <a:pPr>
        <a:defRPr sz="1100">
          <a:solidFill>
            <a:schemeClr val="bg1"/>
          </a:solidFill>
          <a:latin typeface="Arial" panose="020B0604020202020204" pitchFamily="34" charset="0"/>
          <a:ea typeface="Helvetica Neue" panose="02000503000000020004" pitchFamily="2" charset="0"/>
          <a:cs typeface="Arial" panose="020B0604020202020204" pitchFamily="34" charset="0"/>
        </a:defRPr>
      </a:pPr>
      <a:endParaRPr lang="en-US"/>
    </a:p>
  </c:txPr>
  <c:externalData r:id="rId4">
    <c:autoUpdate val="0"/>
  </c:externalData>
  <c:userShapes r:id="rId5"/>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096074929264395"/>
          <c:y val="0.1645452385938008"/>
          <c:w val="0.82697864016228051"/>
          <c:h val="0.73277996689935587"/>
        </c:manualLayout>
      </c:layout>
      <c:barChart>
        <c:barDir val="col"/>
        <c:grouping val="stacked"/>
        <c:varyColors val="0"/>
        <c:ser>
          <c:idx val="0"/>
          <c:order val="0"/>
          <c:tx>
            <c:strRef>
              <c:f>Sheet1!$B$3</c:f>
              <c:strCache>
                <c:ptCount val="1"/>
                <c:pt idx="0">
                  <c:v>Production</c:v>
                </c:pt>
              </c:strCache>
            </c:strRef>
          </c:tx>
          <c:spPr>
            <a:solidFill>
              <a:srgbClr val="30A3FD"/>
            </a:solidFill>
            <a:ln>
              <a:noFill/>
            </a:ln>
            <a:effectLst/>
          </c:spPr>
          <c:invertIfNegative val="0"/>
          <c:dLbls>
            <c:dLbl>
              <c:idx val="0"/>
              <c:tx>
                <c:rich>
                  <a:bodyPr rot="0" spcFirstLastPara="1" vertOverflow="ellipsis" vert="horz" wrap="square" anchor="ctr" anchorCtr="1"/>
                  <a:lstStyle/>
                  <a:p>
                    <a:pPr>
                      <a:defRPr sz="1600" b="0" i="0" u="none" strike="noStrike" kern="1200" baseline="0">
                        <a:solidFill>
                          <a:schemeClr val="bg1"/>
                        </a:solidFill>
                        <a:latin typeface="Arial" panose="020B0604020202020204" pitchFamily="34" charset="0"/>
                        <a:ea typeface="Helvetica Neue" panose="02000503000000020004" pitchFamily="2" charset="0"/>
                        <a:cs typeface="Arial" panose="020B0604020202020204" pitchFamily="34" charset="0"/>
                      </a:defRPr>
                    </a:pPr>
                    <a:fld id="{254CAED1-20F6-43A1-8279-595F2715E79F}" type="SERIESNAME">
                      <a:rPr lang="en-US" sz="1600" b="1"/>
                      <a:pPr>
                        <a:defRPr sz="1600"/>
                      </a:pPr>
                      <a:t>[SERIES NAME]</a:t>
                    </a:fld>
                    <a:endParaRPr lang="en-US"/>
                  </a:p>
                </c:rich>
              </c:tx>
              <c:spPr>
                <a:noFill/>
                <a:ln>
                  <a:noFill/>
                </a:ln>
                <a:effectLst/>
              </c:spPr>
              <c:txPr>
                <a:bodyPr rot="0" spcFirstLastPara="1" vertOverflow="ellipsis" vert="horz" wrap="square" anchor="ctr" anchorCtr="1"/>
                <a:lstStyle/>
                <a:p>
                  <a:pPr>
                    <a:defRPr sz="1600" b="0" i="0" u="none" strike="noStrike" kern="1200" baseline="0">
                      <a:solidFill>
                        <a:schemeClr val="bg1"/>
                      </a:solidFill>
                      <a:latin typeface="Arial" panose="020B0604020202020204" pitchFamily="34" charset="0"/>
                      <a:ea typeface="Helvetica Neue" panose="02000503000000020004" pitchFamily="2" charset="0"/>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8B50-47FA-9A23-7D1B8B8178CA}"/>
                </c:ext>
              </c:extLst>
            </c:dLbl>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rial" panose="020B0604020202020204" pitchFamily="34" charset="0"/>
                    <a:ea typeface="Helvetica Neue" panose="02000503000000020004" pitchFamily="2" charset="0"/>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numRef>
              <c:f>Sheet1!$E$2:$F$2</c:f>
              <c:numCache>
                <c:formatCode>General</c:formatCode>
                <c:ptCount val="2"/>
                <c:pt idx="0">
                  <c:v>2025</c:v>
                </c:pt>
                <c:pt idx="1">
                  <c:v>2026</c:v>
                </c:pt>
              </c:numCache>
            </c:numRef>
          </c:cat>
          <c:val>
            <c:numRef>
              <c:f>Sheet1!$E$3:$F$3</c:f>
              <c:numCache>
                <c:formatCode>General</c:formatCode>
                <c:ptCount val="2"/>
                <c:pt idx="0" formatCode="#,##0">
                  <c:v>204050</c:v>
                </c:pt>
              </c:numCache>
            </c:numRef>
          </c:val>
          <c:extLst>
            <c:ext xmlns:c16="http://schemas.microsoft.com/office/drawing/2014/chart" uri="{C3380CC4-5D6E-409C-BE32-E72D297353CC}">
              <c16:uniqueId val="{00000001-8B50-47FA-9A23-7D1B8B8178CA}"/>
            </c:ext>
          </c:extLst>
        </c:ser>
        <c:ser>
          <c:idx val="1"/>
          <c:order val="1"/>
          <c:tx>
            <c:strRef>
              <c:f>Sheet1!$B$4</c:f>
              <c:strCache>
                <c:ptCount val="1"/>
                <c:pt idx="0">
                  <c:v>Quotas</c:v>
                </c:pt>
              </c:strCache>
            </c:strRef>
          </c:tx>
          <c:spPr>
            <a:solidFill>
              <a:srgbClr val="8159A6"/>
            </a:solidFill>
            <a:ln>
              <a:noFill/>
            </a:ln>
            <a:effectLst/>
          </c:spPr>
          <c:invertIfNegative val="0"/>
          <c:dLbls>
            <c:dLbl>
              <c:idx val="1"/>
              <c:tx>
                <c:rich>
                  <a:bodyPr rot="0" spcFirstLastPara="1" vertOverflow="ellipsis" vert="horz" wrap="square" anchor="ctr" anchorCtr="1"/>
                  <a:lstStyle/>
                  <a:p>
                    <a:pPr>
                      <a:defRPr sz="1600" b="1" i="0" u="none" strike="noStrike" kern="1200" baseline="0">
                        <a:solidFill>
                          <a:schemeClr val="bg1"/>
                        </a:solidFill>
                        <a:latin typeface="Arial" panose="020B0604020202020204" pitchFamily="34" charset="0"/>
                        <a:ea typeface="Helvetica Neue" panose="02000503000000020004" pitchFamily="2" charset="0"/>
                        <a:cs typeface="Arial" panose="020B0604020202020204" pitchFamily="34" charset="0"/>
                      </a:defRPr>
                    </a:pPr>
                    <a:fld id="{C0D0038E-0196-4B18-8513-B43B04B4E620}" type="SERIESNAME">
                      <a:rPr lang="en-US" sz="1600"/>
                      <a:pPr>
                        <a:defRPr sz="1600" b="1"/>
                      </a:pPr>
                      <a:t>[SERIES NAME]</a:t>
                    </a:fld>
                    <a:endParaRPr lang="en-US"/>
                  </a:p>
                </c:rich>
              </c:tx>
              <c:spPr>
                <a:noFill/>
                <a:ln>
                  <a:noFill/>
                </a:ln>
                <a:effectLst/>
              </c:spPr>
              <c:txPr>
                <a:bodyPr rot="0" spcFirstLastPara="1" vertOverflow="ellipsis" vert="horz" wrap="square" anchor="ctr" anchorCtr="1"/>
                <a:lstStyle/>
                <a:p>
                  <a:pPr>
                    <a:defRPr sz="1600" b="1" i="0" u="none" strike="noStrike" kern="1200" baseline="0">
                      <a:solidFill>
                        <a:schemeClr val="bg1"/>
                      </a:solidFill>
                      <a:latin typeface="Arial" panose="020B0604020202020204" pitchFamily="34" charset="0"/>
                      <a:ea typeface="Helvetica Neue" panose="02000503000000020004" pitchFamily="2" charset="0"/>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8B50-47FA-9A23-7D1B8B8178CA}"/>
                </c:ext>
              </c:extLst>
            </c:dLbl>
            <c:spPr>
              <a:noFill/>
              <a:ln>
                <a:noFill/>
              </a:ln>
              <a:effectLst/>
            </c:spPr>
            <c:txPr>
              <a:bodyPr rot="0" spcFirstLastPara="1" vertOverflow="ellipsis" vert="horz" wrap="square" anchor="ctr" anchorCtr="1"/>
              <a:lstStyle/>
              <a:p>
                <a:pPr>
                  <a:defRPr sz="1400" b="1" i="0" u="none" strike="noStrike" kern="1200" baseline="0">
                    <a:solidFill>
                      <a:schemeClr val="bg1"/>
                    </a:solidFill>
                    <a:latin typeface="Arial" panose="020B0604020202020204" pitchFamily="34" charset="0"/>
                    <a:ea typeface="Helvetica Neue" panose="02000503000000020004" pitchFamily="2" charset="0"/>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val>
            <c:numRef>
              <c:f>Sheet1!$E$4:$F$4</c:f>
              <c:numCache>
                <c:formatCode>#,##0</c:formatCode>
                <c:ptCount val="2"/>
                <c:pt idx="1">
                  <c:v>96600</c:v>
                </c:pt>
              </c:numCache>
            </c:numRef>
          </c:val>
          <c:extLst>
            <c:ext xmlns:c16="http://schemas.microsoft.com/office/drawing/2014/chart" uri="{C3380CC4-5D6E-409C-BE32-E72D297353CC}">
              <c16:uniqueId val="{00000003-8B50-47FA-9A23-7D1B8B8178CA}"/>
            </c:ext>
          </c:extLst>
        </c:ser>
        <c:dLbls>
          <c:showLegendKey val="0"/>
          <c:showVal val="0"/>
          <c:showCatName val="0"/>
          <c:showSerName val="0"/>
          <c:showPercent val="0"/>
          <c:showBubbleSize val="0"/>
        </c:dLbls>
        <c:gapWidth val="75"/>
        <c:overlap val="100"/>
        <c:axId val="283751552"/>
        <c:axId val="283753088"/>
      </c:barChart>
      <c:catAx>
        <c:axId val="283751552"/>
        <c:scaling>
          <c:orientation val="minMax"/>
        </c:scaling>
        <c:delete val="0"/>
        <c:axPos val="b"/>
        <c:numFmt formatCode="General" sourceLinked="0"/>
        <c:majorTickMark val="none"/>
        <c:minorTickMark val="none"/>
        <c:tickLblPos val="nextTo"/>
        <c:spPr>
          <a:noFill/>
          <a:ln w="9525" cap="flat" cmpd="sng" algn="ctr">
            <a:noFill/>
            <a:prstDash val="solid"/>
            <a:round/>
          </a:ln>
          <a:effectLst/>
        </c:spPr>
        <c:txPr>
          <a:bodyPr rot="-60000000" spcFirstLastPara="1" vertOverflow="ellipsis" vert="horz" wrap="square" anchor="ctr" anchorCtr="1"/>
          <a:lstStyle/>
          <a:p>
            <a:pPr>
              <a:defRPr sz="1200" b="0" i="0" u="none" strike="noStrike" kern="1200" baseline="0">
                <a:solidFill>
                  <a:schemeClr val="bg1"/>
                </a:solidFill>
                <a:latin typeface="Arial" panose="020B0604020202020204" pitchFamily="34" charset="0"/>
                <a:ea typeface="Helvetica Neue" panose="02000503000000020004" pitchFamily="2" charset="0"/>
                <a:cs typeface="Arial" panose="020B0604020202020204" pitchFamily="34" charset="0"/>
              </a:defRPr>
            </a:pPr>
            <a:endParaRPr lang="en-US"/>
          </a:p>
        </c:txPr>
        <c:crossAx val="283753088"/>
        <c:crosses val="autoZero"/>
        <c:auto val="1"/>
        <c:lblAlgn val="ctr"/>
        <c:lblOffset val="100"/>
        <c:noMultiLvlLbl val="0"/>
      </c:catAx>
      <c:valAx>
        <c:axId val="283753088"/>
        <c:scaling>
          <c:orientation val="minMax"/>
          <c:max val="220000"/>
          <c:min val="0"/>
        </c:scaling>
        <c:delete val="0"/>
        <c:axPos val="l"/>
        <c:majorGridlines>
          <c:spPr>
            <a:ln w="6350" cap="flat" cmpd="sng" algn="ctr">
              <a:noFill/>
              <a:prstDash val="solid"/>
              <a:round/>
            </a:ln>
            <a:effectLst/>
          </c:spPr>
        </c:majorGridlines>
        <c:numFmt formatCode="#,##0" sourceLinked="0"/>
        <c:majorTickMark val="none"/>
        <c:minorTickMark val="none"/>
        <c:tickLblPos val="nextTo"/>
        <c:spPr>
          <a:noFill/>
          <a:ln w="9525" cap="flat" cmpd="sng" algn="ctr">
            <a:noFill/>
            <a:prstDash val="solid"/>
            <a:round/>
          </a:ln>
          <a:effectLst/>
        </c:spPr>
        <c:txPr>
          <a:bodyPr rot="-60000000" spcFirstLastPara="1" vertOverflow="ellipsis" vert="horz" wrap="square" anchor="ctr" anchorCtr="1"/>
          <a:lstStyle/>
          <a:p>
            <a:pPr>
              <a:defRPr sz="1200" b="0" i="0" u="none" strike="noStrike" kern="1200" baseline="0">
                <a:solidFill>
                  <a:schemeClr val="bg1"/>
                </a:solidFill>
                <a:latin typeface="Arial" panose="020B0604020202020204" pitchFamily="34" charset="0"/>
                <a:ea typeface="Helvetica Neue" panose="02000503000000020004" pitchFamily="2" charset="0"/>
                <a:cs typeface="Arial" panose="020B0604020202020204" pitchFamily="34" charset="0"/>
              </a:defRPr>
            </a:pPr>
            <a:endParaRPr lang="en-US"/>
          </a:p>
        </c:txPr>
        <c:crossAx val="283751552"/>
        <c:crosses val="autoZero"/>
        <c:crossBetween val="between"/>
        <c:dispUnits>
          <c:builtInUnit val="thousands"/>
        </c:dispUnits>
      </c:valAx>
      <c:spPr>
        <a:noFill/>
        <a:ln>
          <a:noFill/>
        </a:ln>
        <a:effectLst/>
      </c:spPr>
    </c:plotArea>
    <c:plotVisOnly val="1"/>
    <c:dispBlanksAs val="gap"/>
    <c:showDLblsOverMax val="0"/>
  </c:chart>
  <c:spPr>
    <a:noFill/>
    <a:ln w="6350" cap="flat" cmpd="sng" algn="ctr">
      <a:noFill/>
      <a:prstDash val="solid"/>
      <a:round/>
    </a:ln>
    <a:effectLst/>
  </c:spPr>
  <c:txPr>
    <a:bodyPr/>
    <a:lstStyle/>
    <a:p>
      <a:pPr>
        <a:defRPr sz="1100">
          <a:solidFill>
            <a:schemeClr val="bg1"/>
          </a:solidFill>
          <a:latin typeface="Arial" panose="020B0604020202020204" pitchFamily="34" charset="0"/>
          <a:ea typeface="Helvetica Neue" panose="02000503000000020004" pitchFamily="2" charset="0"/>
          <a:cs typeface="Arial" panose="020B0604020202020204" pitchFamily="34" charset="0"/>
        </a:defRPr>
      </a:pPr>
      <a:endParaRPr lang="en-US"/>
    </a:p>
  </c:txPr>
  <c:externalData r:id="rId4">
    <c:autoUpdate val="0"/>
  </c:externalData>
  <c:userShapes r:id="rId5"/>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589101484063056"/>
          <c:y val="0.1300559090366751"/>
          <c:w val="0.824827382463591"/>
          <c:h val="0.76726929645648145"/>
        </c:manualLayout>
      </c:layout>
      <c:barChart>
        <c:barDir val="col"/>
        <c:grouping val="clustered"/>
        <c:varyColors val="0"/>
        <c:ser>
          <c:idx val="0"/>
          <c:order val="0"/>
          <c:tx>
            <c:v>Intermediates</c:v>
          </c:tx>
          <c:spPr>
            <a:solidFill>
              <a:srgbClr val="18517F"/>
            </a:solidFill>
            <a:ln>
              <a:noFill/>
            </a:ln>
            <a:effectLst/>
          </c:spPr>
          <c:invertIfNegative val="0"/>
          <c:cat>
            <c:numRef>
              <c:f>'Intermediates inventory track '!$K$57:$M$57</c:f>
              <c:numCache>
                <c:formatCode>0</c:formatCode>
                <c:ptCount val="3"/>
                <c:pt idx="0">
                  <c:v>2024</c:v>
                </c:pt>
                <c:pt idx="1">
                  <c:v>2025</c:v>
                </c:pt>
                <c:pt idx="2">
                  <c:v>2026</c:v>
                </c:pt>
              </c:numCache>
              <c:extLst/>
            </c:numRef>
          </c:cat>
          <c:val>
            <c:numRef>
              <c:f>'Intermediates inventory track '!$K$69:$M$69</c:f>
              <c:numCache>
                <c:formatCode>0.0%</c:formatCode>
                <c:ptCount val="3"/>
                <c:pt idx="0">
                  <c:v>0.26870228620040254</c:v>
                </c:pt>
                <c:pt idx="1">
                  <c:v>-0.17562</c:v>
                </c:pt>
                <c:pt idx="2">
                  <c:v>-3.7297297297297295E-3</c:v>
                </c:pt>
              </c:numCache>
              <c:extLst/>
            </c:numRef>
          </c:val>
          <c:extLst>
            <c:ext xmlns:c16="http://schemas.microsoft.com/office/drawing/2014/chart" uri="{C3380CC4-5D6E-409C-BE32-E72D297353CC}">
              <c16:uniqueId val="{00000000-5BA4-45B0-8D83-78E0AC5BD868}"/>
            </c:ext>
          </c:extLst>
        </c:ser>
        <c:ser>
          <c:idx val="1"/>
          <c:order val="1"/>
          <c:tx>
            <c:v>Refined</c:v>
          </c:tx>
          <c:spPr>
            <a:solidFill>
              <a:srgbClr val="BF59A6"/>
            </a:solidFill>
            <a:ln>
              <a:noFill/>
            </a:ln>
            <a:effectLst/>
          </c:spPr>
          <c:invertIfNegative val="0"/>
          <c:cat>
            <c:numRef>
              <c:f>'Intermediates inventory track '!$K$57:$M$57</c:f>
              <c:numCache>
                <c:formatCode>0</c:formatCode>
                <c:ptCount val="3"/>
                <c:pt idx="0">
                  <c:v>2024</c:v>
                </c:pt>
                <c:pt idx="1">
                  <c:v>2025</c:v>
                </c:pt>
                <c:pt idx="2">
                  <c:v>2026</c:v>
                </c:pt>
              </c:numCache>
              <c:extLst/>
            </c:numRef>
          </c:cat>
          <c:val>
            <c:numRef>
              <c:f>'Intermediates inventory track '!$K$75:$M$75</c:f>
              <c:numCache>
                <c:formatCode>0.0%</c:formatCode>
                <c:ptCount val="3"/>
                <c:pt idx="0">
                  <c:v>0.10442018554011223</c:v>
                </c:pt>
                <c:pt idx="1">
                  <c:v>9.1429889635206863E-3</c:v>
                </c:pt>
                <c:pt idx="2">
                  <c:v>-4.0691276498638754E-2</c:v>
                </c:pt>
              </c:numCache>
              <c:extLst/>
            </c:numRef>
          </c:val>
          <c:extLst>
            <c:ext xmlns:c16="http://schemas.microsoft.com/office/drawing/2014/chart" uri="{C3380CC4-5D6E-409C-BE32-E72D297353CC}">
              <c16:uniqueId val="{00000001-5BA4-45B0-8D83-78E0AC5BD868}"/>
            </c:ext>
          </c:extLst>
        </c:ser>
        <c:dLbls>
          <c:showLegendKey val="0"/>
          <c:showVal val="0"/>
          <c:showCatName val="0"/>
          <c:showSerName val="0"/>
          <c:showPercent val="0"/>
          <c:showBubbleSize val="0"/>
        </c:dLbls>
        <c:gapWidth val="150"/>
        <c:axId val="283751552"/>
        <c:axId val="283753088"/>
      </c:barChart>
      <c:lineChart>
        <c:grouping val="standard"/>
        <c:varyColors val="0"/>
        <c:dLbls>
          <c:showLegendKey val="0"/>
          <c:showVal val="0"/>
          <c:showCatName val="0"/>
          <c:showSerName val="0"/>
          <c:showPercent val="0"/>
          <c:showBubbleSize val="0"/>
        </c:dLbls>
        <c:marker val="1"/>
        <c:smooth val="0"/>
        <c:axId val="85860464"/>
        <c:axId val="85867664"/>
        <c:extLst>
          <c:ext xmlns:c15="http://schemas.microsoft.com/office/drawing/2012/chart" uri="{02D57815-91ED-43cb-92C2-25804820EDAC}">
            <c15:filteredLineSeries>
              <c15:ser>
                <c:idx val="2"/>
                <c:order val="2"/>
                <c:tx>
                  <c:strRef>
                    <c:extLst>
                      <c:ext uri="{02D57815-91ED-43cb-92C2-25804820EDAC}">
                        <c15:formulaRef>
                          <c15:sqref>'Intermediates inventory track '!$D$86</c15:sqref>
                        </c15:formulaRef>
                      </c:ext>
                    </c:extLst>
                    <c:strCache>
                      <c:ptCount val="1"/>
                      <c:pt idx="0">
                        <c:v>Ex. DRC stocks</c:v>
                      </c:pt>
                    </c:strCache>
                  </c:strRef>
                </c:tx>
                <c:spPr>
                  <a:ln w="28575" cap="rnd" cmpd="sng" algn="ctr">
                    <a:solidFill>
                      <a:srgbClr val="30A3FD"/>
                    </a:solidFill>
                    <a:prstDash val="solid"/>
                    <a:round/>
                  </a:ln>
                  <a:effectLst/>
                </c:spPr>
                <c:marker>
                  <c:symbol val="none"/>
                </c:marker>
                <c:val>
                  <c:numRef>
                    <c:extLst>
                      <c:ext uri="{02D57815-91ED-43cb-92C2-25804820EDAC}">
                        <c15:formulaRef>
                          <c15:sqref>'Intermediates inventory track '!$L$86:$N$86</c15:sqref>
                        </c15:formulaRef>
                      </c:ext>
                    </c:extLst>
                    <c:numCache>
                      <c:formatCode>0.0</c:formatCode>
                      <c:ptCount val="3"/>
                      <c:pt idx="0">
                        <c:v>2.4218999985414444</c:v>
                      </c:pt>
                      <c:pt idx="1">
                        <c:v>2.3799675426230733</c:v>
                      </c:pt>
                      <c:pt idx="2">
                        <c:v>2.33608569249696</c:v>
                      </c:pt>
                    </c:numCache>
                  </c:numRef>
                </c:val>
                <c:smooth val="1"/>
                <c:extLst>
                  <c:ext xmlns:c16="http://schemas.microsoft.com/office/drawing/2014/chart" uri="{C3380CC4-5D6E-409C-BE32-E72D297353CC}">
                    <c16:uniqueId val="{00000002-5BA4-45B0-8D83-78E0AC5BD868}"/>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Intermediates inventory track '!$D$78</c15:sqref>
                        </c15:formulaRef>
                      </c:ext>
                    </c:extLst>
                    <c:strCache>
                      <c:ptCount val="1"/>
                      <c:pt idx="0">
                        <c:v>Refined stocks</c:v>
                      </c:pt>
                    </c:strCache>
                  </c:strRef>
                </c:tx>
                <c:spPr>
                  <a:ln w="28575" cap="rnd" cmpd="sng" algn="ctr">
                    <a:solidFill>
                      <a:srgbClr val="61C0BA">
                        <a:lumMod val="50000"/>
                      </a:srgbClr>
                    </a:solidFill>
                    <a:prstDash val="solid"/>
                    <a:round/>
                  </a:ln>
                  <a:effectLst/>
                </c:spPr>
                <c:marker>
                  <c:symbol val="none"/>
                </c:marker>
                <c:val>
                  <c:numRef>
                    <c:extLst xmlns:c15="http://schemas.microsoft.com/office/drawing/2012/chart">
                      <c:ext xmlns:c15="http://schemas.microsoft.com/office/drawing/2012/chart" uri="{02D57815-91ED-43cb-92C2-25804820EDAC}">
                        <c15:formulaRef>
                          <c15:sqref>'Intermediates inventory track '!$L$78:$N$78</c15:sqref>
                        </c15:formulaRef>
                      </c:ext>
                    </c:extLst>
                    <c:numCache>
                      <c:formatCode>0.0</c:formatCode>
                      <c:ptCount val="3"/>
                      <c:pt idx="0">
                        <c:v>3.0453533619316304</c:v>
                      </c:pt>
                      <c:pt idx="1">
                        <c:v>2.5599899985122918</c:v>
                      </c:pt>
                      <c:pt idx="2">
                        <c:v>2.3289143589393371</c:v>
                      </c:pt>
                    </c:numCache>
                  </c:numRef>
                </c:val>
                <c:smooth val="1"/>
                <c:extLst xmlns:c15="http://schemas.microsoft.com/office/drawing/2012/chart">
                  <c:ext xmlns:c16="http://schemas.microsoft.com/office/drawing/2014/chart" uri="{C3380CC4-5D6E-409C-BE32-E72D297353CC}">
                    <c16:uniqueId val="{00000003-5BA4-45B0-8D83-78E0AC5BD868}"/>
                  </c:ext>
                </c:extLst>
              </c15:ser>
            </c15:filteredLineSeries>
          </c:ext>
        </c:extLst>
      </c:lineChart>
      <c:catAx>
        <c:axId val="283751552"/>
        <c:scaling>
          <c:orientation val="minMax"/>
        </c:scaling>
        <c:delete val="0"/>
        <c:axPos val="b"/>
        <c:numFmt formatCode="General" sourceLinked="0"/>
        <c:majorTickMark val="none"/>
        <c:minorTickMark val="none"/>
        <c:tickLblPos val="low"/>
        <c:spPr>
          <a:noFill/>
          <a:ln w="9525" cap="flat" cmpd="sng" algn="ctr">
            <a:noFill/>
            <a:prstDash val="solid"/>
            <a:round/>
          </a:ln>
          <a:effectLst/>
        </c:spPr>
        <c:txPr>
          <a:bodyPr rot="-60000000" spcFirstLastPara="1" vertOverflow="ellipsis" vert="horz" wrap="square" anchor="ctr" anchorCtr="1"/>
          <a:lstStyle/>
          <a:p>
            <a:pPr>
              <a:defRPr sz="1200" b="0" i="0" u="none" strike="noStrike" kern="1200" baseline="0">
                <a:solidFill>
                  <a:schemeClr val="bg1"/>
                </a:solidFill>
                <a:latin typeface="Arial" panose="020B0604020202020204" pitchFamily="34" charset="0"/>
                <a:ea typeface="Helvetica Neue" panose="02000503000000020004" pitchFamily="2" charset="0"/>
                <a:cs typeface="Arial" panose="020B0604020202020204" pitchFamily="34" charset="0"/>
              </a:defRPr>
            </a:pPr>
            <a:endParaRPr lang="en-US"/>
          </a:p>
        </c:txPr>
        <c:crossAx val="283753088"/>
        <c:crosses val="autoZero"/>
        <c:auto val="1"/>
        <c:lblAlgn val="ctr"/>
        <c:lblOffset val="100"/>
        <c:noMultiLvlLbl val="0"/>
      </c:catAx>
      <c:valAx>
        <c:axId val="283753088"/>
        <c:scaling>
          <c:orientation val="minMax"/>
        </c:scaling>
        <c:delete val="0"/>
        <c:axPos val="l"/>
        <c:majorGridlines>
          <c:spPr>
            <a:ln w="6350" cap="flat" cmpd="sng" algn="ctr">
              <a:noFill/>
              <a:prstDash val="solid"/>
              <a:round/>
            </a:ln>
            <a:effectLst/>
          </c:spPr>
        </c:majorGridlines>
        <c:numFmt formatCode="0%" sourceLinked="0"/>
        <c:majorTickMark val="none"/>
        <c:minorTickMark val="none"/>
        <c:tickLblPos val="nextTo"/>
        <c:spPr>
          <a:noFill/>
          <a:ln w="9525" cap="flat" cmpd="sng" algn="ctr">
            <a:noFill/>
            <a:prstDash val="solid"/>
            <a:round/>
          </a:ln>
          <a:effectLst/>
        </c:spPr>
        <c:txPr>
          <a:bodyPr rot="-60000000" spcFirstLastPara="1" vertOverflow="ellipsis" vert="horz" wrap="square" anchor="ctr" anchorCtr="1"/>
          <a:lstStyle/>
          <a:p>
            <a:pPr>
              <a:defRPr sz="1200" b="0" i="0" u="none" strike="noStrike" kern="1200" baseline="0">
                <a:solidFill>
                  <a:schemeClr val="bg1"/>
                </a:solidFill>
                <a:latin typeface="Arial" panose="020B0604020202020204" pitchFamily="34" charset="0"/>
                <a:ea typeface="Helvetica Neue" panose="02000503000000020004" pitchFamily="2" charset="0"/>
                <a:cs typeface="Arial" panose="020B0604020202020204" pitchFamily="34" charset="0"/>
              </a:defRPr>
            </a:pPr>
            <a:endParaRPr lang="en-US"/>
          </a:p>
        </c:txPr>
        <c:crossAx val="283751552"/>
        <c:crosses val="autoZero"/>
        <c:crossBetween val="between"/>
        <c:majorUnit val="0.1"/>
      </c:valAx>
      <c:valAx>
        <c:axId val="85867664"/>
        <c:scaling>
          <c:orientation val="minMax"/>
          <c:min val="2.2000000000000002"/>
        </c:scaling>
        <c:delete val="1"/>
        <c:axPos val="r"/>
        <c:numFmt formatCode="0.0" sourceLinked="1"/>
        <c:majorTickMark val="out"/>
        <c:minorTickMark val="none"/>
        <c:tickLblPos val="nextTo"/>
        <c:crossAx val="85860464"/>
        <c:crosses val="max"/>
        <c:crossBetween val="between"/>
        <c:majorUnit val="0.2"/>
      </c:valAx>
      <c:catAx>
        <c:axId val="85860464"/>
        <c:scaling>
          <c:orientation val="minMax"/>
        </c:scaling>
        <c:delete val="1"/>
        <c:axPos val="b"/>
        <c:majorTickMark val="out"/>
        <c:minorTickMark val="none"/>
        <c:tickLblPos val="nextTo"/>
        <c:crossAx val="85867664"/>
        <c:crosses val="autoZero"/>
        <c:auto val="1"/>
        <c:lblAlgn val="ctr"/>
        <c:lblOffset val="100"/>
        <c:noMultiLvlLbl val="0"/>
      </c:catAx>
      <c:spPr>
        <a:noFill/>
        <a:ln>
          <a:noFill/>
        </a:ln>
        <a:effectLst/>
      </c:spPr>
    </c:plotArea>
    <c:legend>
      <c:legendPos val="t"/>
      <c:layout>
        <c:manualLayout>
          <c:xMode val="edge"/>
          <c:yMode val="edge"/>
          <c:x val="0.6239359055423227"/>
          <c:y val="0.11132130640285012"/>
          <c:w val="0.27495700754785957"/>
          <c:h val="0.12811340905984372"/>
        </c:manualLayout>
      </c:layout>
      <c:overlay val="1"/>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Arial" panose="020B0604020202020204" pitchFamily="34" charset="0"/>
              <a:ea typeface="Helvetica Neue" panose="02000503000000020004" pitchFamily="2" charset="0"/>
              <a:cs typeface="Arial" panose="020B0604020202020204" pitchFamily="34" charset="0"/>
            </a:defRPr>
          </a:pPr>
          <a:endParaRPr lang="en-US"/>
        </a:p>
      </c:txPr>
    </c:legend>
    <c:plotVisOnly val="1"/>
    <c:dispBlanksAs val="gap"/>
    <c:showDLblsOverMax val="0"/>
  </c:chart>
  <c:spPr>
    <a:noFill/>
    <a:ln w="6350" cap="flat" cmpd="sng" algn="ctr">
      <a:noFill/>
      <a:prstDash val="solid"/>
      <a:round/>
    </a:ln>
    <a:effectLst/>
  </c:spPr>
  <c:txPr>
    <a:bodyPr/>
    <a:lstStyle/>
    <a:p>
      <a:pPr>
        <a:defRPr sz="1100">
          <a:solidFill>
            <a:schemeClr val="bg1"/>
          </a:solidFill>
          <a:latin typeface="Arial" panose="020B0604020202020204" pitchFamily="34" charset="0"/>
          <a:ea typeface="Helvetica Neue" panose="02000503000000020004" pitchFamily="2" charset="0"/>
          <a:cs typeface="Arial" panose="020B0604020202020204" pitchFamily="34" charset="0"/>
        </a:defRPr>
      </a:pPr>
      <a:endParaRPr lang="en-US"/>
    </a:p>
  </c:txPr>
  <c:externalData r:id="rId4">
    <c:autoUpdate val="0"/>
  </c:externalData>
  <c:userShapes r:id="rId5"/>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63537037037034"/>
          <c:y val="0.12422342040289851"/>
          <c:w val="0.85727833333333336"/>
          <c:h val="0.77310159177554871"/>
        </c:manualLayout>
      </c:layout>
      <c:lineChart>
        <c:grouping val="standard"/>
        <c:varyColors val="0"/>
        <c:ser>
          <c:idx val="0"/>
          <c:order val="0"/>
          <c:tx>
            <c:strRef>
              <c:f>'pCAM '!$A$2</c:f>
              <c:strCache>
                <c:ptCount val="1"/>
                <c:pt idx="0">
                  <c:v>NMC</c:v>
                </c:pt>
              </c:strCache>
            </c:strRef>
          </c:tx>
          <c:spPr>
            <a:ln w="38100" cap="rnd" cmpd="sng" algn="ctr">
              <a:solidFill>
                <a:schemeClr val="accent4"/>
              </a:solidFill>
              <a:prstDash val="solid"/>
              <a:round/>
            </a:ln>
            <a:effectLst/>
          </c:spPr>
          <c:marker>
            <c:symbol val="none"/>
          </c:marker>
          <c:cat>
            <c:numRef>
              <c:f>'pCAM '!$C$19:$V$19</c:f>
              <c:numCache>
                <c:formatCode>mmm\-yy</c:formatCode>
                <c:ptCount val="20"/>
                <c:pt idx="0">
                  <c:v>45292</c:v>
                </c:pt>
                <c:pt idx="1">
                  <c:v>45323</c:v>
                </c:pt>
                <c:pt idx="2">
                  <c:v>45352</c:v>
                </c:pt>
                <c:pt idx="3">
                  <c:v>45383</c:v>
                </c:pt>
                <c:pt idx="4">
                  <c:v>45413</c:v>
                </c:pt>
                <c:pt idx="5">
                  <c:v>45444</c:v>
                </c:pt>
                <c:pt idx="6">
                  <c:v>45474</c:v>
                </c:pt>
                <c:pt idx="7">
                  <c:v>45505</c:v>
                </c:pt>
                <c:pt idx="8">
                  <c:v>45536</c:v>
                </c:pt>
                <c:pt idx="9">
                  <c:v>45566</c:v>
                </c:pt>
                <c:pt idx="10">
                  <c:v>45597</c:v>
                </c:pt>
                <c:pt idx="11">
                  <c:v>45627</c:v>
                </c:pt>
                <c:pt idx="12">
                  <c:v>45658</c:v>
                </c:pt>
                <c:pt idx="13">
                  <c:v>45689</c:v>
                </c:pt>
                <c:pt idx="14">
                  <c:v>45717</c:v>
                </c:pt>
                <c:pt idx="15">
                  <c:v>45748</c:v>
                </c:pt>
                <c:pt idx="16">
                  <c:v>45778</c:v>
                </c:pt>
                <c:pt idx="17">
                  <c:v>45809</c:v>
                </c:pt>
                <c:pt idx="18">
                  <c:v>45839</c:v>
                </c:pt>
                <c:pt idx="19">
                  <c:v>45870</c:v>
                </c:pt>
              </c:numCache>
            </c:numRef>
          </c:cat>
          <c:val>
            <c:numRef>
              <c:f>'pCAM '!$C$23:$V$23</c:f>
              <c:numCache>
                <c:formatCode>0%</c:formatCode>
                <c:ptCount val="20"/>
                <c:pt idx="0">
                  <c:v>1</c:v>
                </c:pt>
                <c:pt idx="1">
                  <c:v>0.88132112315668976</c:v>
                </c:pt>
                <c:pt idx="2">
                  <c:v>1.128147936165915</c:v>
                </c:pt>
                <c:pt idx="3">
                  <c:v>1.1461770251161538</c:v>
                </c:pt>
                <c:pt idx="4">
                  <c:v>1.0521177025116153</c:v>
                </c:pt>
                <c:pt idx="5">
                  <c:v>0.94543296747693761</c:v>
                </c:pt>
                <c:pt idx="6">
                  <c:v>1.024720557538213</c:v>
                </c:pt>
                <c:pt idx="7">
                  <c:v>1.0079287590061274</c:v>
                </c:pt>
                <c:pt idx="8">
                  <c:v>1.0237105245438018</c:v>
                </c:pt>
                <c:pt idx="9">
                  <c:v>0.98962191098242547</c:v>
                </c:pt>
                <c:pt idx="10">
                  <c:v>0.97825903979529993</c:v>
                </c:pt>
                <c:pt idx="11">
                  <c:v>1.0350228940812067</c:v>
                </c:pt>
                <c:pt idx="12">
                  <c:v>0.9083984243485288</c:v>
                </c:pt>
                <c:pt idx="13">
                  <c:v>0.8448925998249277</c:v>
                </c:pt>
                <c:pt idx="14">
                  <c:v>1.0005639350885462</c:v>
                </c:pt>
                <c:pt idx="15">
                  <c:v>1.0447528785940341</c:v>
                </c:pt>
                <c:pt idx="16">
                  <c:v>0.98920106390142082</c:v>
                </c:pt>
                <c:pt idx="17">
                  <c:v>1.0744225978048616</c:v>
                </c:pt>
                <c:pt idx="18">
                  <c:v>1.0642212645613092</c:v>
                </c:pt>
                <c:pt idx="19">
                  <c:v>1.0984108814221265</c:v>
                </c:pt>
              </c:numCache>
            </c:numRef>
          </c:val>
          <c:smooth val="1"/>
          <c:extLst>
            <c:ext xmlns:c16="http://schemas.microsoft.com/office/drawing/2014/chart" uri="{C3380CC4-5D6E-409C-BE32-E72D297353CC}">
              <c16:uniqueId val="{00000000-EE1F-42CF-8172-C764E7871F9E}"/>
            </c:ext>
          </c:extLst>
        </c:ser>
        <c:ser>
          <c:idx val="2"/>
          <c:order val="1"/>
          <c:tx>
            <c:strRef>
              <c:f>'pCAM '!$A$10</c:f>
              <c:strCache>
                <c:ptCount val="1"/>
                <c:pt idx="0">
                  <c:v>LCO</c:v>
                </c:pt>
              </c:strCache>
            </c:strRef>
          </c:tx>
          <c:spPr>
            <a:ln w="38100" cap="rnd" cmpd="sng" algn="ctr">
              <a:solidFill>
                <a:schemeClr val="accent3"/>
              </a:solidFill>
              <a:prstDash val="solid"/>
              <a:round/>
            </a:ln>
            <a:effectLst/>
          </c:spPr>
          <c:marker>
            <c:symbol val="none"/>
          </c:marker>
          <c:cat>
            <c:numRef>
              <c:f>'pCAM '!$C$19:$V$19</c:f>
              <c:numCache>
                <c:formatCode>mmm\-yy</c:formatCode>
                <c:ptCount val="20"/>
                <c:pt idx="0">
                  <c:v>45292</c:v>
                </c:pt>
                <c:pt idx="1">
                  <c:v>45323</c:v>
                </c:pt>
                <c:pt idx="2">
                  <c:v>45352</c:v>
                </c:pt>
                <c:pt idx="3">
                  <c:v>45383</c:v>
                </c:pt>
                <c:pt idx="4">
                  <c:v>45413</c:v>
                </c:pt>
                <c:pt idx="5">
                  <c:v>45444</c:v>
                </c:pt>
                <c:pt idx="6">
                  <c:v>45474</c:v>
                </c:pt>
                <c:pt idx="7">
                  <c:v>45505</c:v>
                </c:pt>
                <c:pt idx="8">
                  <c:v>45536</c:v>
                </c:pt>
                <c:pt idx="9">
                  <c:v>45566</c:v>
                </c:pt>
                <c:pt idx="10">
                  <c:v>45597</c:v>
                </c:pt>
                <c:pt idx="11">
                  <c:v>45627</c:v>
                </c:pt>
                <c:pt idx="12">
                  <c:v>45658</c:v>
                </c:pt>
                <c:pt idx="13">
                  <c:v>45689</c:v>
                </c:pt>
                <c:pt idx="14">
                  <c:v>45717</c:v>
                </c:pt>
                <c:pt idx="15">
                  <c:v>45748</c:v>
                </c:pt>
                <c:pt idx="16">
                  <c:v>45778</c:v>
                </c:pt>
                <c:pt idx="17">
                  <c:v>45809</c:v>
                </c:pt>
                <c:pt idx="18">
                  <c:v>45839</c:v>
                </c:pt>
                <c:pt idx="19">
                  <c:v>45870</c:v>
                </c:pt>
              </c:numCache>
            </c:numRef>
          </c:cat>
          <c:val>
            <c:numRef>
              <c:f>'pCAM '!$C$24:$V$24</c:f>
              <c:numCache>
                <c:formatCode>0%</c:formatCode>
                <c:ptCount val="20"/>
                <c:pt idx="0">
                  <c:v>1</c:v>
                </c:pt>
                <c:pt idx="1">
                  <c:v>0.75994108983799658</c:v>
                </c:pt>
                <c:pt idx="2">
                  <c:v>1.042709867452136</c:v>
                </c:pt>
                <c:pt idx="3">
                  <c:v>1.0265095729013254</c:v>
                </c:pt>
                <c:pt idx="4">
                  <c:v>1.0898379970544916</c:v>
                </c:pt>
                <c:pt idx="5">
                  <c:v>1.2076583210603817</c:v>
                </c:pt>
                <c:pt idx="6">
                  <c:v>1.1958762886597929</c:v>
                </c:pt>
                <c:pt idx="7">
                  <c:v>1.2120765832106031</c:v>
                </c:pt>
                <c:pt idx="8">
                  <c:v>1.2798232695139913</c:v>
                </c:pt>
                <c:pt idx="9">
                  <c:v>1.2680412371134013</c:v>
                </c:pt>
                <c:pt idx="10">
                  <c:v>1.2091310751104558</c:v>
                </c:pt>
                <c:pt idx="11">
                  <c:v>1.1001472754050075</c:v>
                </c:pt>
                <c:pt idx="12">
                  <c:v>0.98969072164948435</c:v>
                </c:pt>
                <c:pt idx="13">
                  <c:v>0.92783505154639168</c:v>
                </c:pt>
                <c:pt idx="14">
                  <c:v>1.3416789396170843</c:v>
                </c:pt>
                <c:pt idx="15">
                  <c:v>1.4285714285714284</c:v>
                </c:pt>
                <c:pt idx="16">
                  <c:v>1.4123711340206178</c:v>
                </c:pt>
                <c:pt idx="17">
                  <c:v>1.3814432989690713</c:v>
                </c:pt>
                <c:pt idx="18">
                  <c:v>1.4359351988217972</c:v>
                </c:pt>
                <c:pt idx="19">
                  <c:v>1.565537555228278</c:v>
                </c:pt>
              </c:numCache>
            </c:numRef>
          </c:val>
          <c:smooth val="1"/>
          <c:extLst>
            <c:ext xmlns:c16="http://schemas.microsoft.com/office/drawing/2014/chart" uri="{C3380CC4-5D6E-409C-BE32-E72D297353CC}">
              <c16:uniqueId val="{00000001-EE1F-42CF-8172-C764E7871F9E}"/>
            </c:ext>
          </c:extLst>
        </c:ser>
        <c:dLbls>
          <c:showLegendKey val="0"/>
          <c:showVal val="0"/>
          <c:showCatName val="0"/>
          <c:showSerName val="0"/>
          <c:showPercent val="0"/>
          <c:showBubbleSize val="0"/>
        </c:dLbls>
        <c:smooth val="0"/>
        <c:axId val="831629328"/>
        <c:axId val="1069910368"/>
      </c:lineChart>
      <c:dateAx>
        <c:axId val="831629328"/>
        <c:scaling>
          <c:orientation val="minMax"/>
        </c:scaling>
        <c:delete val="0"/>
        <c:axPos val="b"/>
        <c:numFmt formatCode="mmm\-yy" sourceLinked="1"/>
        <c:majorTickMark val="out"/>
        <c:minorTickMark val="none"/>
        <c:tickLblPos val="nextTo"/>
        <c:spPr>
          <a:noFill/>
          <a:ln w="12700" cap="flat" cmpd="sng" algn="ctr">
            <a:solidFill>
              <a:schemeClr val="tx1">
                <a:tint val="75000"/>
              </a:schemeClr>
            </a:solidFill>
            <a:prstDash val="solid"/>
            <a:round/>
          </a:ln>
          <a:effectLst/>
        </c:spPr>
        <c:txPr>
          <a:bodyPr rot="-60000000" spcFirstLastPara="1" vertOverflow="ellipsis" vert="horz" wrap="square" anchor="ctr" anchorCtr="1"/>
          <a:lstStyle/>
          <a:p>
            <a:pPr>
              <a:defRPr sz="1200" b="0" i="0" u="none" strike="noStrike" kern="1200" baseline="0">
                <a:solidFill>
                  <a:schemeClr val="bg1"/>
                </a:solidFill>
                <a:latin typeface="Arial" panose="020B0604020202020204" pitchFamily="34" charset="0"/>
                <a:ea typeface="Helvetica Neue" panose="02000503000000020004" pitchFamily="2" charset="0"/>
                <a:cs typeface="Arial" panose="020B0604020202020204" pitchFamily="34" charset="0"/>
              </a:defRPr>
            </a:pPr>
            <a:endParaRPr lang="en-US"/>
          </a:p>
        </c:txPr>
        <c:crossAx val="1069910368"/>
        <c:crosses val="autoZero"/>
        <c:auto val="1"/>
        <c:lblOffset val="100"/>
        <c:baseTimeUnit val="months"/>
        <c:majorUnit val="3"/>
        <c:majorTimeUnit val="months"/>
      </c:dateAx>
      <c:valAx>
        <c:axId val="1069910368"/>
        <c:scaling>
          <c:orientation val="minMax"/>
          <c:max val="1.6"/>
          <c:min val="0.75000000000000011"/>
        </c:scaling>
        <c:delete val="0"/>
        <c:axPos val="l"/>
        <c:majorGridlines>
          <c:spPr>
            <a:ln w="6350" cap="flat" cmpd="sng" algn="ctr">
              <a:noFill/>
              <a:prstDash val="solid"/>
              <a:round/>
            </a:ln>
            <a:effectLst/>
          </c:spPr>
        </c:majorGridlines>
        <c:numFmt formatCode="0%" sourceLinked="0"/>
        <c:majorTickMark val="out"/>
        <c:minorTickMark val="none"/>
        <c:tickLblPos val="nextTo"/>
        <c:spPr>
          <a:noFill/>
          <a:ln w="12700" cap="flat" cmpd="sng" algn="ctr">
            <a:noFill/>
            <a:prstDash val="solid"/>
            <a:round/>
          </a:ln>
          <a:effectLst/>
        </c:spPr>
        <c:txPr>
          <a:bodyPr rot="-60000000" spcFirstLastPara="1" vertOverflow="ellipsis" vert="horz" wrap="square" anchor="ctr" anchorCtr="1"/>
          <a:lstStyle/>
          <a:p>
            <a:pPr>
              <a:defRPr sz="1200" b="0" i="0" u="none" strike="noStrike" kern="1200" baseline="0">
                <a:solidFill>
                  <a:schemeClr val="bg1"/>
                </a:solidFill>
                <a:latin typeface="Arial" panose="020B0604020202020204" pitchFamily="34" charset="0"/>
                <a:ea typeface="Helvetica Neue" panose="02000503000000020004" pitchFamily="2" charset="0"/>
                <a:cs typeface="Arial" panose="020B0604020202020204" pitchFamily="34" charset="0"/>
              </a:defRPr>
            </a:pPr>
            <a:endParaRPr lang="en-US"/>
          </a:p>
        </c:txPr>
        <c:crossAx val="831629328"/>
        <c:crossesAt val="1"/>
        <c:crossBetween val="midCat"/>
        <c:majorUnit val="0.25"/>
      </c:valAx>
      <c:spPr>
        <a:noFill/>
        <a:ln>
          <a:noFill/>
        </a:ln>
        <a:effectLst/>
      </c:spPr>
    </c:plotArea>
    <c:legend>
      <c:legendPos val="l"/>
      <c:layout>
        <c:manualLayout>
          <c:xMode val="edge"/>
          <c:yMode val="edge"/>
          <c:x val="0.1098353130317801"/>
          <c:y val="0.13538701318141946"/>
          <c:w val="0.15913147714840581"/>
          <c:h val="0.17419825783119536"/>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Arial" panose="020B0604020202020204" pitchFamily="34" charset="0"/>
              <a:ea typeface="Helvetica Neue" panose="02000503000000020004" pitchFamily="2" charset="0"/>
              <a:cs typeface="Arial" panose="020B0604020202020204" pitchFamily="34" charset="0"/>
            </a:defRPr>
          </a:pPr>
          <a:endParaRPr lang="en-US"/>
        </a:p>
      </c:txPr>
    </c:legend>
    <c:plotVisOnly val="1"/>
    <c:dispBlanksAs val="gap"/>
    <c:showDLblsOverMax val="0"/>
  </c:chart>
  <c:spPr>
    <a:noFill/>
    <a:ln w="6350" cap="flat" cmpd="sng" algn="ctr">
      <a:noFill/>
      <a:prstDash val="solid"/>
      <a:round/>
    </a:ln>
    <a:effectLst/>
  </c:spPr>
  <c:txPr>
    <a:bodyPr/>
    <a:lstStyle/>
    <a:p>
      <a:pPr>
        <a:defRPr sz="1100">
          <a:solidFill>
            <a:schemeClr val="bg1"/>
          </a:solidFill>
          <a:latin typeface="Arial" panose="020B0604020202020204" pitchFamily="34" charset="0"/>
          <a:ea typeface="Helvetica Neue" panose="02000503000000020004" pitchFamily="2" charset="0"/>
          <a:cs typeface="Arial" panose="020B0604020202020204" pitchFamily="34" charset="0"/>
        </a:defRPr>
      </a:pPr>
      <a:endParaRPr lang="en-US"/>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75896607665967"/>
          <c:y val="0.12643678391214752"/>
          <c:w val="0.81011318529065068"/>
          <c:h val="0.80396706534337659"/>
        </c:manualLayout>
      </c:layout>
      <c:areaChart>
        <c:grouping val="standard"/>
        <c:varyColors val="0"/>
        <c:ser>
          <c:idx val="26"/>
          <c:order val="26"/>
          <c:tx>
            <c:strRef>
              <c:f>Daily!$AG$1</c:f>
              <c:strCache>
                <c:ptCount val="1"/>
                <c:pt idx="0">
                  <c:v>Turnover</c:v>
                </c:pt>
              </c:strCache>
            </c:strRef>
          </c:tx>
          <c:spPr>
            <a:solidFill>
              <a:srgbClr val="61C0BA"/>
            </a:solidFill>
            <a:ln>
              <a:noFill/>
            </a:ln>
            <a:effectLst/>
          </c:spPr>
          <c:cat>
            <c:numRef>
              <c:f>Daily!$A$2:$A$1000</c:f>
              <c:numCache>
                <c:formatCode>d\-mmm\-yy</c:formatCode>
                <c:ptCount val="999"/>
                <c:pt idx="0">
                  <c:v>45128</c:v>
                </c:pt>
                <c:pt idx="1">
                  <c:v>45131</c:v>
                </c:pt>
                <c:pt idx="2">
                  <c:v>45132</c:v>
                </c:pt>
                <c:pt idx="3">
                  <c:v>45133</c:v>
                </c:pt>
                <c:pt idx="4">
                  <c:v>45134</c:v>
                </c:pt>
                <c:pt idx="5">
                  <c:v>45135</c:v>
                </c:pt>
                <c:pt idx="6">
                  <c:v>45138</c:v>
                </c:pt>
                <c:pt idx="7">
                  <c:v>45139</c:v>
                </c:pt>
                <c:pt idx="8">
                  <c:v>45140</c:v>
                </c:pt>
                <c:pt idx="9">
                  <c:v>45141</c:v>
                </c:pt>
                <c:pt idx="10">
                  <c:v>45142</c:v>
                </c:pt>
                <c:pt idx="11">
                  <c:v>45145</c:v>
                </c:pt>
                <c:pt idx="12">
                  <c:v>45146</c:v>
                </c:pt>
                <c:pt idx="13">
                  <c:v>45147</c:v>
                </c:pt>
                <c:pt idx="14">
                  <c:v>45148</c:v>
                </c:pt>
                <c:pt idx="15">
                  <c:v>45149</c:v>
                </c:pt>
                <c:pt idx="16">
                  <c:v>45152</c:v>
                </c:pt>
                <c:pt idx="17">
                  <c:v>45153</c:v>
                </c:pt>
                <c:pt idx="18">
                  <c:v>45154</c:v>
                </c:pt>
                <c:pt idx="19">
                  <c:v>45155</c:v>
                </c:pt>
                <c:pt idx="20">
                  <c:v>45156</c:v>
                </c:pt>
                <c:pt idx="21">
                  <c:v>45159</c:v>
                </c:pt>
                <c:pt idx="22">
                  <c:v>45160</c:v>
                </c:pt>
                <c:pt idx="23">
                  <c:v>45161</c:v>
                </c:pt>
                <c:pt idx="24">
                  <c:v>45162</c:v>
                </c:pt>
                <c:pt idx="25">
                  <c:v>45163</c:v>
                </c:pt>
                <c:pt idx="26">
                  <c:v>45166</c:v>
                </c:pt>
                <c:pt idx="27">
                  <c:v>45167</c:v>
                </c:pt>
                <c:pt idx="28">
                  <c:v>45168</c:v>
                </c:pt>
                <c:pt idx="29">
                  <c:v>45169</c:v>
                </c:pt>
                <c:pt idx="30">
                  <c:v>45170</c:v>
                </c:pt>
                <c:pt idx="31">
                  <c:v>45173</c:v>
                </c:pt>
                <c:pt idx="32">
                  <c:v>45174</c:v>
                </c:pt>
                <c:pt idx="33">
                  <c:v>45175</c:v>
                </c:pt>
                <c:pt idx="34">
                  <c:v>45176</c:v>
                </c:pt>
                <c:pt idx="35">
                  <c:v>45177</c:v>
                </c:pt>
                <c:pt idx="36">
                  <c:v>45180</c:v>
                </c:pt>
                <c:pt idx="37">
                  <c:v>45181</c:v>
                </c:pt>
                <c:pt idx="38">
                  <c:v>45182</c:v>
                </c:pt>
                <c:pt idx="39">
                  <c:v>45183</c:v>
                </c:pt>
                <c:pt idx="40">
                  <c:v>45184</c:v>
                </c:pt>
                <c:pt idx="41">
                  <c:v>45187</c:v>
                </c:pt>
                <c:pt idx="42">
                  <c:v>45188</c:v>
                </c:pt>
                <c:pt idx="43">
                  <c:v>45189</c:v>
                </c:pt>
                <c:pt idx="44">
                  <c:v>45190</c:v>
                </c:pt>
                <c:pt idx="45">
                  <c:v>45191</c:v>
                </c:pt>
                <c:pt idx="46">
                  <c:v>45194</c:v>
                </c:pt>
                <c:pt idx="47">
                  <c:v>45195</c:v>
                </c:pt>
                <c:pt idx="48">
                  <c:v>45196</c:v>
                </c:pt>
                <c:pt idx="49">
                  <c:v>45197</c:v>
                </c:pt>
                <c:pt idx="50">
                  <c:v>45208</c:v>
                </c:pt>
                <c:pt idx="51">
                  <c:v>45209</c:v>
                </c:pt>
                <c:pt idx="52">
                  <c:v>45210</c:v>
                </c:pt>
                <c:pt idx="53">
                  <c:v>45211</c:v>
                </c:pt>
                <c:pt idx="54">
                  <c:v>45212</c:v>
                </c:pt>
                <c:pt idx="55">
                  <c:v>45215</c:v>
                </c:pt>
                <c:pt idx="56">
                  <c:v>45216</c:v>
                </c:pt>
                <c:pt idx="57">
                  <c:v>45217</c:v>
                </c:pt>
                <c:pt idx="58">
                  <c:v>45218</c:v>
                </c:pt>
                <c:pt idx="59">
                  <c:v>45219</c:v>
                </c:pt>
                <c:pt idx="60">
                  <c:v>45222</c:v>
                </c:pt>
                <c:pt idx="61">
                  <c:v>45223</c:v>
                </c:pt>
                <c:pt idx="62">
                  <c:v>45224</c:v>
                </c:pt>
                <c:pt idx="63">
                  <c:v>45225</c:v>
                </c:pt>
                <c:pt idx="64">
                  <c:v>45226</c:v>
                </c:pt>
                <c:pt idx="65">
                  <c:v>45229</c:v>
                </c:pt>
                <c:pt idx="66">
                  <c:v>45230</c:v>
                </c:pt>
                <c:pt idx="67">
                  <c:v>45231</c:v>
                </c:pt>
                <c:pt idx="68">
                  <c:v>45232</c:v>
                </c:pt>
                <c:pt idx="69">
                  <c:v>45233</c:v>
                </c:pt>
                <c:pt idx="70">
                  <c:v>45236</c:v>
                </c:pt>
                <c:pt idx="71">
                  <c:v>45237</c:v>
                </c:pt>
                <c:pt idx="72">
                  <c:v>45238</c:v>
                </c:pt>
                <c:pt idx="73">
                  <c:v>45239</c:v>
                </c:pt>
                <c:pt idx="74">
                  <c:v>45240</c:v>
                </c:pt>
                <c:pt idx="75">
                  <c:v>45243</c:v>
                </c:pt>
                <c:pt idx="76">
                  <c:v>45244</c:v>
                </c:pt>
                <c:pt idx="77">
                  <c:v>45245</c:v>
                </c:pt>
                <c:pt idx="78">
                  <c:v>45246</c:v>
                </c:pt>
                <c:pt idx="79">
                  <c:v>45247</c:v>
                </c:pt>
                <c:pt idx="80">
                  <c:v>45250</c:v>
                </c:pt>
                <c:pt idx="81">
                  <c:v>45251</c:v>
                </c:pt>
                <c:pt idx="82">
                  <c:v>45252</c:v>
                </c:pt>
                <c:pt idx="83">
                  <c:v>45253</c:v>
                </c:pt>
                <c:pt idx="84">
                  <c:v>45254</c:v>
                </c:pt>
                <c:pt idx="85">
                  <c:v>45257</c:v>
                </c:pt>
                <c:pt idx="86">
                  <c:v>45258</c:v>
                </c:pt>
                <c:pt idx="87">
                  <c:v>45259</c:v>
                </c:pt>
                <c:pt idx="88">
                  <c:v>45260</c:v>
                </c:pt>
                <c:pt idx="89">
                  <c:v>45261</c:v>
                </c:pt>
                <c:pt idx="90">
                  <c:v>45264</c:v>
                </c:pt>
                <c:pt idx="91">
                  <c:v>45265</c:v>
                </c:pt>
                <c:pt idx="92">
                  <c:v>45266</c:v>
                </c:pt>
                <c:pt idx="93">
                  <c:v>45267</c:v>
                </c:pt>
                <c:pt idx="94">
                  <c:v>45268</c:v>
                </c:pt>
                <c:pt idx="95">
                  <c:v>45271</c:v>
                </c:pt>
                <c:pt idx="96">
                  <c:v>45272</c:v>
                </c:pt>
                <c:pt idx="97">
                  <c:v>45273</c:v>
                </c:pt>
                <c:pt idx="98">
                  <c:v>45274</c:v>
                </c:pt>
                <c:pt idx="99">
                  <c:v>45275</c:v>
                </c:pt>
                <c:pt idx="100">
                  <c:v>45278</c:v>
                </c:pt>
                <c:pt idx="101">
                  <c:v>45279</c:v>
                </c:pt>
                <c:pt idx="102">
                  <c:v>45280</c:v>
                </c:pt>
                <c:pt idx="103">
                  <c:v>45281</c:v>
                </c:pt>
                <c:pt idx="104">
                  <c:v>45282</c:v>
                </c:pt>
                <c:pt idx="105">
                  <c:v>45285</c:v>
                </c:pt>
                <c:pt idx="106">
                  <c:v>45286</c:v>
                </c:pt>
                <c:pt idx="107">
                  <c:v>45287</c:v>
                </c:pt>
                <c:pt idx="108">
                  <c:v>45288</c:v>
                </c:pt>
                <c:pt idx="109">
                  <c:v>45289</c:v>
                </c:pt>
                <c:pt idx="110">
                  <c:v>45293</c:v>
                </c:pt>
                <c:pt idx="111">
                  <c:v>45294</c:v>
                </c:pt>
                <c:pt idx="112">
                  <c:v>45295</c:v>
                </c:pt>
                <c:pt idx="113">
                  <c:v>45296</c:v>
                </c:pt>
                <c:pt idx="114">
                  <c:v>45299</c:v>
                </c:pt>
                <c:pt idx="115">
                  <c:v>45300</c:v>
                </c:pt>
                <c:pt idx="116">
                  <c:v>45301</c:v>
                </c:pt>
                <c:pt idx="117">
                  <c:v>45302</c:v>
                </c:pt>
                <c:pt idx="118">
                  <c:v>45303</c:v>
                </c:pt>
                <c:pt idx="119">
                  <c:v>45306</c:v>
                </c:pt>
                <c:pt idx="120">
                  <c:v>45307</c:v>
                </c:pt>
                <c:pt idx="121">
                  <c:v>45308</c:v>
                </c:pt>
                <c:pt idx="122">
                  <c:v>45309</c:v>
                </c:pt>
                <c:pt idx="123">
                  <c:v>45310</c:v>
                </c:pt>
                <c:pt idx="124">
                  <c:v>45313</c:v>
                </c:pt>
                <c:pt idx="125">
                  <c:v>45314</c:v>
                </c:pt>
                <c:pt idx="126">
                  <c:v>45315</c:v>
                </c:pt>
                <c:pt idx="127">
                  <c:v>45316</c:v>
                </c:pt>
                <c:pt idx="128">
                  <c:v>45317</c:v>
                </c:pt>
                <c:pt idx="129">
                  <c:v>45320</c:v>
                </c:pt>
                <c:pt idx="130">
                  <c:v>45321</c:v>
                </c:pt>
                <c:pt idx="131">
                  <c:v>45322</c:v>
                </c:pt>
                <c:pt idx="132">
                  <c:v>45323</c:v>
                </c:pt>
                <c:pt idx="133">
                  <c:v>45324</c:v>
                </c:pt>
                <c:pt idx="134">
                  <c:v>45327</c:v>
                </c:pt>
                <c:pt idx="135">
                  <c:v>45328</c:v>
                </c:pt>
                <c:pt idx="136">
                  <c:v>45329</c:v>
                </c:pt>
                <c:pt idx="137">
                  <c:v>45330</c:v>
                </c:pt>
                <c:pt idx="138">
                  <c:v>45341</c:v>
                </c:pt>
                <c:pt idx="139">
                  <c:v>45342</c:v>
                </c:pt>
                <c:pt idx="140">
                  <c:v>45343</c:v>
                </c:pt>
                <c:pt idx="141">
                  <c:v>45344</c:v>
                </c:pt>
                <c:pt idx="142">
                  <c:v>45345</c:v>
                </c:pt>
                <c:pt idx="143">
                  <c:v>45348</c:v>
                </c:pt>
                <c:pt idx="144">
                  <c:v>45349</c:v>
                </c:pt>
                <c:pt idx="145">
                  <c:v>45350</c:v>
                </c:pt>
                <c:pt idx="146">
                  <c:v>45351</c:v>
                </c:pt>
                <c:pt idx="147">
                  <c:v>45352</c:v>
                </c:pt>
                <c:pt idx="148">
                  <c:v>45355</c:v>
                </c:pt>
                <c:pt idx="149">
                  <c:v>45356</c:v>
                </c:pt>
                <c:pt idx="150">
                  <c:v>45357</c:v>
                </c:pt>
                <c:pt idx="151">
                  <c:v>45358</c:v>
                </c:pt>
                <c:pt idx="152">
                  <c:v>45359</c:v>
                </c:pt>
                <c:pt idx="153">
                  <c:v>45362</c:v>
                </c:pt>
                <c:pt idx="154">
                  <c:v>45363</c:v>
                </c:pt>
                <c:pt idx="155">
                  <c:v>45364</c:v>
                </c:pt>
                <c:pt idx="156">
                  <c:v>45365</c:v>
                </c:pt>
                <c:pt idx="157">
                  <c:v>45366</c:v>
                </c:pt>
                <c:pt idx="158">
                  <c:v>45369</c:v>
                </c:pt>
                <c:pt idx="159">
                  <c:v>45370</c:v>
                </c:pt>
                <c:pt idx="160">
                  <c:v>45371</c:v>
                </c:pt>
                <c:pt idx="161">
                  <c:v>45372</c:v>
                </c:pt>
                <c:pt idx="162">
                  <c:v>45373</c:v>
                </c:pt>
                <c:pt idx="163">
                  <c:v>45376</c:v>
                </c:pt>
                <c:pt idx="164">
                  <c:v>45377</c:v>
                </c:pt>
                <c:pt idx="165">
                  <c:v>45378</c:v>
                </c:pt>
                <c:pt idx="166">
                  <c:v>45379</c:v>
                </c:pt>
                <c:pt idx="167">
                  <c:v>45380</c:v>
                </c:pt>
                <c:pt idx="168">
                  <c:v>45383</c:v>
                </c:pt>
                <c:pt idx="169">
                  <c:v>45384</c:v>
                </c:pt>
                <c:pt idx="170">
                  <c:v>45385</c:v>
                </c:pt>
                <c:pt idx="171">
                  <c:v>45390</c:v>
                </c:pt>
                <c:pt idx="172">
                  <c:v>45391</c:v>
                </c:pt>
                <c:pt idx="173">
                  <c:v>45392</c:v>
                </c:pt>
                <c:pt idx="174">
                  <c:v>45393</c:v>
                </c:pt>
                <c:pt idx="175">
                  <c:v>45394</c:v>
                </c:pt>
                <c:pt idx="176">
                  <c:v>45397</c:v>
                </c:pt>
                <c:pt idx="177">
                  <c:v>45398</c:v>
                </c:pt>
                <c:pt idx="178">
                  <c:v>45399</c:v>
                </c:pt>
                <c:pt idx="179">
                  <c:v>45400</c:v>
                </c:pt>
                <c:pt idx="180">
                  <c:v>45401</c:v>
                </c:pt>
                <c:pt idx="181">
                  <c:v>45404</c:v>
                </c:pt>
                <c:pt idx="182">
                  <c:v>45405</c:v>
                </c:pt>
                <c:pt idx="183">
                  <c:v>45406</c:v>
                </c:pt>
                <c:pt idx="184">
                  <c:v>45407</c:v>
                </c:pt>
                <c:pt idx="185">
                  <c:v>45408</c:v>
                </c:pt>
                <c:pt idx="186">
                  <c:v>45411</c:v>
                </c:pt>
                <c:pt idx="187">
                  <c:v>45412</c:v>
                </c:pt>
                <c:pt idx="188">
                  <c:v>45418</c:v>
                </c:pt>
                <c:pt idx="189">
                  <c:v>45419</c:v>
                </c:pt>
                <c:pt idx="190">
                  <c:v>45420</c:v>
                </c:pt>
                <c:pt idx="191">
                  <c:v>45421</c:v>
                </c:pt>
                <c:pt idx="192">
                  <c:v>45422</c:v>
                </c:pt>
                <c:pt idx="193">
                  <c:v>45425</c:v>
                </c:pt>
                <c:pt idx="194">
                  <c:v>45426</c:v>
                </c:pt>
                <c:pt idx="195">
                  <c:v>45427</c:v>
                </c:pt>
                <c:pt idx="196">
                  <c:v>45428</c:v>
                </c:pt>
                <c:pt idx="197">
                  <c:v>45429</c:v>
                </c:pt>
                <c:pt idx="198">
                  <c:v>45432</c:v>
                </c:pt>
                <c:pt idx="199">
                  <c:v>45433</c:v>
                </c:pt>
                <c:pt idx="200">
                  <c:v>45434</c:v>
                </c:pt>
                <c:pt idx="201">
                  <c:v>45435</c:v>
                </c:pt>
                <c:pt idx="202">
                  <c:v>45436</c:v>
                </c:pt>
                <c:pt idx="203">
                  <c:v>45439</c:v>
                </c:pt>
                <c:pt idx="204">
                  <c:v>45440</c:v>
                </c:pt>
                <c:pt idx="205">
                  <c:v>45441</c:v>
                </c:pt>
                <c:pt idx="206">
                  <c:v>45442</c:v>
                </c:pt>
                <c:pt idx="207">
                  <c:v>45443</c:v>
                </c:pt>
                <c:pt idx="208">
                  <c:v>45446</c:v>
                </c:pt>
                <c:pt idx="209">
                  <c:v>45447</c:v>
                </c:pt>
                <c:pt idx="210">
                  <c:v>45448</c:v>
                </c:pt>
                <c:pt idx="211">
                  <c:v>45449</c:v>
                </c:pt>
                <c:pt idx="212">
                  <c:v>45450</c:v>
                </c:pt>
                <c:pt idx="213">
                  <c:v>45454</c:v>
                </c:pt>
                <c:pt idx="214">
                  <c:v>45455</c:v>
                </c:pt>
                <c:pt idx="215">
                  <c:v>45456</c:v>
                </c:pt>
                <c:pt idx="216">
                  <c:v>45457</c:v>
                </c:pt>
                <c:pt idx="217">
                  <c:v>45460</c:v>
                </c:pt>
                <c:pt idx="218">
                  <c:v>45461</c:v>
                </c:pt>
                <c:pt idx="219">
                  <c:v>45462</c:v>
                </c:pt>
                <c:pt idx="220">
                  <c:v>45463</c:v>
                </c:pt>
                <c:pt idx="221">
                  <c:v>45464</c:v>
                </c:pt>
                <c:pt idx="222">
                  <c:v>45467</c:v>
                </c:pt>
                <c:pt idx="223">
                  <c:v>45468</c:v>
                </c:pt>
                <c:pt idx="224">
                  <c:v>45469</c:v>
                </c:pt>
                <c:pt idx="225">
                  <c:v>45470</c:v>
                </c:pt>
                <c:pt idx="226">
                  <c:v>45471</c:v>
                </c:pt>
                <c:pt idx="227">
                  <c:v>45474</c:v>
                </c:pt>
                <c:pt idx="228">
                  <c:v>45475</c:v>
                </c:pt>
                <c:pt idx="229">
                  <c:v>45476</c:v>
                </c:pt>
                <c:pt idx="230">
                  <c:v>45477</c:v>
                </c:pt>
                <c:pt idx="231">
                  <c:v>45478</c:v>
                </c:pt>
                <c:pt idx="232">
                  <c:v>45481</c:v>
                </c:pt>
                <c:pt idx="233">
                  <c:v>45482</c:v>
                </c:pt>
                <c:pt idx="234">
                  <c:v>45483</c:v>
                </c:pt>
                <c:pt idx="235">
                  <c:v>45484</c:v>
                </c:pt>
                <c:pt idx="236">
                  <c:v>45485</c:v>
                </c:pt>
                <c:pt idx="237">
                  <c:v>45488</c:v>
                </c:pt>
                <c:pt idx="238">
                  <c:v>45489</c:v>
                </c:pt>
                <c:pt idx="239">
                  <c:v>45490</c:v>
                </c:pt>
                <c:pt idx="240">
                  <c:v>45491</c:v>
                </c:pt>
                <c:pt idx="241">
                  <c:v>45492</c:v>
                </c:pt>
                <c:pt idx="242">
                  <c:v>45495</c:v>
                </c:pt>
                <c:pt idx="243">
                  <c:v>45496</c:v>
                </c:pt>
                <c:pt idx="244">
                  <c:v>45497</c:v>
                </c:pt>
                <c:pt idx="245">
                  <c:v>45498</c:v>
                </c:pt>
                <c:pt idx="246">
                  <c:v>45499</c:v>
                </c:pt>
                <c:pt idx="247">
                  <c:v>45502</c:v>
                </c:pt>
                <c:pt idx="248">
                  <c:v>45503</c:v>
                </c:pt>
                <c:pt idx="249">
                  <c:v>45504</c:v>
                </c:pt>
                <c:pt idx="250">
                  <c:v>45505</c:v>
                </c:pt>
                <c:pt idx="251">
                  <c:v>45506</c:v>
                </c:pt>
                <c:pt idx="252">
                  <c:v>45509</c:v>
                </c:pt>
                <c:pt idx="253">
                  <c:v>45510</c:v>
                </c:pt>
                <c:pt idx="254">
                  <c:v>45511</c:v>
                </c:pt>
                <c:pt idx="255">
                  <c:v>45512</c:v>
                </c:pt>
                <c:pt idx="256">
                  <c:v>45513</c:v>
                </c:pt>
                <c:pt idx="257">
                  <c:v>45516</c:v>
                </c:pt>
                <c:pt idx="258">
                  <c:v>45517</c:v>
                </c:pt>
                <c:pt idx="259">
                  <c:v>45518</c:v>
                </c:pt>
                <c:pt idx="260">
                  <c:v>45519</c:v>
                </c:pt>
                <c:pt idx="261">
                  <c:v>45520</c:v>
                </c:pt>
                <c:pt idx="262">
                  <c:v>45523</c:v>
                </c:pt>
                <c:pt idx="263">
                  <c:v>45524</c:v>
                </c:pt>
                <c:pt idx="264">
                  <c:v>45525</c:v>
                </c:pt>
                <c:pt idx="265">
                  <c:v>45526</c:v>
                </c:pt>
                <c:pt idx="266">
                  <c:v>45527</c:v>
                </c:pt>
                <c:pt idx="267">
                  <c:v>45530</c:v>
                </c:pt>
                <c:pt idx="268">
                  <c:v>45531</c:v>
                </c:pt>
                <c:pt idx="269">
                  <c:v>45532</c:v>
                </c:pt>
                <c:pt idx="270">
                  <c:v>45533</c:v>
                </c:pt>
                <c:pt idx="271">
                  <c:v>45534</c:v>
                </c:pt>
                <c:pt idx="272">
                  <c:v>45537</c:v>
                </c:pt>
                <c:pt idx="273">
                  <c:v>45538</c:v>
                </c:pt>
                <c:pt idx="274">
                  <c:v>45539</c:v>
                </c:pt>
                <c:pt idx="275">
                  <c:v>45540</c:v>
                </c:pt>
                <c:pt idx="276">
                  <c:v>45541</c:v>
                </c:pt>
                <c:pt idx="277">
                  <c:v>45544</c:v>
                </c:pt>
                <c:pt idx="278">
                  <c:v>45545</c:v>
                </c:pt>
                <c:pt idx="279">
                  <c:v>45546</c:v>
                </c:pt>
                <c:pt idx="280">
                  <c:v>45547</c:v>
                </c:pt>
                <c:pt idx="281">
                  <c:v>45548</c:v>
                </c:pt>
                <c:pt idx="282">
                  <c:v>45553</c:v>
                </c:pt>
                <c:pt idx="283">
                  <c:v>45554</c:v>
                </c:pt>
                <c:pt idx="284">
                  <c:v>45555</c:v>
                </c:pt>
                <c:pt idx="285">
                  <c:v>45558</c:v>
                </c:pt>
                <c:pt idx="286">
                  <c:v>45559</c:v>
                </c:pt>
                <c:pt idx="287">
                  <c:v>45560</c:v>
                </c:pt>
                <c:pt idx="288">
                  <c:v>45561</c:v>
                </c:pt>
                <c:pt idx="289">
                  <c:v>45562</c:v>
                </c:pt>
                <c:pt idx="290">
                  <c:v>45565</c:v>
                </c:pt>
                <c:pt idx="291">
                  <c:v>45573</c:v>
                </c:pt>
                <c:pt idx="292">
                  <c:v>45574</c:v>
                </c:pt>
                <c:pt idx="293">
                  <c:v>45575</c:v>
                </c:pt>
                <c:pt idx="294">
                  <c:v>45576</c:v>
                </c:pt>
                <c:pt idx="295">
                  <c:v>45579</c:v>
                </c:pt>
                <c:pt idx="296">
                  <c:v>45580</c:v>
                </c:pt>
                <c:pt idx="297">
                  <c:v>45581</c:v>
                </c:pt>
                <c:pt idx="298">
                  <c:v>45582</c:v>
                </c:pt>
                <c:pt idx="299">
                  <c:v>45583</c:v>
                </c:pt>
                <c:pt idx="300">
                  <c:v>45586</c:v>
                </c:pt>
                <c:pt idx="301">
                  <c:v>45587</c:v>
                </c:pt>
                <c:pt idx="302">
                  <c:v>45588</c:v>
                </c:pt>
                <c:pt idx="303">
                  <c:v>45589</c:v>
                </c:pt>
                <c:pt idx="304">
                  <c:v>45590</c:v>
                </c:pt>
                <c:pt idx="305">
                  <c:v>45593</c:v>
                </c:pt>
                <c:pt idx="306">
                  <c:v>45594</c:v>
                </c:pt>
                <c:pt idx="307">
                  <c:v>45595</c:v>
                </c:pt>
                <c:pt idx="308">
                  <c:v>45596</c:v>
                </c:pt>
                <c:pt idx="309">
                  <c:v>45597</c:v>
                </c:pt>
                <c:pt idx="310">
                  <c:v>45600</c:v>
                </c:pt>
                <c:pt idx="311">
                  <c:v>45601</c:v>
                </c:pt>
                <c:pt idx="312">
                  <c:v>45602</c:v>
                </c:pt>
                <c:pt idx="313">
                  <c:v>45603</c:v>
                </c:pt>
                <c:pt idx="314">
                  <c:v>45604</c:v>
                </c:pt>
                <c:pt idx="315">
                  <c:v>45607</c:v>
                </c:pt>
                <c:pt idx="316">
                  <c:v>45608</c:v>
                </c:pt>
                <c:pt idx="317">
                  <c:v>45609</c:v>
                </c:pt>
                <c:pt idx="318">
                  <c:v>45610</c:v>
                </c:pt>
                <c:pt idx="319">
                  <c:v>45611</c:v>
                </c:pt>
                <c:pt idx="320">
                  <c:v>45614</c:v>
                </c:pt>
                <c:pt idx="321">
                  <c:v>45615</c:v>
                </c:pt>
                <c:pt idx="322">
                  <c:v>45616</c:v>
                </c:pt>
                <c:pt idx="323">
                  <c:v>45617</c:v>
                </c:pt>
                <c:pt idx="324">
                  <c:v>45618</c:v>
                </c:pt>
                <c:pt idx="325">
                  <c:v>45621</c:v>
                </c:pt>
                <c:pt idx="326">
                  <c:v>45622</c:v>
                </c:pt>
                <c:pt idx="327">
                  <c:v>45623</c:v>
                </c:pt>
                <c:pt idx="328">
                  <c:v>45624</c:v>
                </c:pt>
                <c:pt idx="329">
                  <c:v>45625</c:v>
                </c:pt>
                <c:pt idx="330">
                  <c:v>45628</c:v>
                </c:pt>
                <c:pt idx="331">
                  <c:v>45629</c:v>
                </c:pt>
                <c:pt idx="332">
                  <c:v>45630</c:v>
                </c:pt>
                <c:pt idx="333">
                  <c:v>45631</c:v>
                </c:pt>
                <c:pt idx="334">
                  <c:v>45632</c:v>
                </c:pt>
                <c:pt idx="335">
                  <c:v>45635</c:v>
                </c:pt>
                <c:pt idx="336">
                  <c:v>45636</c:v>
                </c:pt>
                <c:pt idx="337">
                  <c:v>45637</c:v>
                </c:pt>
                <c:pt idx="338">
                  <c:v>45638</c:v>
                </c:pt>
                <c:pt idx="339">
                  <c:v>45639</c:v>
                </c:pt>
                <c:pt idx="340">
                  <c:v>45642</c:v>
                </c:pt>
                <c:pt idx="341">
                  <c:v>45643</c:v>
                </c:pt>
                <c:pt idx="342">
                  <c:v>45644</c:v>
                </c:pt>
                <c:pt idx="343">
                  <c:v>45645</c:v>
                </c:pt>
                <c:pt idx="344">
                  <c:v>45646</c:v>
                </c:pt>
                <c:pt idx="345">
                  <c:v>45649</c:v>
                </c:pt>
                <c:pt idx="346">
                  <c:v>45650</c:v>
                </c:pt>
                <c:pt idx="347">
                  <c:v>45651</c:v>
                </c:pt>
                <c:pt idx="348">
                  <c:v>45652</c:v>
                </c:pt>
                <c:pt idx="349">
                  <c:v>45653</c:v>
                </c:pt>
                <c:pt idx="350">
                  <c:v>45656</c:v>
                </c:pt>
                <c:pt idx="351">
                  <c:v>45657</c:v>
                </c:pt>
                <c:pt idx="352">
                  <c:v>45659</c:v>
                </c:pt>
                <c:pt idx="353">
                  <c:v>45660</c:v>
                </c:pt>
                <c:pt idx="354">
                  <c:v>45663</c:v>
                </c:pt>
                <c:pt idx="355">
                  <c:v>45664</c:v>
                </c:pt>
                <c:pt idx="356">
                  <c:v>45665</c:v>
                </c:pt>
                <c:pt idx="357">
                  <c:v>45666</c:v>
                </c:pt>
                <c:pt idx="358">
                  <c:v>45667</c:v>
                </c:pt>
                <c:pt idx="359">
                  <c:v>45670</c:v>
                </c:pt>
                <c:pt idx="360">
                  <c:v>45671</c:v>
                </c:pt>
                <c:pt idx="361">
                  <c:v>45672</c:v>
                </c:pt>
                <c:pt idx="362">
                  <c:v>45673</c:v>
                </c:pt>
                <c:pt idx="363">
                  <c:v>45674</c:v>
                </c:pt>
                <c:pt idx="364">
                  <c:v>45677</c:v>
                </c:pt>
                <c:pt idx="365">
                  <c:v>45678</c:v>
                </c:pt>
                <c:pt idx="366">
                  <c:v>45679</c:v>
                </c:pt>
                <c:pt idx="367">
                  <c:v>45680</c:v>
                </c:pt>
                <c:pt idx="368">
                  <c:v>45681</c:v>
                </c:pt>
                <c:pt idx="369">
                  <c:v>45684</c:v>
                </c:pt>
                <c:pt idx="370">
                  <c:v>45693</c:v>
                </c:pt>
                <c:pt idx="371">
                  <c:v>45694</c:v>
                </c:pt>
                <c:pt idx="372">
                  <c:v>45695</c:v>
                </c:pt>
                <c:pt idx="373">
                  <c:v>45698</c:v>
                </c:pt>
                <c:pt idx="374">
                  <c:v>45699</c:v>
                </c:pt>
                <c:pt idx="375">
                  <c:v>45700</c:v>
                </c:pt>
                <c:pt idx="376">
                  <c:v>45701</c:v>
                </c:pt>
                <c:pt idx="377">
                  <c:v>45702</c:v>
                </c:pt>
                <c:pt idx="378">
                  <c:v>45705</c:v>
                </c:pt>
                <c:pt idx="379">
                  <c:v>45706</c:v>
                </c:pt>
                <c:pt idx="380">
                  <c:v>45707</c:v>
                </c:pt>
                <c:pt idx="381">
                  <c:v>45708</c:v>
                </c:pt>
                <c:pt idx="382">
                  <c:v>45709</c:v>
                </c:pt>
                <c:pt idx="383">
                  <c:v>45712</c:v>
                </c:pt>
                <c:pt idx="384">
                  <c:v>45713</c:v>
                </c:pt>
                <c:pt idx="385">
                  <c:v>45714</c:v>
                </c:pt>
                <c:pt idx="386">
                  <c:v>45715</c:v>
                </c:pt>
                <c:pt idx="387">
                  <c:v>45716</c:v>
                </c:pt>
                <c:pt idx="388">
                  <c:v>45719</c:v>
                </c:pt>
                <c:pt idx="389">
                  <c:v>45720</c:v>
                </c:pt>
                <c:pt idx="390">
                  <c:v>45721</c:v>
                </c:pt>
                <c:pt idx="391">
                  <c:v>45722</c:v>
                </c:pt>
                <c:pt idx="392">
                  <c:v>45723</c:v>
                </c:pt>
                <c:pt idx="393">
                  <c:v>45726</c:v>
                </c:pt>
                <c:pt idx="394">
                  <c:v>45727</c:v>
                </c:pt>
                <c:pt idx="395">
                  <c:v>45728</c:v>
                </c:pt>
                <c:pt idx="396">
                  <c:v>45729</c:v>
                </c:pt>
                <c:pt idx="397">
                  <c:v>45730</c:v>
                </c:pt>
                <c:pt idx="398">
                  <c:v>45733</c:v>
                </c:pt>
                <c:pt idx="399">
                  <c:v>45734</c:v>
                </c:pt>
                <c:pt idx="400">
                  <c:v>45735</c:v>
                </c:pt>
                <c:pt idx="401">
                  <c:v>45736</c:v>
                </c:pt>
                <c:pt idx="402">
                  <c:v>45737</c:v>
                </c:pt>
                <c:pt idx="403">
                  <c:v>45740</c:v>
                </c:pt>
                <c:pt idx="404">
                  <c:v>45741</c:v>
                </c:pt>
                <c:pt idx="405">
                  <c:v>45742</c:v>
                </c:pt>
                <c:pt idx="406">
                  <c:v>45743</c:v>
                </c:pt>
                <c:pt idx="407">
                  <c:v>45744</c:v>
                </c:pt>
                <c:pt idx="408">
                  <c:v>45747</c:v>
                </c:pt>
                <c:pt idx="409">
                  <c:v>45748</c:v>
                </c:pt>
                <c:pt idx="410">
                  <c:v>45749</c:v>
                </c:pt>
                <c:pt idx="411">
                  <c:v>45750</c:v>
                </c:pt>
                <c:pt idx="412">
                  <c:v>45754</c:v>
                </c:pt>
                <c:pt idx="413">
                  <c:v>45755</c:v>
                </c:pt>
                <c:pt idx="414">
                  <c:v>45756</c:v>
                </c:pt>
                <c:pt idx="415">
                  <c:v>45757</c:v>
                </c:pt>
                <c:pt idx="416">
                  <c:v>45758</c:v>
                </c:pt>
                <c:pt idx="417">
                  <c:v>45761</c:v>
                </c:pt>
                <c:pt idx="418">
                  <c:v>45762</c:v>
                </c:pt>
                <c:pt idx="419">
                  <c:v>45763</c:v>
                </c:pt>
                <c:pt idx="420">
                  <c:v>45764</c:v>
                </c:pt>
                <c:pt idx="421">
                  <c:v>45765</c:v>
                </c:pt>
                <c:pt idx="422">
                  <c:v>45768</c:v>
                </c:pt>
                <c:pt idx="423">
                  <c:v>45769</c:v>
                </c:pt>
                <c:pt idx="424">
                  <c:v>45770</c:v>
                </c:pt>
                <c:pt idx="425">
                  <c:v>45771</c:v>
                </c:pt>
                <c:pt idx="426">
                  <c:v>45772</c:v>
                </c:pt>
                <c:pt idx="427">
                  <c:v>45775</c:v>
                </c:pt>
                <c:pt idx="428">
                  <c:v>45776</c:v>
                </c:pt>
                <c:pt idx="429">
                  <c:v>45777</c:v>
                </c:pt>
                <c:pt idx="430">
                  <c:v>45783</c:v>
                </c:pt>
                <c:pt idx="431">
                  <c:v>45784</c:v>
                </c:pt>
                <c:pt idx="432">
                  <c:v>45785</c:v>
                </c:pt>
                <c:pt idx="433">
                  <c:v>45786</c:v>
                </c:pt>
                <c:pt idx="434">
                  <c:v>45789</c:v>
                </c:pt>
                <c:pt idx="435">
                  <c:v>45790</c:v>
                </c:pt>
                <c:pt idx="436">
                  <c:v>45791</c:v>
                </c:pt>
                <c:pt idx="437">
                  <c:v>45792</c:v>
                </c:pt>
                <c:pt idx="438">
                  <c:v>45793</c:v>
                </c:pt>
                <c:pt idx="439">
                  <c:v>45796</c:v>
                </c:pt>
                <c:pt idx="440">
                  <c:v>45797</c:v>
                </c:pt>
                <c:pt idx="441">
                  <c:v>45798</c:v>
                </c:pt>
                <c:pt idx="442">
                  <c:v>45799</c:v>
                </c:pt>
                <c:pt idx="443">
                  <c:v>45800</c:v>
                </c:pt>
                <c:pt idx="444">
                  <c:v>45803</c:v>
                </c:pt>
                <c:pt idx="445">
                  <c:v>45804</c:v>
                </c:pt>
                <c:pt idx="446">
                  <c:v>45805</c:v>
                </c:pt>
                <c:pt idx="447">
                  <c:v>45806</c:v>
                </c:pt>
                <c:pt idx="448">
                  <c:v>45807</c:v>
                </c:pt>
                <c:pt idx="449">
                  <c:v>45811</c:v>
                </c:pt>
                <c:pt idx="450">
                  <c:v>45812</c:v>
                </c:pt>
                <c:pt idx="451">
                  <c:v>45813</c:v>
                </c:pt>
                <c:pt idx="452">
                  <c:v>45814</c:v>
                </c:pt>
                <c:pt idx="453">
                  <c:v>45817</c:v>
                </c:pt>
                <c:pt idx="454">
                  <c:v>45818</c:v>
                </c:pt>
                <c:pt idx="455">
                  <c:v>45819</c:v>
                </c:pt>
                <c:pt idx="456">
                  <c:v>45820</c:v>
                </c:pt>
                <c:pt idx="457">
                  <c:v>45821</c:v>
                </c:pt>
                <c:pt idx="458">
                  <c:v>45824</c:v>
                </c:pt>
                <c:pt idx="459">
                  <c:v>45825</c:v>
                </c:pt>
                <c:pt idx="460">
                  <c:v>45826</c:v>
                </c:pt>
                <c:pt idx="461">
                  <c:v>45827</c:v>
                </c:pt>
                <c:pt idx="462">
                  <c:v>45828</c:v>
                </c:pt>
                <c:pt idx="463">
                  <c:v>45831</c:v>
                </c:pt>
                <c:pt idx="464">
                  <c:v>45832</c:v>
                </c:pt>
                <c:pt idx="465">
                  <c:v>45833</c:v>
                </c:pt>
                <c:pt idx="466">
                  <c:v>45834</c:v>
                </c:pt>
                <c:pt idx="467">
                  <c:v>45835</c:v>
                </c:pt>
                <c:pt idx="468">
                  <c:v>45838</c:v>
                </c:pt>
                <c:pt idx="469">
                  <c:v>45839</c:v>
                </c:pt>
                <c:pt idx="470">
                  <c:v>45840</c:v>
                </c:pt>
                <c:pt idx="471">
                  <c:v>45841</c:v>
                </c:pt>
                <c:pt idx="472">
                  <c:v>45842</c:v>
                </c:pt>
                <c:pt idx="473">
                  <c:v>45845</c:v>
                </c:pt>
                <c:pt idx="474">
                  <c:v>45846</c:v>
                </c:pt>
                <c:pt idx="475">
                  <c:v>45847</c:v>
                </c:pt>
                <c:pt idx="476">
                  <c:v>45848</c:v>
                </c:pt>
                <c:pt idx="477">
                  <c:v>45849</c:v>
                </c:pt>
                <c:pt idx="478">
                  <c:v>45852</c:v>
                </c:pt>
                <c:pt idx="479">
                  <c:v>45853</c:v>
                </c:pt>
                <c:pt idx="480">
                  <c:v>45854</c:v>
                </c:pt>
                <c:pt idx="481">
                  <c:v>45855</c:v>
                </c:pt>
                <c:pt idx="482">
                  <c:v>45856</c:v>
                </c:pt>
                <c:pt idx="483">
                  <c:v>45859</c:v>
                </c:pt>
                <c:pt idx="484">
                  <c:v>45860</c:v>
                </c:pt>
                <c:pt idx="485">
                  <c:v>45861</c:v>
                </c:pt>
                <c:pt idx="486">
                  <c:v>45862</c:v>
                </c:pt>
                <c:pt idx="487">
                  <c:v>45863</c:v>
                </c:pt>
                <c:pt idx="488">
                  <c:v>45866</c:v>
                </c:pt>
                <c:pt idx="489">
                  <c:v>45867</c:v>
                </c:pt>
                <c:pt idx="490">
                  <c:v>45868</c:v>
                </c:pt>
                <c:pt idx="491">
                  <c:v>45869</c:v>
                </c:pt>
                <c:pt idx="492">
                  <c:v>45870</c:v>
                </c:pt>
                <c:pt idx="493">
                  <c:v>45873</c:v>
                </c:pt>
                <c:pt idx="494">
                  <c:v>45874</c:v>
                </c:pt>
                <c:pt idx="495">
                  <c:v>45875</c:v>
                </c:pt>
                <c:pt idx="496">
                  <c:v>45876</c:v>
                </c:pt>
                <c:pt idx="497">
                  <c:v>45877</c:v>
                </c:pt>
                <c:pt idx="498">
                  <c:v>45880</c:v>
                </c:pt>
                <c:pt idx="499">
                  <c:v>45881</c:v>
                </c:pt>
                <c:pt idx="500">
                  <c:v>45882</c:v>
                </c:pt>
                <c:pt idx="501">
                  <c:v>45883</c:v>
                </c:pt>
                <c:pt idx="502">
                  <c:v>45884</c:v>
                </c:pt>
                <c:pt idx="503">
                  <c:v>45887</c:v>
                </c:pt>
                <c:pt idx="504">
                  <c:v>45888</c:v>
                </c:pt>
                <c:pt idx="505">
                  <c:v>45889</c:v>
                </c:pt>
                <c:pt idx="506">
                  <c:v>45890</c:v>
                </c:pt>
                <c:pt idx="507">
                  <c:v>45891</c:v>
                </c:pt>
                <c:pt idx="508">
                  <c:v>45894</c:v>
                </c:pt>
                <c:pt idx="509">
                  <c:v>45895</c:v>
                </c:pt>
                <c:pt idx="510">
                  <c:v>45896</c:v>
                </c:pt>
                <c:pt idx="511">
                  <c:v>45897</c:v>
                </c:pt>
                <c:pt idx="512">
                  <c:v>45898</c:v>
                </c:pt>
                <c:pt idx="513">
                  <c:v>45901</c:v>
                </c:pt>
                <c:pt idx="514">
                  <c:v>45902</c:v>
                </c:pt>
                <c:pt idx="515">
                  <c:v>45903</c:v>
                </c:pt>
                <c:pt idx="516">
                  <c:v>45904</c:v>
                </c:pt>
                <c:pt idx="517">
                  <c:v>45905</c:v>
                </c:pt>
                <c:pt idx="518">
                  <c:v>45908</c:v>
                </c:pt>
                <c:pt idx="519">
                  <c:v>45909</c:v>
                </c:pt>
                <c:pt idx="520">
                  <c:v>45910</c:v>
                </c:pt>
                <c:pt idx="521">
                  <c:v>45911</c:v>
                </c:pt>
                <c:pt idx="522">
                  <c:v>45912</c:v>
                </c:pt>
                <c:pt idx="523">
                  <c:v>45915</c:v>
                </c:pt>
                <c:pt idx="524">
                  <c:v>45916</c:v>
                </c:pt>
                <c:pt idx="525">
                  <c:v>45917</c:v>
                </c:pt>
                <c:pt idx="526">
                  <c:v>45918</c:v>
                </c:pt>
                <c:pt idx="527">
                  <c:v>45919</c:v>
                </c:pt>
                <c:pt idx="528">
                  <c:v>45922</c:v>
                </c:pt>
                <c:pt idx="529">
                  <c:v>45923</c:v>
                </c:pt>
                <c:pt idx="530">
                  <c:v>45924</c:v>
                </c:pt>
                <c:pt idx="531">
                  <c:v>45925</c:v>
                </c:pt>
                <c:pt idx="532">
                  <c:v>45926</c:v>
                </c:pt>
                <c:pt idx="533">
                  <c:v>45929</c:v>
                </c:pt>
                <c:pt idx="534">
                  <c:v>45930</c:v>
                </c:pt>
                <c:pt idx="535">
                  <c:v>45931</c:v>
                </c:pt>
                <c:pt idx="536">
                  <c:v>45932</c:v>
                </c:pt>
                <c:pt idx="537">
                  <c:v>45933</c:v>
                </c:pt>
                <c:pt idx="538">
                  <c:v>45936</c:v>
                </c:pt>
                <c:pt idx="539">
                  <c:v>45937</c:v>
                </c:pt>
                <c:pt idx="540">
                  <c:v>45938</c:v>
                </c:pt>
                <c:pt idx="541">
                  <c:v>45939</c:v>
                </c:pt>
                <c:pt idx="542">
                  <c:v>45940</c:v>
                </c:pt>
                <c:pt idx="543">
                  <c:v>45943</c:v>
                </c:pt>
                <c:pt idx="544">
                  <c:v>45944</c:v>
                </c:pt>
                <c:pt idx="545">
                  <c:v>45945</c:v>
                </c:pt>
                <c:pt idx="546">
                  <c:v>45946</c:v>
                </c:pt>
                <c:pt idx="547">
                  <c:v>45947</c:v>
                </c:pt>
                <c:pt idx="548">
                  <c:v>45950</c:v>
                </c:pt>
                <c:pt idx="549">
                  <c:v>45951</c:v>
                </c:pt>
                <c:pt idx="550">
                  <c:v>45952</c:v>
                </c:pt>
                <c:pt idx="551">
                  <c:v>45953</c:v>
                </c:pt>
                <c:pt idx="552">
                  <c:v>45954</c:v>
                </c:pt>
                <c:pt idx="553">
                  <c:v>45957</c:v>
                </c:pt>
                <c:pt idx="554">
                  <c:v>45958</c:v>
                </c:pt>
                <c:pt idx="555">
                  <c:v>45959</c:v>
                </c:pt>
                <c:pt idx="556">
                  <c:v>45960</c:v>
                </c:pt>
                <c:pt idx="557">
                  <c:v>45961</c:v>
                </c:pt>
                <c:pt idx="558">
                  <c:v>45964</c:v>
                </c:pt>
                <c:pt idx="559">
                  <c:v>45965</c:v>
                </c:pt>
                <c:pt idx="560">
                  <c:v>45966</c:v>
                </c:pt>
                <c:pt idx="561">
                  <c:v>45967</c:v>
                </c:pt>
                <c:pt idx="562">
                  <c:v>45968</c:v>
                </c:pt>
                <c:pt idx="563">
                  <c:v>45971</c:v>
                </c:pt>
                <c:pt idx="564">
                  <c:v>45972</c:v>
                </c:pt>
                <c:pt idx="565">
                  <c:v>45973</c:v>
                </c:pt>
                <c:pt idx="566">
                  <c:v>45974</c:v>
                </c:pt>
                <c:pt idx="567">
                  <c:v>45975</c:v>
                </c:pt>
                <c:pt idx="568">
                  <c:v>45978</c:v>
                </c:pt>
                <c:pt idx="569">
                  <c:v>45979</c:v>
                </c:pt>
                <c:pt idx="570">
                  <c:v>45980</c:v>
                </c:pt>
                <c:pt idx="571">
                  <c:v>45981</c:v>
                </c:pt>
                <c:pt idx="572">
                  <c:v>45982</c:v>
                </c:pt>
                <c:pt idx="573">
                  <c:v>45985</c:v>
                </c:pt>
                <c:pt idx="574">
                  <c:v>45986</c:v>
                </c:pt>
                <c:pt idx="575">
                  <c:v>45987</c:v>
                </c:pt>
                <c:pt idx="576">
                  <c:v>45988</c:v>
                </c:pt>
                <c:pt idx="577">
                  <c:v>45989</c:v>
                </c:pt>
                <c:pt idx="578">
                  <c:v>45992</c:v>
                </c:pt>
                <c:pt idx="579">
                  <c:v>45993</c:v>
                </c:pt>
                <c:pt idx="580">
                  <c:v>45994</c:v>
                </c:pt>
                <c:pt idx="581">
                  <c:v>45995</c:v>
                </c:pt>
                <c:pt idx="582">
                  <c:v>45996</c:v>
                </c:pt>
                <c:pt idx="583">
                  <c:v>45999</c:v>
                </c:pt>
                <c:pt idx="584">
                  <c:v>46000</c:v>
                </c:pt>
                <c:pt idx="585">
                  <c:v>46001</c:v>
                </c:pt>
                <c:pt idx="586">
                  <c:v>46002</c:v>
                </c:pt>
                <c:pt idx="587">
                  <c:v>46003</c:v>
                </c:pt>
                <c:pt idx="588">
                  <c:v>46006</c:v>
                </c:pt>
                <c:pt idx="589">
                  <c:v>46007</c:v>
                </c:pt>
                <c:pt idx="590">
                  <c:v>46008</c:v>
                </c:pt>
                <c:pt idx="591">
                  <c:v>46009</c:v>
                </c:pt>
                <c:pt idx="592">
                  <c:v>46010</c:v>
                </c:pt>
                <c:pt idx="593">
                  <c:v>46013</c:v>
                </c:pt>
                <c:pt idx="594">
                  <c:v>46014</c:v>
                </c:pt>
                <c:pt idx="595">
                  <c:v>46015</c:v>
                </c:pt>
                <c:pt idx="596">
                  <c:v>46016</c:v>
                </c:pt>
                <c:pt idx="597">
                  <c:v>46017</c:v>
                </c:pt>
                <c:pt idx="598">
                  <c:v>46020</c:v>
                </c:pt>
                <c:pt idx="599">
                  <c:v>46021</c:v>
                </c:pt>
                <c:pt idx="600">
                  <c:v>46022</c:v>
                </c:pt>
                <c:pt idx="601">
                  <c:v>46023</c:v>
                </c:pt>
                <c:pt idx="602">
                  <c:v>46024</c:v>
                </c:pt>
                <c:pt idx="603">
                  <c:v>46027</c:v>
                </c:pt>
                <c:pt idx="604">
                  <c:v>46028</c:v>
                </c:pt>
                <c:pt idx="605">
                  <c:v>46029</c:v>
                </c:pt>
                <c:pt idx="606">
                  <c:v>46030</c:v>
                </c:pt>
                <c:pt idx="607">
                  <c:v>46031</c:v>
                </c:pt>
                <c:pt idx="608">
                  <c:v>46034</c:v>
                </c:pt>
                <c:pt idx="609">
                  <c:v>46035</c:v>
                </c:pt>
                <c:pt idx="610">
                  <c:v>46036</c:v>
                </c:pt>
                <c:pt idx="611">
                  <c:v>46037</c:v>
                </c:pt>
                <c:pt idx="612">
                  <c:v>46038</c:v>
                </c:pt>
                <c:pt idx="613">
                  <c:v>46041</c:v>
                </c:pt>
                <c:pt idx="614">
                  <c:v>46042</c:v>
                </c:pt>
                <c:pt idx="615">
                  <c:v>46043</c:v>
                </c:pt>
                <c:pt idx="616">
                  <c:v>46044</c:v>
                </c:pt>
                <c:pt idx="617">
                  <c:v>46045</c:v>
                </c:pt>
                <c:pt idx="618">
                  <c:v>46048</c:v>
                </c:pt>
                <c:pt idx="619">
                  <c:v>46049</c:v>
                </c:pt>
                <c:pt idx="620">
                  <c:v>46050</c:v>
                </c:pt>
                <c:pt idx="621">
                  <c:v>46051</c:v>
                </c:pt>
                <c:pt idx="622">
                  <c:v>46052</c:v>
                </c:pt>
                <c:pt idx="623">
                  <c:v>46055</c:v>
                </c:pt>
                <c:pt idx="624">
                  <c:v>46056</c:v>
                </c:pt>
                <c:pt idx="625">
                  <c:v>46057</c:v>
                </c:pt>
                <c:pt idx="626">
                  <c:v>46058</c:v>
                </c:pt>
                <c:pt idx="627">
                  <c:v>46059</c:v>
                </c:pt>
                <c:pt idx="628">
                  <c:v>46062</c:v>
                </c:pt>
                <c:pt idx="629">
                  <c:v>46063</c:v>
                </c:pt>
                <c:pt idx="630">
                  <c:v>46064</c:v>
                </c:pt>
                <c:pt idx="631">
                  <c:v>46065</c:v>
                </c:pt>
                <c:pt idx="632">
                  <c:v>46066</c:v>
                </c:pt>
                <c:pt idx="633">
                  <c:v>46069</c:v>
                </c:pt>
                <c:pt idx="634">
                  <c:v>46070</c:v>
                </c:pt>
                <c:pt idx="635">
                  <c:v>46071</c:v>
                </c:pt>
                <c:pt idx="636">
                  <c:v>46072</c:v>
                </c:pt>
                <c:pt idx="637">
                  <c:v>46073</c:v>
                </c:pt>
                <c:pt idx="638">
                  <c:v>46076</c:v>
                </c:pt>
                <c:pt idx="639">
                  <c:v>46077</c:v>
                </c:pt>
                <c:pt idx="640">
                  <c:v>46078</c:v>
                </c:pt>
                <c:pt idx="641">
                  <c:v>46079</c:v>
                </c:pt>
                <c:pt idx="642">
                  <c:v>46080</c:v>
                </c:pt>
                <c:pt idx="643">
                  <c:v>46083</c:v>
                </c:pt>
                <c:pt idx="644">
                  <c:v>46084</c:v>
                </c:pt>
                <c:pt idx="645">
                  <c:v>46085</c:v>
                </c:pt>
                <c:pt idx="646">
                  <c:v>46086</c:v>
                </c:pt>
                <c:pt idx="647">
                  <c:v>46087</c:v>
                </c:pt>
                <c:pt idx="648">
                  <c:v>46090</c:v>
                </c:pt>
                <c:pt idx="649">
                  <c:v>46091</c:v>
                </c:pt>
                <c:pt idx="650">
                  <c:v>46092</c:v>
                </c:pt>
                <c:pt idx="651">
                  <c:v>46093</c:v>
                </c:pt>
                <c:pt idx="652">
                  <c:v>46094</c:v>
                </c:pt>
                <c:pt idx="653">
                  <c:v>46097</c:v>
                </c:pt>
                <c:pt idx="654">
                  <c:v>46098</c:v>
                </c:pt>
                <c:pt idx="655">
                  <c:v>46099</c:v>
                </c:pt>
                <c:pt idx="656">
                  <c:v>46100</c:v>
                </c:pt>
                <c:pt idx="657">
                  <c:v>46101</c:v>
                </c:pt>
                <c:pt idx="658">
                  <c:v>46104</c:v>
                </c:pt>
                <c:pt idx="659">
                  <c:v>46105</c:v>
                </c:pt>
                <c:pt idx="660">
                  <c:v>46106</c:v>
                </c:pt>
                <c:pt idx="661">
                  <c:v>46107</c:v>
                </c:pt>
                <c:pt idx="662">
                  <c:v>46108</c:v>
                </c:pt>
                <c:pt idx="663">
                  <c:v>46111</c:v>
                </c:pt>
                <c:pt idx="664">
                  <c:v>46112</c:v>
                </c:pt>
                <c:pt idx="665">
                  <c:v>46113</c:v>
                </c:pt>
                <c:pt idx="666">
                  <c:v>46114</c:v>
                </c:pt>
                <c:pt idx="667">
                  <c:v>46115</c:v>
                </c:pt>
                <c:pt idx="668">
                  <c:v>46118</c:v>
                </c:pt>
                <c:pt idx="669">
                  <c:v>46119</c:v>
                </c:pt>
                <c:pt idx="670">
                  <c:v>46120</c:v>
                </c:pt>
                <c:pt idx="671">
                  <c:v>46121</c:v>
                </c:pt>
                <c:pt idx="672">
                  <c:v>46122</c:v>
                </c:pt>
                <c:pt idx="673">
                  <c:v>46125</c:v>
                </c:pt>
                <c:pt idx="674">
                  <c:v>46126</c:v>
                </c:pt>
                <c:pt idx="675">
                  <c:v>46127</c:v>
                </c:pt>
                <c:pt idx="676">
                  <c:v>46128</c:v>
                </c:pt>
                <c:pt idx="677">
                  <c:v>46129</c:v>
                </c:pt>
                <c:pt idx="678">
                  <c:v>46132</c:v>
                </c:pt>
                <c:pt idx="679">
                  <c:v>46133</c:v>
                </c:pt>
                <c:pt idx="680">
                  <c:v>46134</c:v>
                </c:pt>
                <c:pt idx="681">
                  <c:v>46135</c:v>
                </c:pt>
                <c:pt idx="682">
                  <c:v>46136</c:v>
                </c:pt>
                <c:pt idx="683">
                  <c:v>46139</c:v>
                </c:pt>
                <c:pt idx="684">
                  <c:v>46140</c:v>
                </c:pt>
                <c:pt idx="685">
                  <c:v>46141</c:v>
                </c:pt>
                <c:pt idx="686">
                  <c:v>46142</c:v>
                </c:pt>
                <c:pt idx="687">
                  <c:v>46143</c:v>
                </c:pt>
                <c:pt idx="688">
                  <c:v>46146</c:v>
                </c:pt>
                <c:pt idx="689">
                  <c:v>46147</c:v>
                </c:pt>
                <c:pt idx="690">
                  <c:v>46148</c:v>
                </c:pt>
                <c:pt idx="691">
                  <c:v>46149</c:v>
                </c:pt>
                <c:pt idx="692">
                  <c:v>46150</c:v>
                </c:pt>
                <c:pt idx="693">
                  <c:v>46153</c:v>
                </c:pt>
                <c:pt idx="694">
                  <c:v>46154</c:v>
                </c:pt>
                <c:pt idx="695">
                  <c:v>46155</c:v>
                </c:pt>
                <c:pt idx="696">
                  <c:v>46156</c:v>
                </c:pt>
                <c:pt idx="697">
                  <c:v>46157</c:v>
                </c:pt>
                <c:pt idx="698">
                  <c:v>46160</c:v>
                </c:pt>
                <c:pt idx="699">
                  <c:v>46161</c:v>
                </c:pt>
                <c:pt idx="700">
                  <c:v>46162</c:v>
                </c:pt>
                <c:pt idx="701">
                  <c:v>46163</c:v>
                </c:pt>
                <c:pt idx="702">
                  <c:v>46164</c:v>
                </c:pt>
                <c:pt idx="703">
                  <c:v>46167</c:v>
                </c:pt>
                <c:pt idx="704">
                  <c:v>46168</c:v>
                </c:pt>
                <c:pt idx="705">
                  <c:v>46169</c:v>
                </c:pt>
                <c:pt idx="706">
                  <c:v>46170</c:v>
                </c:pt>
                <c:pt idx="707">
                  <c:v>46171</c:v>
                </c:pt>
                <c:pt idx="708">
                  <c:v>46174</c:v>
                </c:pt>
                <c:pt idx="709">
                  <c:v>46175</c:v>
                </c:pt>
                <c:pt idx="710">
                  <c:v>46176</c:v>
                </c:pt>
                <c:pt idx="711">
                  <c:v>46177</c:v>
                </c:pt>
                <c:pt idx="712">
                  <c:v>46178</c:v>
                </c:pt>
                <c:pt idx="713">
                  <c:v>46181</c:v>
                </c:pt>
                <c:pt idx="714">
                  <c:v>46182</c:v>
                </c:pt>
                <c:pt idx="715">
                  <c:v>46183</c:v>
                </c:pt>
                <c:pt idx="716">
                  <c:v>46184</c:v>
                </c:pt>
                <c:pt idx="717">
                  <c:v>46185</c:v>
                </c:pt>
                <c:pt idx="718">
                  <c:v>46188</c:v>
                </c:pt>
                <c:pt idx="719">
                  <c:v>46189</c:v>
                </c:pt>
                <c:pt idx="720">
                  <c:v>46190</c:v>
                </c:pt>
                <c:pt idx="721">
                  <c:v>46191</c:v>
                </c:pt>
                <c:pt idx="722">
                  <c:v>46192</c:v>
                </c:pt>
                <c:pt idx="723">
                  <c:v>46195</c:v>
                </c:pt>
                <c:pt idx="724">
                  <c:v>46196</c:v>
                </c:pt>
                <c:pt idx="725">
                  <c:v>46197</c:v>
                </c:pt>
                <c:pt idx="726">
                  <c:v>46198</c:v>
                </c:pt>
                <c:pt idx="727">
                  <c:v>46199</c:v>
                </c:pt>
                <c:pt idx="728">
                  <c:v>46202</c:v>
                </c:pt>
                <c:pt idx="729">
                  <c:v>46203</c:v>
                </c:pt>
                <c:pt idx="730">
                  <c:v>46204</c:v>
                </c:pt>
                <c:pt idx="731">
                  <c:v>46205</c:v>
                </c:pt>
                <c:pt idx="732">
                  <c:v>46206</c:v>
                </c:pt>
                <c:pt idx="733">
                  <c:v>46209</c:v>
                </c:pt>
                <c:pt idx="734">
                  <c:v>46210</c:v>
                </c:pt>
                <c:pt idx="735">
                  <c:v>46211</c:v>
                </c:pt>
                <c:pt idx="736">
                  <c:v>46212</c:v>
                </c:pt>
                <c:pt idx="737">
                  <c:v>46213</c:v>
                </c:pt>
                <c:pt idx="738">
                  <c:v>46216</c:v>
                </c:pt>
                <c:pt idx="739">
                  <c:v>46217</c:v>
                </c:pt>
                <c:pt idx="740">
                  <c:v>46218</c:v>
                </c:pt>
                <c:pt idx="741">
                  <c:v>46219</c:v>
                </c:pt>
                <c:pt idx="742">
                  <c:v>46220</c:v>
                </c:pt>
                <c:pt idx="743">
                  <c:v>46223</c:v>
                </c:pt>
                <c:pt idx="744">
                  <c:v>46224</c:v>
                </c:pt>
                <c:pt idx="745">
                  <c:v>46225</c:v>
                </c:pt>
                <c:pt idx="746">
                  <c:v>46226</c:v>
                </c:pt>
                <c:pt idx="747">
                  <c:v>46227</c:v>
                </c:pt>
                <c:pt idx="748">
                  <c:v>46230</c:v>
                </c:pt>
                <c:pt idx="749">
                  <c:v>46231</c:v>
                </c:pt>
                <c:pt idx="750">
                  <c:v>46232</c:v>
                </c:pt>
                <c:pt idx="751">
                  <c:v>46233</c:v>
                </c:pt>
                <c:pt idx="752">
                  <c:v>46234</c:v>
                </c:pt>
                <c:pt idx="753">
                  <c:v>46237</c:v>
                </c:pt>
                <c:pt idx="754">
                  <c:v>46238</c:v>
                </c:pt>
                <c:pt idx="755">
                  <c:v>46239</c:v>
                </c:pt>
                <c:pt idx="756">
                  <c:v>46240</c:v>
                </c:pt>
                <c:pt idx="757">
                  <c:v>46241</c:v>
                </c:pt>
                <c:pt idx="758">
                  <c:v>46244</c:v>
                </c:pt>
                <c:pt idx="759">
                  <c:v>46245</c:v>
                </c:pt>
                <c:pt idx="760">
                  <c:v>46246</c:v>
                </c:pt>
                <c:pt idx="761">
                  <c:v>46247</c:v>
                </c:pt>
                <c:pt idx="762">
                  <c:v>46248</c:v>
                </c:pt>
                <c:pt idx="763">
                  <c:v>46251</c:v>
                </c:pt>
                <c:pt idx="764">
                  <c:v>46252</c:v>
                </c:pt>
                <c:pt idx="765">
                  <c:v>46253</c:v>
                </c:pt>
                <c:pt idx="766">
                  <c:v>46254</c:v>
                </c:pt>
                <c:pt idx="767">
                  <c:v>46255</c:v>
                </c:pt>
                <c:pt idx="768">
                  <c:v>46258</c:v>
                </c:pt>
                <c:pt idx="769">
                  <c:v>46259</c:v>
                </c:pt>
                <c:pt idx="770">
                  <c:v>46260</c:v>
                </c:pt>
                <c:pt idx="771">
                  <c:v>46261</c:v>
                </c:pt>
                <c:pt idx="772">
                  <c:v>46262</c:v>
                </c:pt>
                <c:pt idx="773">
                  <c:v>46265</c:v>
                </c:pt>
                <c:pt idx="774">
                  <c:v>46266</c:v>
                </c:pt>
                <c:pt idx="775">
                  <c:v>46267</c:v>
                </c:pt>
                <c:pt idx="776">
                  <c:v>46268</c:v>
                </c:pt>
                <c:pt idx="777">
                  <c:v>46269</c:v>
                </c:pt>
                <c:pt idx="778">
                  <c:v>46272</c:v>
                </c:pt>
                <c:pt idx="779">
                  <c:v>46273</c:v>
                </c:pt>
                <c:pt idx="780">
                  <c:v>46274</c:v>
                </c:pt>
                <c:pt idx="781">
                  <c:v>46275</c:v>
                </c:pt>
                <c:pt idx="782">
                  <c:v>46276</c:v>
                </c:pt>
                <c:pt idx="783">
                  <c:v>46279</c:v>
                </c:pt>
                <c:pt idx="784">
                  <c:v>46280</c:v>
                </c:pt>
                <c:pt idx="785">
                  <c:v>46281</c:v>
                </c:pt>
                <c:pt idx="786">
                  <c:v>46282</c:v>
                </c:pt>
                <c:pt idx="787">
                  <c:v>46283</c:v>
                </c:pt>
                <c:pt idx="788">
                  <c:v>46286</c:v>
                </c:pt>
                <c:pt idx="789">
                  <c:v>46287</c:v>
                </c:pt>
                <c:pt idx="790">
                  <c:v>46288</c:v>
                </c:pt>
                <c:pt idx="791">
                  <c:v>46289</c:v>
                </c:pt>
                <c:pt idx="792">
                  <c:v>46290</c:v>
                </c:pt>
                <c:pt idx="793">
                  <c:v>46293</c:v>
                </c:pt>
                <c:pt idx="794">
                  <c:v>46294</c:v>
                </c:pt>
                <c:pt idx="795">
                  <c:v>46295</c:v>
                </c:pt>
                <c:pt idx="796">
                  <c:v>46296</c:v>
                </c:pt>
                <c:pt idx="797">
                  <c:v>46297</c:v>
                </c:pt>
                <c:pt idx="798">
                  <c:v>46300</c:v>
                </c:pt>
                <c:pt idx="799">
                  <c:v>46301</c:v>
                </c:pt>
                <c:pt idx="800">
                  <c:v>46302</c:v>
                </c:pt>
                <c:pt idx="801">
                  <c:v>46303</c:v>
                </c:pt>
                <c:pt idx="802">
                  <c:v>46304</c:v>
                </c:pt>
                <c:pt idx="803">
                  <c:v>46307</c:v>
                </c:pt>
                <c:pt idx="804">
                  <c:v>46308</c:v>
                </c:pt>
                <c:pt idx="805">
                  <c:v>46309</c:v>
                </c:pt>
                <c:pt idx="806">
                  <c:v>46310</c:v>
                </c:pt>
                <c:pt idx="807">
                  <c:v>46311</c:v>
                </c:pt>
                <c:pt idx="808">
                  <c:v>46314</c:v>
                </c:pt>
                <c:pt idx="809">
                  <c:v>46315</c:v>
                </c:pt>
                <c:pt idx="810">
                  <c:v>46316</c:v>
                </c:pt>
                <c:pt idx="811">
                  <c:v>46317</c:v>
                </c:pt>
                <c:pt idx="812">
                  <c:v>46318</c:v>
                </c:pt>
                <c:pt idx="813">
                  <c:v>46321</c:v>
                </c:pt>
                <c:pt idx="814">
                  <c:v>46322</c:v>
                </c:pt>
                <c:pt idx="815">
                  <c:v>46323</c:v>
                </c:pt>
                <c:pt idx="816">
                  <c:v>46324</c:v>
                </c:pt>
                <c:pt idx="817">
                  <c:v>46325</c:v>
                </c:pt>
                <c:pt idx="818">
                  <c:v>46328</c:v>
                </c:pt>
                <c:pt idx="819">
                  <c:v>46329</c:v>
                </c:pt>
                <c:pt idx="820">
                  <c:v>46330</c:v>
                </c:pt>
                <c:pt idx="821">
                  <c:v>46331</c:v>
                </c:pt>
                <c:pt idx="822">
                  <c:v>46332</c:v>
                </c:pt>
                <c:pt idx="823">
                  <c:v>46335</c:v>
                </c:pt>
                <c:pt idx="824">
                  <c:v>46336</c:v>
                </c:pt>
                <c:pt idx="825">
                  <c:v>46337</c:v>
                </c:pt>
                <c:pt idx="826">
                  <c:v>46338</c:v>
                </c:pt>
                <c:pt idx="827">
                  <c:v>46339</c:v>
                </c:pt>
                <c:pt idx="828">
                  <c:v>46342</c:v>
                </c:pt>
                <c:pt idx="829">
                  <c:v>46343</c:v>
                </c:pt>
                <c:pt idx="830">
                  <c:v>46344</c:v>
                </c:pt>
                <c:pt idx="831">
                  <c:v>46345</c:v>
                </c:pt>
                <c:pt idx="832">
                  <c:v>46346</c:v>
                </c:pt>
                <c:pt idx="833">
                  <c:v>46349</c:v>
                </c:pt>
                <c:pt idx="834">
                  <c:v>46350</c:v>
                </c:pt>
                <c:pt idx="835">
                  <c:v>46351</c:v>
                </c:pt>
                <c:pt idx="836">
                  <c:v>46352</c:v>
                </c:pt>
                <c:pt idx="837">
                  <c:v>46353</c:v>
                </c:pt>
                <c:pt idx="838">
                  <c:v>46356</c:v>
                </c:pt>
                <c:pt idx="839">
                  <c:v>46357</c:v>
                </c:pt>
                <c:pt idx="840">
                  <c:v>46358</c:v>
                </c:pt>
                <c:pt idx="841">
                  <c:v>46359</c:v>
                </c:pt>
                <c:pt idx="842">
                  <c:v>46360</c:v>
                </c:pt>
                <c:pt idx="843">
                  <c:v>46363</c:v>
                </c:pt>
                <c:pt idx="844">
                  <c:v>46364</c:v>
                </c:pt>
                <c:pt idx="845">
                  <c:v>46365</c:v>
                </c:pt>
                <c:pt idx="846">
                  <c:v>46366</c:v>
                </c:pt>
                <c:pt idx="847">
                  <c:v>46367</c:v>
                </c:pt>
                <c:pt idx="848">
                  <c:v>46370</c:v>
                </c:pt>
                <c:pt idx="849">
                  <c:v>46371</c:v>
                </c:pt>
                <c:pt idx="850">
                  <c:v>46372</c:v>
                </c:pt>
                <c:pt idx="851">
                  <c:v>46373</c:v>
                </c:pt>
                <c:pt idx="852">
                  <c:v>46374</c:v>
                </c:pt>
                <c:pt idx="853">
                  <c:v>46377</c:v>
                </c:pt>
                <c:pt idx="854">
                  <c:v>46378</c:v>
                </c:pt>
                <c:pt idx="855">
                  <c:v>46379</c:v>
                </c:pt>
                <c:pt idx="856">
                  <c:v>46380</c:v>
                </c:pt>
                <c:pt idx="857">
                  <c:v>46381</c:v>
                </c:pt>
                <c:pt idx="858">
                  <c:v>46384</c:v>
                </c:pt>
                <c:pt idx="859">
                  <c:v>46385</c:v>
                </c:pt>
                <c:pt idx="860">
                  <c:v>46386</c:v>
                </c:pt>
                <c:pt idx="861">
                  <c:v>46387</c:v>
                </c:pt>
                <c:pt idx="862">
                  <c:v>46388</c:v>
                </c:pt>
                <c:pt idx="863">
                  <c:v>46391</c:v>
                </c:pt>
                <c:pt idx="864">
                  <c:v>46392</c:v>
                </c:pt>
                <c:pt idx="865">
                  <c:v>46393</c:v>
                </c:pt>
                <c:pt idx="866">
                  <c:v>46394</c:v>
                </c:pt>
                <c:pt idx="867">
                  <c:v>46395</c:v>
                </c:pt>
                <c:pt idx="868">
                  <c:v>46398</c:v>
                </c:pt>
                <c:pt idx="869">
                  <c:v>46399</c:v>
                </c:pt>
                <c:pt idx="870">
                  <c:v>46400</c:v>
                </c:pt>
                <c:pt idx="871">
                  <c:v>46401</c:v>
                </c:pt>
                <c:pt idx="872">
                  <c:v>46402</c:v>
                </c:pt>
                <c:pt idx="873">
                  <c:v>46405</c:v>
                </c:pt>
                <c:pt idx="874">
                  <c:v>46406</c:v>
                </c:pt>
                <c:pt idx="875">
                  <c:v>46407</c:v>
                </c:pt>
                <c:pt idx="876">
                  <c:v>46408</c:v>
                </c:pt>
                <c:pt idx="877">
                  <c:v>46409</c:v>
                </c:pt>
                <c:pt idx="878">
                  <c:v>46412</c:v>
                </c:pt>
                <c:pt idx="879">
                  <c:v>46413</c:v>
                </c:pt>
                <c:pt idx="880">
                  <c:v>46414</c:v>
                </c:pt>
                <c:pt idx="881">
                  <c:v>46415</c:v>
                </c:pt>
                <c:pt idx="882">
                  <c:v>46416</c:v>
                </c:pt>
                <c:pt idx="883">
                  <c:v>46419</c:v>
                </c:pt>
                <c:pt idx="884">
                  <c:v>46420</c:v>
                </c:pt>
                <c:pt idx="885">
                  <c:v>46421</c:v>
                </c:pt>
                <c:pt idx="886">
                  <c:v>46422</c:v>
                </c:pt>
                <c:pt idx="887">
                  <c:v>46423</c:v>
                </c:pt>
                <c:pt idx="888">
                  <c:v>46426</c:v>
                </c:pt>
                <c:pt idx="889">
                  <c:v>46427</c:v>
                </c:pt>
                <c:pt idx="890">
                  <c:v>46428</c:v>
                </c:pt>
                <c:pt idx="891">
                  <c:v>46429</c:v>
                </c:pt>
                <c:pt idx="892">
                  <c:v>46430</c:v>
                </c:pt>
                <c:pt idx="893">
                  <c:v>46433</c:v>
                </c:pt>
                <c:pt idx="894">
                  <c:v>46434</c:v>
                </c:pt>
                <c:pt idx="895">
                  <c:v>46435</c:v>
                </c:pt>
                <c:pt idx="896">
                  <c:v>46436</c:v>
                </c:pt>
                <c:pt idx="897">
                  <c:v>46437</c:v>
                </c:pt>
                <c:pt idx="898">
                  <c:v>46440</c:v>
                </c:pt>
                <c:pt idx="899">
                  <c:v>46441</c:v>
                </c:pt>
                <c:pt idx="900">
                  <c:v>46442</c:v>
                </c:pt>
                <c:pt idx="901">
                  <c:v>46443</c:v>
                </c:pt>
                <c:pt idx="902">
                  <c:v>46444</c:v>
                </c:pt>
                <c:pt idx="903">
                  <c:v>46447</c:v>
                </c:pt>
                <c:pt idx="904">
                  <c:v>46448</c:v>
                </c:pt>
                <c:pt idx="905">
                  <c:v>46449</c:v>
                </c:pt>
                <c:pt idx="906">
                  <c:v>46450</c:v>
                </c:pt>
                <c:pt idx="907">
                  <c:v>46451</c:v>
                </c:pt>
                <c:pt idx="908">
                  <c:v>46454</c:v>
                </c:pt>
                <c:pt idx="909">
                  <c:v>46455</c:v>
                </c:pt>
                <c:pt idx="910">
                  <c:v>46456</c:v>
                </c:pt>
                <c:pt idx="911">
                  <c:v>46457</c:v>
                </c:pt>
                <c:pt idx="912">
                  <c:v>46458</c:v>
                </c:pt>
                <c:pt idx="913">
                  <c:v>46461</c:v>
                </c:pt>
                <c:pt idx="914">
                  <c:v>46462</c:v>
                </c:pt>
                <c:pt idx="915">
                  <c:v>46463</c:v>
                </c:pt>
                <c:pt idx="916">
                  <c:v>46464</c:v>
                </c:pt>
                <c:pt idx="917">
                  <c:v>46465</c:v>
                </c:pt>
                <c:pt idx="918">
                  <c:v>46468</c:v>
                </c:pt>
                <c:pt idx="919">
                  <c:v>46469</c:v>
                </c:pt>
                <c:pt idx="920">
                  <c:v>46470</c:v>
                </c:pt>
                <c:pt idx="921">
                  <c:v>46471</c:v>
                </c:pt>
                <c:pt idx="922">
                  <c:v>46472</c:v>
                </c:pt>
                <c:pt idx="923">
                  <c:v>46475</c:v>
                </c:pt>
                <c:pt idx="924">
                  <c:v>46476</c:v>
                </c:pt>
                <c:pt idx="925">
                  <c:v>46477</c:v>
                </c:pt>
                <c:pt idx="926">
                  <c:v>46478</c:v>
                </c:pt>
                <c:pt idx="927">
                  <c:v>46479</c:v>
                </c:pt>
                <c:pt idx="928">
                  <c:v>46482</c:v>
                </c:pt>
                <c:pt idx="929">
                  <c:v>46483</c:v>
                </c:pt>
                <c:pt idx="930">
                  <c:v>46484</c:v>
                </c:pt>
                <c:pt idx="931">
                  <c:v>46485</c:v>
                </c:pt>
                <c:pt idx="932">
                  <c:v>46486</c:v>
                </c:pt>
                <c:pt idx="933">
                  <c:v>46489</c:v>
                </c:pt>
                <c:pt idx="934">
                  <c:v>46490</c:v>
                </c:pt>
                <c:pt idx="935">
                  <c:v>46491</c:v>
                </c:pt>
                <c:pt idx="936">
                  <c:v>46492</c:v>
                </c:pt>
                <c:pt idx="937">
                  <c:v>46493</c:v>
                </c:pt>
                <c:pt idx="938">
                  <c:v>46496</c:v>
                </c:pt>
                <c:pt idx="939">
                  <c:v>46497</c:v>
                </c:pt>
                <c:pt idx="940">
                  <c:v>46498</c:v>
                </c:pt>
                <c:pt idx="941">
                  <c:v>46499</c:v>
                </c:pt>
                <c:pt idx="942">
                  <c:v>46500</c:v>
                </c:pt>
                <c:pt idx="943">
                  <c:v>46503</c:v>
                </c:pt>
                <c:pt idx="944">
                  <c:v>46504</c:v>
                </c:pt>
                <c:pt idx="945">
                  <c:v>46505</c:v>
                </c:pt>
                <c:pt idx="946">
                  <c:v>46506</c:v>
                </c:pt>
                <c:pt idx="947">
                  <c:v>46507</c:v>
                </c:pt>
                <c:pt idx="948">
                  <c:v>46510</c:v>
                </c:pt>
                <c:pt idx="949">
                  <c:v>46511</c:v>
                </c:pt>
                <c:pt idx="950">
                  <c:v>46512</c:v>
                </c:pt>
                <c:pt idx="951">
                  <c:v>46513</c:v>
                </c:pt>
                <c:pt idx="952">
                  <c:v>46514</c:v>
                </c:pt>
                <c:pt idx="953">
                  <c:v>46517</c:v>
                </c:pt>
                <c:pt idx="954">
                  <c:v>46518</c:v>
                </c:pt>
                <c:pt idx="955">
                  <c:v>46519</c:v>
                </c:pt>
                <c:pt idx="956">
                  <c:v>46520</c:v>
                </c:pt>
                <c:pt idx="957">
                  <c:v>46521</c:v>
                </c:pt>
                <c:pt idx="958">
                  <c:v>46524</c:v>
                </c:pt>
                <c:pt idx="959">
                  <c:v>46525</c:v>
                </c:pt>
                <c:pt idx="960">
                  <c:v>46526</c:v>
                </c:pt>
                <c:pt idx="961">
                  <c:v>46527</c:v>
                </c:pt>
                <c:pt idx="962">
                  <c:v>46528</c:v>
                </c:pt>
                <c:pt idx="963">
                  <c:v>46531</c:v>
                </c:pt>
                <c:pt idx="964">
                  <c:v>46532</c:v>
                </c:pt>
                <c:pt idx="965">
                  <c:v>46533</c:v>
                </c:pt>
                <c:pt idx="966">
                  <c:v>46534</c:v>
                </c:pt>
                <c:pt idx="967">
                  <c:v>46535</c:v>
                </c:pt>
                <c:pt idx="968">
                  <c:v>46538</c:v>
                </c:pt>
                <c:pt idx="969">
                  <c:v>46539</c:v>
                </c:pt>
                <c:pt idx="970">
                  <c:v>46540</c:v>
                </c:pt>
                <c:pt idx="971">
                  <c:v>46541</c:v>
                </c:pt>
                <c:pt idx="972">
                  <c:v>46542</c:v>
                </c:pt>
                <c:pt idx="973">
                  <c:v>46545</c:v>
                </c:pt>
                <c:pt idx="974">
                  <c:v>46546</c:v>
                </c:pt>
                <c:pt idx="975">
                  <c:v>46547</c:v>
                </c:pt>
                <c:pt idx="976">
                  <c:v>46548</c:v>
                </c:pt>
                <c:pt idx="977">
                  <c:v>46549</c:v>
                </c:pt>
                <c:pt idx="978">
                  <c:v>46552</c:v>
                </c:pt>
                <c:pt idx="979">
                  <c:v>46553</c:v>
                </c:pt>
                <c:pt idx="980">
                  <c:v>46554</c:v>
                </c:pt>
                <c:pt idx="981">
                  <c:v>46555</c:v>
                </c:pt>
                <c:pt idx="982">
                  <c:v>46556</c:v>
                </c:pt>
                <c:pt idx="983">
                  <c:v>46559</c:v>
                </c:pt>
                <c:pt idx="984">
                  <c:v>46560</c:v>
                </c:pt>
                <c:pt idx="985">
                  <c:v>46561</c:v>
                </c:pt>
                <c:pt idx="986">
                  <c:v>46562</c:v>
                </c:pt>
                <c:pt idx="987">
                  <c:v>46563</c:v>
                </c:pt>
                <c:pt idx="988">
                  <c:v>46566</c:v>
                </c:pt>
                <c:pt idx="989">
                  <c:v>46567</c:v>
                </c:pt>
                <c:pt idx="990">
                  <c:v>46568</c:v>
                </c:pt>
                <c:pt idx="991">
                  <c:v>46569</c:v>
                </c:pt>
                <c:pt idx="992">
                  <c:v>46570</c:v>
                </c:pt>
                <c:pt idx="993">
                  <c:v>46573</c:v>
                </c:pt>
                <c:pt idx="994">
                  <c:v>46574</c:v>
                </c:pt>
                <c:pt idx="995">
                  <c:v>46575</c:v>
                </c:pt>
                <c:pt idx="996">
                  <c:v>46576</c:v>
                </c:pt>
                <c:pt idx="997">
                  <c:v>46577</c:v>
                </c:pt>
                <c:pt idx="998">
                  <c:v>46580</c:v>
                </c:pt>
              </c:numCache>
            </c:numRef>
          </c:cat>
          <c:val>
            <c:numRef>
              <c:f>Daily!$AG$2:$AG$1000</c:f>
              <c:numCache>
                <c:formatCode>#,##0.00</c:formatCode>
                <c:ptCount val="999"/>
                <c:pt idx="0">
                  <c:v>14.410336299999999</c:v>
                </c:pt>
                <c:pt idx="1">
                  <c:v>11.1066161</c:v>
                </c:pt>
                <c:pt idx="2">
                  <c:v>16.208692800000001</c:v>
                </c:pt>
                <c:pt idx="3">
                  <c:v>25.10228365</c:v>
                </c:pt>
                <c:pt idx="4">
                  <c:v>11.0937851</c:v>
                </c:pt>
                <c:pt idx="5">
                  <c:v>10.41336645</c:v>
                </c:pt>
                <c:pt idx="6">
                  <c:v>8.2711077</c:v>
                </c:pt>
                <c:pt idx="7">
                  <c:v>5.0364965000000002</c:v>
                </c:pt>
                <c:pt idx="8">
                  <c:v>3.8651404</c:v>
                </c:pt>
                <c:pt idx="9">
                  <c:v>4.8630011</c:v>
                </c:pt>
                <c:pt idx="10">
                  <c:v>3.1678826</c:v>
                </c:pt>
                <c:pt idx="11">
                  <c:v>7.4196319500000003</c:v>
                </c:pt>
                <c:pt idx="12">
                  <c:v>6.9106523500000003</c:v>
                </c:pt>
                <c:pt idx="13">
                  <c:v>5.8481354000000003</c:v>
                </c:pt>
                <c:pt idx="14">
                  <c:v>7.2256996500000001</c:v>
                </c:pt>
                <c:pt idx="15">
                  <c:v>11.286591550000001</c:v>
                </c:pt>
                <c:pt idx="16">
                  <c:v>10.955650500000001</c:v>
                </c:pt>
                <c:pt idx="17">
                  <c:v>16.815971399999999</c:v>
                </c:pt>
                <c:pt idx="18">
                  <c:v>15.98098935</c:v>
                </c:pt>
                <c:pt idx="19">
                  <c:v>13.96067375</c:v>
                </c:pt>
                <c:pt idx="20">
                  <c:v>8.7567586500000001</c:v>
                </c:pt>
                <c:pt idx="21">
                  <c:v>12.4358805</c:v>
                </c:pt>
                <c:pt idx="22">
                  <c:v>11.52757175</c:v>
                </c:pt>
                <c:pt idx="23">
                  <c:v>8.3616244000000002</c:v>
                </c:pt>
                <c:pt idx="24">
                  <c:v>7.6494226000000003</c:v>
                </c:pt>
                <c:pt idx="25">
                  <c:v>7.7655524500000004</c:v>
                </c:pt>
                <c:pt idx="26">
                  <c:v>16.630150950000001</c:v>
                </c:pt>
                <c:pt idx="27">
                  <c:v>15.4903665</c:v>
                </c:pt>
                <c:pt idx="28">
                  <c:v>12.0810292</c:v>
                </c:pt>
                <c:pt idx="29">
                  <c:v>15.4060361</c:v>
                </c:pt>
                <c:pt idx="30">
                  <c:v>14.8977086</c:v>
                </c:pt>
                <c:pt idx="31">
                  <c:v>13.008244299999999</c:v>
                </c:pt>
                <c:pt idx="32">
                  <c:v>13.063682</c:v>
                </c:pt>
                <c:pt idx="33">
                  <c:v>8.9382362000000004</c:v>
                </c:pt>
                <c:pt idx="34">
                  <c:v>12.056042100000001</c:v>
                </c:pt>
                <c:pt idx="35">
                  <c:v>21.665988550000002</c:v>
                </c:pt>
                <c:pt idx="36">
                  <c:v>16.01400405</c:v>
                </c:pt>
                <c:pt idx="37">
                  <c:v>16.3773734</c:v>
                </c:pt>
                <c:pt idx="38">
                  <c:v>13.75058815</c:v>
                </c:pt>
                <c:pt idx="39">
                  <c:v>23.386435550000002</c:v>
                </c:pt>
                <c:pt idx="40">
                  <c:v>20.659815049999999</c:v>
                </c:pt>
                <c:pt idx="41">
                  <c:v>14.5967883</c:v>
                </c:pt>
                <c:pt idx="42">
                  <c:v>22.512971100000001</c:v>
                </c:pt>
                <c:pt idx="43">
                  <c:v>33.976114350000003</c:v>
                </c:pt>
                <c:pt idx="44">
                  <c:v>36.472466500000003</c:v>
                </c:pt>
                <c:pt idx="45">
                  <c:v>42.708139850000002</c:v>
                </c:pt>
                <c:pt idx="46">
                  <c:v>35.214011399999997</c:v>
                </c:pt>
                <c:pt idx="47">
                  <c:v>45.048459749999999</c:v>
                </c:pt>
                <c:pt idx="48">
                  <c:v>52.713771199999996</c:v>
                </c:pt>
                <c:pt idx="49">
                  <c:v>33.7857889</c:v>
                </c:pt>
                <c:pt idx="50">
                  <c:v>18.776329749999999</c:v>
                </c:pt>
                <c:pt idx="51">
                  <c:v>30.915498199999998</c:v>
                </c:pt>
                <c:pt idx="52">
                  <c:v>25.109956400000002</c:v>
                </c:pt>
                <c:pt idx="53">
                  <c:v>42.283645999999997</c:v>
                </c:pt>
                <c:pt idx="54">
                  <c:v>57.898923250000003</c:v>
                </c:pt>
                <c:pt idx="55">
                  <c:v>72.263163399999996</c:v>
                </c:pt>
                <c:pt idx="56">
                  <c:v>56.98690045</c:v>
                </c:pt>
                <c:pt idx="57">
                  <c:v>50.6379059</c:v>
                </c:pt>
                <c:pt idx="58">
                  <c:v>60.891405300000002</c:v>
                </c:pt>
                <c:pt idx="59">
                  <c:v>69.944514400000003</c:v>
                </c:pt>
                <c:pt idx="60">
                  <c:v>65.915909749999997</c:v>
                </c:pt>
                <c:pt idx="61">
                  <c:v>48.7200761</c:v>
                </c:pt>
                <c:pt idx="62">
                  <c:v>63.135410149999998</c:v>
                </c:pt>
                <c:pt idx="63">
                  <c:v>63.14433305</c:v>
                </c:pt>
                <c:pt idx="64">
                  <c:v>65.652588600000001</c:v>
                </c:pt>
                <c:pt idx="65">
                  <c:v>56.508504049999999</c:v>
                </c:pt>
                <c:pt idx="66">
                  <c:v>69.008567850000006</c:v>
                </c:pt>
                <c:pt idx="67">
                  <c:v>62.240372450000002</c:v>
                </c:pt>
                <c:pt idx="68">
                  <c:v>45.557764499999998</c:v>
                </c:pt>
                <c:pt idx="69">
                  <c:v>43.36875835</c:v>
                </c:pt>
                <c:pt idx="70">
                  <c:v>46.32901305</c:v>
                </c:pt>
                <c:pt idx="71">
                  <c:v>60.244678200000003</c:v>
                </c:pt>
                <c:pt idx="72">
                  <c:v>92.805982049999997</c:v>
                </c:pt>
                <c:pt idx="73">
                  <c:v>51.432634350000001</c:v>
                </c:pt>
                <c:pt idx="74">
                  <c:v>65.714809700000004</c:v>
                </c:pt>
                <c:pt idx="75">
                  <c:v>65.086778699999996</c:v>
                </c:pt>
                <c:pt idx="76">
                  <c:v>59.571140399999997</c:v>
                </c:pt>
                <c:pt idx="77">
                  <c:v>45.80052405</c:v>
                </c:pt>
                <c:pt idx="78">
                  <c:v>38.208403750000002</c:v>
                </c:pt>
                <c:pt idx="79">
                  <c:v>42.317524400000003</c:v>
                </c:pt>
                <c:pt idx="80">
                  <c:v>45.022643899999998</c:v>
                </c:pt>
                <c:pt idx="81">
                  <c:v>56.326036199999997</c:v>
                </c:pt>
                <c:pt idx="82">
                  <c:v>87.397241399999999</c:v>
                </c:pt>
                <c:pt idx="83">
                  <c:v>89.301026350000001</c:v>
                </c:pt>
                <c:pt idx="84">
                  <c:v>102.7010231</c:v>
                </c:pt>
                <c:pt idx="85">
                  <c:v>89.6350269</c:v>
                </c:pt>
                <c:pt idx="86">
                  <c:v>88.838963699999994</c:v>
                </c:pt>
                <c:pt idx="87">
                  <c:v>120.02958565</c:v>
                </c:pt>
                <c:pt idx="88">
                  <c:v>88.572872399999994</c:v>
                </c:pt>
                <c:pt idx="89">
                  <c:v>118.7433482</c:v>
                </c:pt>
                <c:pt idx="90">
                  <c:v>124.87767340000001</c:v>
                </c:pt>
                <c:pt idx="91">
                  <c:v>63.442341149999997</c:v>
                </c:pt>
                <c:pt idx="92">
                  <c:v>135.5621313</c:v>
                </c:pt>
                <c:pt idx="93">
                  <c:v>49.656167449999998</c:v>
                </c:pt>
                <c:pt idx="94">
                  <c:v>6.9661647999999996</c:v>
                </c:pt>
                <c:pt idx="95">
                  <c:v>139.21133470000001</c:v>
                </c:pt>
                <c:pt idx="96">
                  <c:v>77.952011499999998</c:v>
                </c:pt>
                <c:pt idx="97">
                  <c:v>90.545706100000004</c:v>
                </c:pt>
                <c:pt idx="98">
                  <c:v>114.88149735</c:v>
                </c:pt>
                <c:pt idx="99">
                  <c:v>67.820160000000001</c:v>
                </c:pt>
                <c:pt idx="100">
                  <c:v>59.290835649999998</c:v>
                </c:pt>
                <c:pt idx="101">
                  <c:v>30.470722049999999</c:v>
                </c:pt>
                <c:pt idx="102">
                  <c:v>20.00038705</c:v>
                </c:pt>
                <c:pt idx="103">
                  <c:v>37.478460300000002</c:v>
                </c:pt>
                <c:pt idx="104">
                  <c:v>38.277073350000002</c:v>
                </c:pt>
                <c:pt idx="105">
                  <c:v>19.333367849999998</c:v>
                </c:pt>
                <c:pt idx="106">
                  <c:v>34.3704842</c:v>
                </c:pt>
                <c:pt idx="107">
                  <c:v>33.952738949999997</c:v>
                </c:pt>
                <c:pt idx="108">
                  <c:v>18.95242155</c:v>
                </c:pt>
                <c:pt idx="109">
                  <c:v>26.635537599999999</c:v>
                </c:pt>
                <c:pt idx="110">
                  <c:v>18.740324749999999</c:v>
                </c:pt>
                <c:pt idx="111">
                  <c:v>16.073111050000001</c:v>
                </c:pt>
                <c:pt idx="112">
                  <c:v>23.867687249999999</c:v>
                </c:pt>
                <c:pt idx="113">
                  <c:v>20.778400550000001</c:v>
                </c:pt>
                <c:pt idx="114">
                  <c:v>18.369414599999999</c:v>
                </c:pt>
                <c:pt idx="115">
                  <c:v>23.369222350000001</c:v>
                </c:pt>
                <c:pt idx="116">
                  <c:v>11.989314800000001</c:v>
                </c:pt>
                <c:pt idx="117">
                  <c:v>25.027531799999998</c:v>
                </c:pt>
                <c:pt idx="118">
                  <c:v>16.805754400000001</c:v>
                </c:pt>
                <c:pt idx="119">
                  <c:v>12.0254931</c:v>
                </c:pt>
                <c:pt idx="120">
                  <c:v>12.881265600000001</c:v>
                </c:pt>
                <c:pt idx="121">
                  <c:v>15.52396355</c:v>
                </c:pt>
                <c:pt idx="122">
                  <c:v>14.490330999999999</c:v>
                </c:pt>
                <c:pt idx="123">
                  <c:v>10.0012721</c:v>
                </c:pt>
                <c:pt idx="124">
                  <c:v>13.0158366</c:v>
                </c:pt>
                <c:pt idx="125">
                  <c:v>11.21515245</c:v>
                </c:pt>
                <c:pt idx="126">
                  <c:v>8.6575059999999997</c:v>
                </c:pt>
                <c:pt idx="127">
                  <c:v>10.3963657</c:v>
                </c:pt>
                <c:pt idx="128">
                  <c:v>9.3690734500000001</c:v>
                </c:pt>
                <c:pt idx="129">
                  <c:v>8.8842625500000008</c:v>
                </c:pt>
                <c:pt idx="130">
                  <c:v>6.5508815</c:v>
                </c:pt>
                <c:pt idx="131">
                  <c:v>12.165891950000001</c:v>
                </c:pt>
                <c:pt idx="132">
                  <c:v>7.1339456500000002</c:v>
                </c:pt>
                <c:pt idx="133">
                  <c:v>8.5269355999999998</c:v>
                </c:pt>
                <c:pt idx="134">
                  <c:v>5.5689048000000003</c:v>
                </c:pt>
                <c:pt idx="135">
                  <c:v>13.532660249999999</c:v>
                </c:pt>
                <c:pt idx="136">
                  <c:v>5.1027448499999997</c:v>
                </c:pt>
                <c:pt idx="137">
                  <c:v>6.5693377999999996</c:v>
                </c:pt>
                <c:pt idx="138">
                  <c:v>7.4449129000000003</c:v>
                </c:pt>
                <c:pt idx="139">
                  <c:v>11.15959</c:v>
                </c:pt>
                <c:pt idx="140">
                  <c:v>34.944178149999999</c:v>
                </c:pt>
                <c:pt idx="141">
                  <c:v>12.60676525</c:v>
                </c:pt>
                <c:pt idx="142">
                  <c:v>23.278646200000001</c:v>
                </c:pt>
                <c:pt idx="143">
                  <c:v>24.649873599999999</c:v>
                </c:pt>
                <c:pt idx="144">
                  <c:v>29.470601250000001</c:v>
                </c:pt>
                <c:pt idx="145">
                  <c:v>46.132674000000002</c:v>
                </c:pt>
                <c:pt idx="146">
                  <c:v>75.32118595</c:v>
                </c:pt>
                <c:pt idx="147">
                  <c:v>57.424889200000003</c:v>
                </c:pt>
                <c:pt idx="148">
                  <c:v>87.314720800000003</c:v>
                </c:pt>
                <c:pt idx="149">
                  <c:v>58.564908350000003</c:v>
                </c:pt>
                <c:pt idx="150">
                  <c:v>60.900379600000001</c:v>
                </c:pt>
                <c:pt idx="151">
                  <c:v>45.479208999999997</c:v>
                </c:pt>
                <c:pt idx="152">
                  <c:v>37.814000399999998</c:v>
                </c:pt>
                <c:pt idx="153">
                  <c:v>44.546543300000003</c:v>
                </c:pt>
                <c:pt idx="154">
                  <c:v>46.362502300000003</c:v>
                </c:pt>
                <c:pt idx="155">
                  <c:v>43.815866399999997</c:v>
                </c:pt>
                <c:pt idx="156">
                  <c:v>53.2820277</c:v>
                </c:pt>
                <c:pt idx="157">
                  <c:v>40.016953800000003</c:v>
                </c:pt>
                <c:pt idx="158">
                  <c:v>42.631829799999998</c:v>
                </c:pt>
                <c:pt idx="159">
                  <c:v>33.484865249999999</c:v>
                </c:pt>
                <c:pt idx="160">
                  <c:v>31.08237115</c:v>
                </c:pt>
                <c:pt idx="161">
                  <c:v>29.20219075</c:v>
                </c:pt>
                <c:pt idx="162">
                  <c:v>30.763664649999999</c:v>
                </c:pt>
                <c:pt idx="163">
                  <c:v>39.054999850000002</c:v>
                </c:pt>
                <c:pt idx="164">
                  <c:v>30.622940400000001</c:v>
                </c:pt>
                <c:pt idx="165">
                  <c:v>32.778072549999997</c:v>
                </c:pt>
                <c:pt idx="166">
                  <c:v>23.297028399999999</c:v>
                </c:pt>
                <c:pt idx="167">
                  <c:v>23.6639728</c:v>
                </c:pt>
                <c:pt idx="168">
                  <c:v>31.8736557</c:v>
                </c:pt>
                <c:pt idx="169">
                  <c:v>21.740788349999999</c:v>
                </c:pt>
                <c:pt idx="170">
                  <c:v>23.58927525</c:v>
                </c:pt>
                <c:pt idx="171">
                  <c:v>21.499654799999998</c:v>
                </c:pt>
                <c:pt idx="172">
                  <c:v>19.513641100000001</c:v>
                </c:pt>
                <c:pt idx="173">
                  <c:v>22.770372099999999</c:v>
                </c:pt>
                <c:pt idx="174">
                  <c:v>23.806354899999999</c:v>
                </c:pt>
                <c:pt idx="175">
                  <c:v>15.918747</c:v>
                </c:pt>
                <c:pt idx="176">
                  <c:v>12.887195699999999</c:v>
                </c:pt>
                <c:pt idx="177">
                  <c:v>20.646250550000001</c:v>
                </c:pt>
                <c:pt idx="178">
                  <c:v>11.54571975</c:v>
                </c:pt>
                <c:pt idx="179">
                  <c:v>16.0010455</c:v>
                </c:pt>
                <c:pt idx="180">
                  <c:v>19.88670115</c:v>
                </c:pt>
                <c:pt idx="181">
                  <c:v>16.777675949999999</c:v>
                </c:pt>
                <c:pt idx="182">
                  <c:v>17.099540099999999</c:v>
                </c:pt>
                <c:pt idx="183">
                  <c:v>21.616883649999998</c:v>
                </c:pt>
                <c:pt idx="184">
                  <c:v>19.142989750000002</c:v>
                </c:pt>
                <c:pt idx="185">
                  <c:v>11.709355349999999</c:v>
                </c:pt>
                <c:pt idx="186">
                  <c:v>36.140303899999999</c:v>
                </c:pt>
                <c:pt idx="187">
                  <c:v>29.930444749999999</c:v>
                </c:pt>
                <c:pt idx="188">
                  <c:v>14.3037017</c:v>
                </c:pt>
                <c:pt idx="189">
                  <c:v>18.758519249999999</c:v>
                </c:pt>
                <c:pt idx="190">
                  <c:v>14.509048249999999</c:v>
                </c:pt>
                <c:pt idx="191">
                  <c:v>16.787686900000001</c:v>
                </c:pt>
                <c:pt idx="192">
                  <c:v>25.15516805</c:v>
                </c:pt>
                <c:pt idx="193">
                  <c:v>15.823412899999999</c:v>
                </c:pt>
                <c:pt idx="194">
                  <c:v>26.260994350000001</c:v>
                </c:pt>
                <c:pt idx="195">
                  <c:v>22.021008299999998</c:v>
                </c:pt>
                <c:pt idx="196">
                  <c:v>11.943265050000001</c:v>
                </c:pt>
                <c:pt idx="197">
                  <c:v>17.432102700000002</c:v>
                </c:pt>
                <c:pt idx="198">
                  <c:v>15.505217050000001</c:v>
                </c:pt>
                <c:pt idx="199">
                  <c:v>23.336365149999999</c:v>
                </c:pt>
                <c:pt idx="200">
                  <c:v>11.5291949</c:v>
                </c:pt>
                <c:pt idx="201">
                  <c:v>15.61280095</c:v>
                </c:pt>
                <c:pt idx="202">
                  <c:v>16.127909249999998</c:v>
                </c:pt>
                <c:pt idx="203">
                  <c:v>13.287398899999999</c:v>
                </c:pt>
                <c:pt idx="204">
                  <c:v>14.85297725</c:v>
                </c:pt>
                <c:pt idx="205">
                  <c:v>12.184466799999999</c:v>
                </c:pt>
                <c:pt idx="206">
                  <c:v>17.504636000000001</c:v>
                </c:pt>
                <c:pt idx="207">
                  <c:v>13.609549899999999</c:v>
                </c:pt>
                <c:pt idx="208">
                  <c:v>18.5206272</c:v>
                </c:pt>
                <c:pt idx="209">
                  <c:v>10.57351895</c:v>
                </c:pt>
                <c:pt idx="210">
                  <c:v>16.032092200000001</c:v>
                </c:pt>
                <c:pt idx="211">
                  <c:v>12.5223444</c:v>
                </c:pt>
                <c:pt idx="212">
                  <c:v>12.69045085</c:v>
                </c:pt>
                <c:pt idx="213">
                  <c:v>14.335969349999999</c:v>
                </c:pt>
                <c:pt idx="214">
                  <c:v>21.241878</c:v>
                </c:pt>
                <c:pt idx="215">
                  <c:v>18.5337876</c:v>
                </c:pt>
                <c:pt idx="216">
                  <c:v>11.796920950000001</c:v>
                </c:pt>
                <c:pt idx="217">
                  <c:v>12.81838705</c:v>
                </c:pt>
                <c:pt idx="218">
                  <c:v>19.657315449999999</c:v>
                </c:pt>
                <c:pt idx="219">
                  <c:v>13.4969324</c:v>
                </c:pt>
                <c:pt idx="220">
                  <c:v>10.67549825</c:v>
                </c:pt>
                <c:pt idx="221">
                  <c:v>17.251072499999999</c:v>
                </c:pt>
                <c:pt idx="222">
                  <c:v>20.037996499999998</c:v>
                </c:pt>
                <c:pt idx="223">
                  <c:v>26.1788846</c:v>
                </c:pt>
                <c:pt idx="224">
                  <c:v>34.10734265</c:v>
                </c:pt>
                <c:pt idx="225">
                  <c:v>22.191374700000001</c:v>
                </c:pt>
                <c:pt idx="226">
                  <c:v>25.779261399999999</c:v>
                </c:pt>
                <c:pt idx="227">
                  <c:v>22.037406000000001</c:v>
                </c:pt>
                <c:pt idx="228">
                  <c:v>16.121393650000002</c:v>
                </c:pt>
                <c:pt idx="229">
                  <c:v>15.209492450000001</c:v>
                </c:pt>
                <c:pt idx="230">
                  <c:v>15.99468695</c:v>
                </c:pt>
                <c:pt idx="231">
                  <c:v>16.618641650000001</c:v>
                </c:pt>
                <c:pt idx="232">
                  <c:v>14.2698982</c:v>
                </c:pt>
                <c:pt idx="233">
                  <c:v>14.177249700000001</c:v>
                </c:pt>
                <c:pt idx="234">
                  <c:v>16.499475700000001</c:v>
                </c:pt>
                <c:pt idx="235">
                  <c:v>16.605845200000001</c:v>
                </c:pt>
                <c:pt idx="236">
                  <c:v>9.7997896999999998</c:v>
                </c:pt>
                <c:pt idx="237">
                  <c:v>17.814281699999999</c:v>
                </c:pt>
                <c:pt idx="238">
                  <c:v>14.591270850000001</c:v>
                </c:pt>
                <c:pt idx="239">
                  <c:v>12.44416745</c:v>
                </c:pt>
                <c:pt idx="240">
                  <c:v>11.99540925</c:v>
                </c:pt>
                <c:pt idx="241">
                  <c:v>23.488347449999999</c:v>
                </c:pt>
                <c:pt idx="242">
                  <c:v>10.802143299999999</c:v>
                </c:pt>
                <c:pt idx="243">
                  <c:v>14.68854335</c:v>
                </c:pt>
                <c:pt idx="244">
                  <c:v>13.425222</c:v>
                </c:pt>
                <c:pt idx="245">
                  <c:v>14.391223849999999</c:v>
                </c:pt>
                <c:pt idx="246">
                  <c:v>11.99837145</c:v>
                </c:pt>
                <c:pt idx="247">
                  <c:v>16.6648976</c:v>
                </c:pt>
                <c:pt idx="248">
                  <c:v>17.817914949999999</c:v>
                </c:pt>
                <c:pt idx="249">
                  <c:v>18.495608950000001</c:v>
                </c:pt>
                <c:pt idx="250">
                  <c:v>16.356483300000001</c:v>
                </c:pt>
                <c:pt idx="251">
                  <c:v>16.537171350000001</c:v>
                </c:pt>
                <c:pt idx="252">
                  <c:v>15.4439378</c:v>
                </c:pt>
                <c:pt idx="253">
                  <c:v>10.978513400000001</c:v>
                </c:pt>
                <c:pt idx="254">
                  <c:v>9.1485105499999992</c:v>
                </c:pt>
                <c:pt idx="255">
                  <c:v>12.6439445</c:v>
                </c:pt>
                <c:pt idx="256">
                  <c:v>13.5748427</c:v>
                </c:pt>
                <c:pt idx="257">
                  <c:v>10.223935150000001</c:v>
                </c:pt>
                <c:pt idx="258">
                  <c:v>18.426032299999999</c:v>
                </c:pt>
                <c:pt idx="259">
                  <c:v>18.954259799999999</c:v>
                </c:pt>
                <c:pt idx="260">
                  <c:v>17.911301349999999</c:v>
                </c:pt>
                <c:pt idx="261">
                  <c:v>15.4347338</c:v>
                </c:pt>
                <c:pt idx="262">
                  <c:v>15.027761</c:v>
                </c:pt>
                <c:pt idx="263">
                  <c:v>13.965110449999999</c:v>
                </c:pt>
                <c:pt idx="264">
                  <c:v>28.206757450000001</c:v>
                </c:pt>
                <c:pt idx="265">
                  <c:v>24.036050100000001</c:v>
                </c:pt>
                <c:pt idx="266">
                  <c:v>15.937920999999999</c:v>
                </c:pt>
                <c:pt idx="267">
                  <c:v>15.7946384</c:v>
                </c:pt>
                <c:pt idx="268">
                  <c:v>19.644062550000001</c:v>
                </c:pt>
                <c:pt idx="269">
                  <c:v>17.653400099999999</c:v>
                </c:pt>
                <c:pt idx="270">
                  <c:v>24.095044300000001</c:v>
                </c:pt>
                <c:pt idx="271">
                  <c:v>26.7840563</c:v>
                </c:pt>
                <c:pt idx="272">
                  <c:v>28.139252750000001</c:v>
                </c:pt>
                <c:pt idx="273">
                  <c:v>18.637252199999999</c:v>
                </c:pt>
                <c:pt idx="274">
                  <c:v>17.766341650000001</c:v>
                </c:pt>
                <c:pt idx="275">
                  <c:v>22.260599549999998</c:v>
                </c:pt>
                <c:pt idx="276">
                  <c:v>22.157386649999999</c:v>
                </c:pt>
                <c:pt idx="277">
                  <c:v>20.814402650000002</c:v>
                </c:pt>
                <c:pt idx="278">
                  <c:v>18.91301975</c:v>
                </c:pt>
                <c:pt idx="279">
                  <c:v>58.237724900000003</c:v>
                </c:pt>
                <c:pt idx="280">
                  <c:v>40.506905400000001</c:v>
                </c:pt>
                <c:pt idx="281">
                  <c:v>25.444202300000001</c:v>
                </c:pt>
                <c:pt idx="282">
                  <c:v>22.3165218</c:v>
                </c:pt>
                <c:pt idx="283">
                  <c:v>24.646935549999998</c:v>
                </c:pt>
                <c:pt idx="284">
                  <c:v>19.741876649999998</c:v>
                </c:pt>
                <c:pt idx="285">
                  <c:v>26.61650895</c:v>
                </c:pt>
                <c:pt idx="286">
                  <c:v>24.42942905</c:v>
                </c:pt>
                <c:pt idx="287">
                  <c:v>39.772713750000001</c:v>
                </c:pt>
                <c:pt idx="288">
                  <c:v>23.324237499999999</c:v>
                </c:pt>
                <c:pt idx="289">
                  <c:v>34.952154350000001</c:v>
                </c:pt>
                <c:pt idx="290">
                  <c:v>42.975983100000001</c:v>
                </c:pt>
                <c:pt idx="291">
                  <c:v>51.14666545</c:v>
                </c:pt>
                <c:pt idx="292">
                  <c:v>22.739375949999999</c:v>
                </c:pt>
                <c:pt idx="293">
                  <c:v>27.93315535</c:v>
                </c:pt>
                <c:pt idx="294">
                  <c:v>23.7642098</c:v>
                </c:pt>
                <c:pt idx="295">
                  <c:v>23.45947275</c:v>
                </c:pt>
                <c:pt idx="296">
                  <c:v>16.606379749999999</c:v>
                </c:pt>
                <c:pt idx="297">
                  <c:v>20.038345899999999</c:v>
                </c:pt>
                <c:pt idx="298">
                  <c:v>23.322364650000001</c:v>
                </c:pt>
                <c:pt idx="299">
                  <c:v>34.020362400000003</c:v>
                </c:pt>
                <c:pt idx="300">
                  <c:v>23.904198999999998</c:v>
                </c:pt>
                <c:pt idx="301">
                  <c:v>25.337826450000001</c:v>
                </c:pt>
                <c:pt idx="302">
                  <c:v>28.336376349999998</c:v>
                </c:pt>
                <c:pt idx="303">
                  <c:v>23.3472084</c:v>
                </c:pt>
                <c:pt idx="304">
                  <c:v>23.275480600000002</c:v>
                </c:pt>
                <c:pt idx="305">
                  <c:v>29.951059799999999</c:v>
                </c:pt>
                <c:pt idx="306">
                  <c:v>22.42635005</c:v>
                </c:pt>
                <c:pt idx="307">
                  <c:v>21.702156250000002</c:v>
                </c:pt>
                <c:pt idx="308">
                  <c:v>27.021699399999999</c:v>
                </c:pt>
                <c:pt idx="309">
                  <c:v>37.054646349999999</c:v>
                </c:pt>
                <c:pt idx="310">
                  <c:v>22.670008849999999</c:v>
                </c:pt>
                <c:pt idx="311">
                  <c:v>28.076263300000001</c:v>
                </c:pt>
                <c:pt idx="312">
                  <c:v>28.888491299999998</c:v>
                </c:pt>
                <c:pt idx="313">
                  <c:v>18.123999250000001</c:v>
                </c:pt>
                <c:pt idx="314">
                  <c:v>28.697624099999999</c:v>
                </c:pt>
                <c:pt idx="315">
                  <c:v>37.681081050000003</c:v>
                </c:pt>
                <c:pt idx="316">
                  <c:v>47.916666300000003</c:v>
                </c:pt>
                <c:pt idx="317">
                  <c:v>68.978278649999993</c:v>
                </c:pt>
                <c:pt idx="318">
                  <c:v>87.746392200000003</c:v>
                </c:pt>
                <c:pt idx="319">
                  <c:v>51.690830699999999</c:v>
                </c:pt>
                <c:pt idx="320">
                  <c:v>38.537928899999997</c:v>
                </c:pt>
                <c:pt idx="321">
                  <c:v>53.976299050000002</c:v>
                </c:pt>
                <c:pt idx="322">
                  <c:v>51.060390599999998</c:v>
                </c:pt>
                <c:pt idx="323">
                  <c:v>40.981194049999999</c:v>
                </c:pt>
                <c:pt idx="324">
                  <c:v>37.305161200000001</c:v>
                </c:pt>
                <c:pt idx="325">
                  <c:v>29.072210900000002</c:v>
                </c:pt>
                <c:pt idx="326">
                  <c:v>31.27500375</c:v>
                </c:pt>
                <c:pt idx="327">
                  <c:v>20.155993949999999</c:v>
                </c:pt>
                <c:pt idx="328">
                  <c:v>28.95351045</c:v>
                </c:pt>
                <c:pt idx="329">
                  <c:v>28.03766985</c:v>
                </c:pt>
                <c:pt idx="330">
                  <c:v>19.504818849999999</c:v>
                </c:pt>
                <c:pt idx="331">
                  <c:v>20.972816349999999</c:v>
                </c:pt>
                <c:pt idx="332">
                  <c:v>25.395776000000001</c:v>
                </c:pt>
                <c:pt idx="333">
                  <c:v>16.160014</c:v>
                </c:pt>
                <c:pt idx="334">
                  <c:v>18.619034849999998</c:v>
                </c:pt>
                <c:pt idx="335">
                  <c:v>18.7681547</c:v>
                </c:pt>
                <c:pt idx="336">
                  <c:v>25.779484050000001</c:v>
                </c:pt>
                <c:pt idx="337">
                  <c:v>13.8235536</c:v>
                </c:pt>
                <c:pt idx="338">
                  <c:v>14.835793049999999</c:v>
                </c:pt>
                <c:pt idx="339">
                  <c:v>15.26354985</c:v>
                </c:pt>
                <c:pt idx="340">
                  <c:v>16.90684735</c:v>
                </c:pt>
                <c:pt idx="341">
                  <c:v>14.307553499999999</c:v>
                </c:pt>
                <c:pt idx="342">
                  <c:v>16.617930220000002</c:v>
                </c:pt>
                <c:pt idx="343">
                  <c:v>14.109307919999999</c:v>
                </c:pt>
                <c:pt idx="344">
                  <c:v>15.81490148</c:v>
                </c:pt>
                <c:pt idx="345">
                  <c:v>12.088808739999999</c:v>
                </c:pt>
                <c:pt idx="346">
                  <c:v>12.547997779999999</c:v>
                </c:pt>
                <c:pt idx="347">
                  <c:v>11.99821406</c:v>
                </c:pt>
                <c:pt idx="348">
                  <c:v>10.474996920000001</c:v>
                </c:pt>
                <c:pt idx="349">
                  <c:v>13.06665696</c:v>
                </c:pt>
                <c:pt idx="350">
                  <c:v>27.513509840000001</c:v>
                </c:pt>
                <c:pt idx="351">
                  <c:v>17.28325766</c:v>
                </c:pt>
                <c:pt idx="352">
                  <c:v>16.567752380000002</c:v>
                </c:pt>
                <c:pt idx="353">
                  <c:v>18.368537660000001</c:v>
                </c:pt>
                <c:pt idx="354">
                  <c:v>28.357841220000001</c:v>
                </c:pt>
                <c:pt idx="355">
                  <c:v>24.66818164</c:v>
                </c:pt>
                <c:pt idx="356">
                  <c:v>18.988309059999999</c:v>
                </c:pt>
                <c:pt idx="357">
                  <c:v>15.01497646</c:v>
                </c:pt>
                <c:pt idx="358">
                  <c:v>12.99025688</c:v>
                </c:pt>
                <c:pt idx="359">
                  <c:v>18.369418939999999</c:v>
                </c:pt>
                <c:pt idx="360">
                  <c:v>18.835140020000001</c:v>
                </c:pt>
                <c:pt idx="361">
                  <c:v>30.394575360000001</c:v>
                </c:pt>
                <c:pt idx="362">
                  <c:v>16.405723859999998</c:v>
                </c:pt>
                <c:pt idx="363">
                  <c:v>22.583334619999999</c:v>
                </c:pt>
                <c:pt idx="364">
                  <c:v>22.845498760000002</c:v>
                </c:pt>
                <c:pt idx="365">
                  <c:v>28.95296476</c:v>
                </c:pt>
                <c:pt idx="366">
                  <c:v>12.15346538</c:v>
                </c:pt>
                <c:pt idx="367">
                  <c:v>11.877212800000001</c:v>
                </c:pt>
                <c:pt idx="368">
                  <c:v>9.6760591199999997</c:v>
                </c:pt>
                <c:pt idx="369">
                  <c:v>12.319425560000001</c:v>
                </c:pt>
                <c:pt idx="370">
                  <c:v>14.0667124</c:v>
                </c:pt>
                <c:pt idx="371">
                  <c:v>14.06005422</c:v>
                </c:pt>
                <c:pt idx="372">
                  <c:v>13.79350312</c:v>
                </c:pt>
                <c:pt idx="373">
                  <c:v>18.017430180000002</c:v>
                </c:pt>
                <c:pt idx="374">
                  <c:v>15.317057739999999</c:v>
                </c:pt>
                <c:pt idx="375">
                  <c:v>10.774196720000001</c:v>
                </c:pt>
                <c:pt idx="376">
                  <c:v>11.772880860000001</c:v>
                </c:pt>
                <c:pt idx="377">
                  <c:v>13.424971920000001</c:v>
                </c:pt>
                <c:pt idx="378">
                  <c:v>10.40265114</c:v>
                </c:pt>
                <c:pt idx="379">
                  <c:v>8.0774324400000008</c:v>
                </c:pt>
                <c:pt idx="380">
                  <c:v>9.6208255999999999</c:v>
                </c:pt>
                <c:pt idx="381">
                  <c:v>9.5644880400000005</c:v>
                </c:pt>
                <c:pt idx="382">
                  <c:v>11.787085279999999</c:v>
                </c:pt>
                <c:pt idx="383">
                  <c:v>9.7483719000000004</c:v>
                </c:pt>
                <c:pt idx="384">
                  <c:v>11.27884328</c:v>
                </c:pt>
                <c:pt idx="385">
                  <c:v>13.7748059</c:v>
                </c:pt>
                <c:pt idx="386">
                  <c:v>10.64041714</c:v>
                </c:pt>
                <c:pt idx="387">
                  <c:v>12.97718806</c:v>
                </c:pt>
                <c:pt idx="388">
                  <c:v>8.8745505399999995</c:v>
                </c:pt>
                <c:pt idx="389">
                  <c:v>8.0229733200000002</c:v>
                </c:pt>
                <c:pt idx="390">
                  <c:v>9.4263208800000005</c:v>
                </c:pt>
                <c:pt idx="391">
                  <c:v>13.644601099999999</c:v>
                </c:pt>
                <c:pt idx="392">
                  <c:v>15.05021554</c:v>
                </c:pt>
                <c:pt idx="393">
                  <c:v>9.6383988400000007</c:v>
                </c:pt>
                <c:pt idx="394">
                  <c:v>7.5203739199999999</c:v>
                </c:pt>
                <c:pt idx="395">
                  <c:v>6.79503374</c:v>
                </c:pt>
                <c:pt idx="396">
                  <c:v>6.1207069199999999</c:v>
                </c:pt>
                <c:pt idx="397">
                  <c:v>8.6044593000000003</c:v>
                </c:pt>
                <c:pt idx="398">
                  <c:v>12.07538538</c:v>
                </c:pt>
                <c:pt idx="399">
                  <c:v>12.08654218</c:v>
                </c:pt>
                <c:pt idx="400">
                  <c:v>6.2867591999999997</c:v>
                </c:pt>
                <c:pt idx="401">
                  <c:v>21.633927</c:v>
                </c:pt>
                <c:pt idx="402">
                  <c:v>13.684959879999999</c:v>
                </c:pt>
                <c:pt idx="403">
                  <c:v>8.3852844799999993</c:v>
                </c:pt>
                <c:pt idx="404">
                  <c:v>9.2816190800000005</c:v>
                </c:pt>
                <c:pt idx="405">
                  <c:v>10.90331932</c:v>
                </c:pt>
                <c:pt idx="406">
                  <c:v>10.277355740000001</c:v>
                </c:pt>
                <c:pt idx="407">
                  <c:v>9.3494773599999998</c:v>
                </c:pt>
                <c:pt idx="408">
                  <c:v>8.6549348199999994</c:v>
                </c:pt>
                <c:pt idx="409">
                  <c:v>7.7760901200000001</c:v>
                </c:pt>
                <c:pt idx="410">
                  <c:v>11.419742360000001</c:v>
                </c:pt>
                <c:pt idx="411">
                  <c:v>8.5800245799999999</c:v>
                </c:pt>
                <c:pt idx="412">
                  <c:v>16.277198240000001</c:v>
                </c:pt>
                <c:pt idx="413">
                  <c:v>14.76628204</c:v>
                </c:pt>
                <c:pt idx="414">
                  <c:v>14.42055126</c:v>
                </c:pt>
                <c:pt idx="415">
                  <c:v>10.05431126</c:v>
                </c:pt>
                <c:pt idx="416">
                  <c:v>7.4405268800000002</c:v>
                </c:pt>
                <c:pt idx="417">
                  <c:v>9.5300730599999994</c:v>
                </c:pt>
                <c:pt idx="418">
                  <c:v>5.5496891799999997</c:v>
                </c:pt>
                <c:pt idx="419">
                  <c:v>8.9735441599999994</c:v>
                </c:pt>
                <c:pt idx="420">
                  <c:v>6.6877242399999997</c:v>
                </c:pt>
                <c:pt idx="421">
                  <c:v>10.417509839999999</c:v>
                </c:pt>
                <c:pt idx="422">
                  <c:v>18.492879420000001</c:v>
                </c:pt>
                <c:pt idx="423">
                  <c:v>14.627664319999999</c:v>
                </c:pt>
                <c:pt idx="424">
                  <c:v>18.88474978</c:v>
                </c:pt>
                <c:pt idx="425">
                  <c:v>9.4313174199999992</c:v>
                </c:pt>
                <c:pt idx="426">
                  <c:v>10.425777800000001</c:v>
                </c:pt>
                <c:pt idx="427">
                  <c:v>13.12997618</c:v>
                </c:pt>
                <c:pt idx="428">
                  <c:v>11.4004183</c:v>
                </c:pt>
                <c:pt idx="429">
                  <c:v>10.33888344</c:v>
                </c:pt>
                <c:pt idx="430">
                  <c:v>9.0813274199999992</c:v>
                </c:pt>
                <c:pt idx="431">
                  <c:v>16.95397668</c:v>
                </c:pt>
                <c:pt idx="432">
                  <c:v>24.603022240000001</c:v>
                </c:pt>
                <c:pt idx="433">
                  <c:v>22.471511039999999</c:v>
                </c:pt>
                <c:pt idx="434">
                  <c:v>25.630974259999999</c:v>
                </c:pt>
                <c:pt idx="435">
                  <c:v>17.476564700000001</c:v>
                </c:pt>
                <c:pt idx="436">
                  <c:v>30.752007639999999</c:v>
                </c:pt>
                <c:pt idx="437">
                  <c:v>18.074486419999999</c:v>
                </c:pt>
                <c:pt idx="438">
                  <c:v>25.46990718</c:v>
                </c:pt>
                <c:pt idx="439">
                  <c:v>18.035061979999998</c:v>
                </c:pt>
                <c:pt idx="440">
                  <c:v>18.873133200000002</c:v>
                </c:pt>
                <c:pt idx="441">
                  <c:v>20.628911899999999</c:v>
                </c:pt>
                <c:pt idx="442">
                  <c:v>33.121848700000001</c:v>
                </c:pt>
                <c:pt idx="443">
                  <c:v>23.73216622</c:v>
                </c:pt>
                <c:pt idx="444">
                  <c:v>20.77438836</c:v>
                </c:pt>
                <c:pt idx="445">
                  <c:v>33.518459780000001</c:v>
                </c:pt>
                <c:pt idx="446">
                  <c:v>32.643908699999997</c:v>
                </c:pt>
                <c:pt idx="447">
                  <c:v>32.628748020000003</c:v>
                </c:pt>
                <c:pt idx="448">
                  <c:v>35.87790528</c:v>
                </c:pt>
                <c:pt idx="449">
                  <c:v>26.708449659999999</c:v>
                </c:pt>
                <c:pt idx="450">
                  <c:v>38.130631600000001</c:v>
                </c:pt>
                <c:pt idx="451">
                  <c:v>22.659633280000001</c:v>
                </c:pt>
                <c:pt idx="452">
                  <c:v>24.949778179999999</c:v>
                </c:pt>
                <c:pt idx="453">
                  <c:v>15.52765816</c:v>
                </c:pt>
                <c:pt idx="454">
                  <c:v>21.675095079999998</c:v>
                </c:pt>
                <c:pt idx="455">
                  <c:v>28.08537432</c:v>
                </c:pt>
                <c:pt idx="456">
                  <c:v>22.664852660000001</c:v>
                </c:pt>
                <c:pt idx="457">
                  <c:v>24.12824492</c:v>
                </c:pt>
                <c:pt idx="458">
                  <c:v>21.65181226</c:v>
                </c:pt>
                <c:pt idx="459">
                  <c:v>16.245479119999999</c:v>
                </c:pt>
                <c:pt idx="460">
                  <c:v>15.573484560000001</c:v>
                </c:pt>
                <c:pt idx="461">
                  <c:v>14.65608654</c:v>
                </c:pt>
                <c:pt idx="462">
                  <c:v>26.845120179999999</c:v>
                </c:pt>
                <c:pt idx="463">
                  <c:v>21.088130679999999</c:v>
                </c:pt>
                <c:pt idx="464">
                  <c:v>51.928925399999997</c:v>
                </c:pt>
                <c:pt idx="465">
                  <c:v>27.498975139999999</c:v>
                </c:pt>
                <c:pt idx="466">
                  <c:v>30.118465480000001</c:v>
                </c:pt>
                <c:pt idx="467">
                  <c:v>49.654918479999999</c:v>
                </c:pt>
                <c:pt idx="468">
                  <c:v>31.01450526</c:v>
                </c:pt>
                <c:pt idx="469">
                  <c:v>30.047909900000001</c:v>
                </c:pt>
                <c:pt idx="470">
                  <c:v>41.444149600000003</c:v>
                </c:pt>
                <c:pt idx="471">
                  <c:v>32.533772159999998</c:v>
                </c:pt>
                <c:pt idx="472">
                  <c:v>27.44003842</c:v>
                </c:pt>
                <c:pt idx="473">
                  <c:v>18.022569180000001</c:v>
                </c:pt>
                <c:pt idx="474">
                  <c:v>43.410099580000001</c:v>
                </c:pt>
                <c:pt idx="475">
                  <c:v>26.870367219999999</c:v>
                </c:pt>
                <c:pt idx="476">
                  <c:v>32.062315439999999</c:v>
                </c:pt>
                <c:pt idx="477">
                  <c:v>32.180467299999997</c:v>
                </c:pt>
                <c:pt idx="478">
                  <c:v>81.767899580000005</c:v>
                </c:pt>
                <c:pt idx="479">
                  <c:v>61.2602124</c:v>
                </c:pt>
                <c:pt idx="480">
                  <c:v>37.919541459999998</c:v>
                </c:pt>
                <c:pt idx="481">
                  <c:v>70.734360600000002</c:v>
                </c:pt>
                <c:pt idx="482">
                  <c:v>102.11226818</c:v>
                </c:pt>
                <c:pt idx="483">
                  <c:v>73.621156080000006</c:v>
                </c:pt>
                <c:pt idx="484">
                  <c:v>102.4236243</c:v>
                </c:pt>
                <c:pt idx="485">
                  <c:v>127.43638742</c:v>
                </c:pt>
                <c:pt idx="486">
                  <c:v>177.74342286000001</c:v>
                </c:pt>
                <c:pt idx="487">
                  <c:v>134.41125782</c:v>
                </c:pt>
                <c:pt idx="488">
                  <c:v>121.29792458</c:v>
                </c:pt>
                <c:pt idx="489">
                  <c:v>91.4806588</c:v>
                </c:pt>
                <c:pt idx="490">
                  <c:v>109.99070548</c:v>
                </c:pt>
                <c:pt idx="491">
                  <c:v>77.542258759999996</c:v>
                </c:pt>
                <c:pt idx="492">
                  <c:v>59.225872879999997</c:v>
                </c:pt>
                <c:pt idx="493">
                  <c:v>46.596909140000001</c:v>
                </c:pt>
                <c:pt idx="494">
                  <c:v>52.473315139999997</c:v>
                </c:pt>
                <c:pt idx="495">
                  <c:v>45.480690860000003</c:v>
                </c:pt>
                <c:pt idx="496">
                  <c:v>86.795145680000005</c:v>
                </c:pt>
                <c:pt idx="497">
                  <c:v>98.716380099999995</c:v>
                </c:pt>
                <c:pt idx="498">
                  <c:v>7.5106920400000003</c:v>
                </c:pt>
                <c:pt idx="499">
                  <c:v>185.69702789999999</c:v>
                </c:pt>
                <c:pt idx="500">
                  <c:v>143.40230108</c:v>
                </c:pt>
                <c:pt idx="501">
                  <c:v>123.66444634</c:v>
                </c:pt>
                <c:pt idx="502">
                  <c:v>100.78718514000001</c:v>
                </c:pt>
                <c:pt idx="503">
                  <c:v>126.60781048</c:v>
                </c:pt>
                <c:pt idx="504">
                  <c:v>86.194696480000005</c:v>
                </c:pt>
                <c:pt idx="505">
                  <c:v>99.683630140000005</c:v>
                </c:pt>
                <c:pt idx="506">
                  <c:v>85.775094820000007</c:v>
                </c:pt>
                <c:pt idx="507">
                  <c:v>97.865195279999995</c:v>
                </c:pt>
                <c:pt idx="508">
                  <c:v>66.112605340000002</c:v>
                </c:pt>
                <c:pt idx="509">
                  <c:v>57.91782508</c:v>
                </c:pt>
                <c:pt idx="510">
                  <c:v>72.886228500000001</c:v>
                </c:pt>
                <c:pt idx="511">
                  <c:v>81.391838899999996</c:v>
                </c:pt>
                <c:pt idx="512">
                  <c:v>49.876037099999998</c:v>
                </c:pt>
                <c:pt idx="513">
                  <c:v>54.642391500000002</c:v>
                </c:pt>
                <c:pt idx="514">
                  <c:v>61.588181900000002</c:v>
                </c:pt>
                <c:pt idx="515">
                  <c:v>43.273868960000001</c:v>
                </c:pt>
                <c:pt idx="516">
                  <c:v>69.388457819999999</c:v>
                </c:pt>
                <c:pt idx="517">
                  <c:v>79.448983040000002</c:v>
                </c:pt>
                <c:pt idx="518">
                  <c:v>75.324013579999999</c:v>
                </c:pt>
                <c:pt idx="519">
                  <c:v>59.116508600000003</c:v>
                </c:pt>
                <c:pt idx="520">
                  <c:v>74.610858239999999</c:v>
                </c:pt>
                <c:pt idx="521">
                  <c:v>39.926781980000001</c:v>
                </c:pt>
                <c:pt idx="522">
                  <c:v>37.186284039999997</c:v>
                </c:pt>
                <c:pt idx="523">
                  <c:v>46.720924920000002</c:v>
                </c:pt>
                <c:pt idx="524">
                  <c:v>49.511927579999998</c:v>
                </c:pt>
                <c:pt idx="525">
                  <c:v>33.556872439999999</c:v>
                </c:pt>
                <c:pt idx="526">
                  <c:v>48.169792899999997</c:v>
                </c:pt>
                <c:pt idx="527">
                  <c:v>36.188074739999998</c:v>
                </c:pt>
                <c:pt idx="528">
                  <c:v>39.424924799999999</c:v>
                </c:pt>
                <c:pt idx="529">
                  <c:v>49.253689459999997</c:v>
                </c:pt>
                <c:pt idx="530">
                  <c:v>34.307366100000003</c:v>
                </c:pt>
                <c:pt idx="531">
                  <c:v>34.618955399999997</c:v>
                </c:pt>
                <c:pt idx="532">
                  <c:v>46.378488660000002</c:v>
                </c:pt>
                <c:pt idx="533">
                  <c:v>48.4240736</c:v>
                </c:pt>
                <c:pt idx="534">
                  <c:v>31.629261540000002</c:v>
                </c:pt>
              </c:numCache>
            </c:numRef>
          </c:val>
          <c:extLst>
            <c:ext xmlns:c16="http://schemas.microsoft.com/office/drawing/2014/chart" uri="{C3380CC4-5D6E-409C-BE32-E72D297353CC}">
              <c16:uniqueId val="{00000000-094D-4E29-B010-D717A2A1A293}"/>
            </c:ext>
          </c:extLst>
        </c:ser>
        <c:dLbls>
          <c:showLegendKey val="0"/>
          <c:showVal val="0"/>
          <c:showCatName val="0"/>
          <c:showSerName val="0"/>
          <c:showPercent val="0"/>
          <c:showBubbleSize val="0"/>
        </c:dLbls>
        <c:axId val="1257490704"/>
        <c:axId val="1257485904"/>
        <c:extLst>
          <c:ext xmlns:c15="http://schemas.microsoft.com/office/drawing/2012/chart" uri="{02D57815-91ED-43cb-92C2-25804820EDAC}">
            <c15:filteredAreaSeries>
              <c15:ser>
                <c:idx val="13"/>
                <c:order val="13"/>
                <c:tx>
                  <c:strRef>
                    <c:extLst>
                      <c:ext uri="{02D57815-91ED-43cb-92C2-25804820EDAC}">
                        <c15:formulaRef>
                          <c15:sqref>Daily!$Q$1</c15:sqref>
                        </c15:formulaRef>
                      </c:ext>
                    </c:extLst>
                    <c:strCache>
                      <c:ptCount val="1"/>
                      <c:pt idx="0">
                        <c:v>Open interest</c:v>
                      </c:pt>
                    </c:strCache>
                  </c:strRef>
                </c:tx>
                <c:spPr>
                  <a:solidFill>
                    <a:srgbClr val="260936"/>
                  </a:solidFill>
                  <a:ln>
                    <a:noFill/>
                  </a:ln>
                  <a:effectLst/>
                </c:spPr>
                <c:cat>
                  <c:numRef>
                    <c:extLst>
                      <c:ext uri="{02D57815-91ED-43cb-92C2-25804820EDAC}">
                        <c15:formulaRef>
                          <c15:sqref>Daily!$A$2:$A$1000</c15:sqref>
                        </c15:formulaRef>
                      </c:ext>
                    </c:extLst>
                    <c:numCache>
                      <c:formatCode>d\-mmm\-yy</c:formatCode>
                      <c:ptCount val="999"/>
                      <c:pt idx="0">
                        <c:v>45128</c:v>
                      </c:pt>
                      <c:pt idx="1">
                        <c:v>45131</c:v>
                      </c:pt>
                      <c:pt idx="2">
                        <c:v>45132</c:v>
                      </c:pt>
                      <c:pt idx="3">
                        <c:v>45133</c:v>
                      </c:pt>
                      <c:pt idx="4">
                        <c:v>45134</c:v>
                      </c:pt>
                      <c:pt idx="5">
                        <c:v>45135</c:v>
                      </c:pt>
                      <c:pt idx="6">
                        <c:v>45138</c:v>
                      </c:pt>
                      <c:pt idx="7">
                        <c:v>45139</c:v>
                      </c:pt>
                      <c:pt idx="8">
                        <c:v>45140</c:v>
                      </c:pt>
                      <c:pt idx="9">
                        <c:v>45141</c:v>
                      </c:pt>
                      <c:pt idx="10">
                        <c:v>45142</c:v>
                      </c:pt>
                      <c:pt idx="11">
                        <c:v>45145</c:v>
                      </c:pt>
                      <c:pt idx="12">
                        <c:v>45146</c:v>
                      </c:pt>
                      <c:pt idx="13">
                        <c:v>45147</c:v>
                      </c:pt>
                      <c:pt idx="14">
                        <c:v>45148</c:v>
                      </c:pt>
                      <c:pt idx="15">
                        <c:v>45149</c:v>
                      </c:pt>
                      <c:pt idx="16">
                        <c:v>45152</c:v>
                      </c:pt>
                      <c:pt idx="17">
                        <c:v>45153</c:v>
                      </c:pt>
                      <c:pt idx="18">
                        <c:v>45154</c:v>
                      </c:pt>
                      <c:pt idx="19">
                        <c:v>45155</c:v>
                      </c:pt>
                      <c:pt idx="20">
                        <c:v>45156</c:v>
                      </c:pt>
                      <c:pt idx="21">
                        <c:v>45159</c:v>
                      </c:pt>
                      <c:pt idx="22">
                        <c:v>45160</c:v>
                      </c:pt>
                      <c:pt idx="23">
                        <c:v>45161</c:v>
                      </c:pt>
                      <c:pt idx="24">
                        <c:v>45162</c:v>
                      </c:pt>
                      <c:pt idx="25">
                        <c:v>45163</c:v>
                      </c:pt>
                      <c:pt idx="26">
                        <c:v>45166</c:v>
                      </c:pt>
                      <c:pt idx="27">
                        <c:v>45167</c:v>
                      </c:pt>
                      <c:pt idx="28">
                        <c:v>45168</c:v>
                      </c:pt>
                      <c:pt idx="29">
                        <c:v>45169</c:v>
                      </c:pt>
                      <c:pt idx="30">
                        <c:v>45170</c:v>
                      </c:pt>
                      <c:pt idx="31">
                        <c:v>45173</c:v>
                      </c:pt>
                      <c:pt idx="32">
                        <c:v>45174</c:v>
                      </c:pt>
                      <c:pt idx="33">
                        <c:v>45175</c:v>
                      </c:pt>
                      <c:pt idx="34">
                        <c:v>45176</c:v>
                      </c:pt>
                      <c:pt idx="35">
                        <c:v>45177</c:v>
                      </c:pt>
                      <c:pt idx="36">
                        <c:v>45180</c:v>
                      </c:pt>
                      <c:pt idx="37">
                        <c:v>45181</c:v>
                      </c:pt>
                      <c:pt idx="38">
                        <c:v>45182</c:v>
                      </c:pt>
                      <c:pt idx="39">
                        <c:v>45183</c:v>
                      </c:pt>
                      <c:pt idx="40">
                        <c:v>45184</c:v>
                      </c:pt>
                      <c:pt idx="41">
                        <c:v>45187</c:v>
                      </c:pt>
                      <c:pt idx="42">
                        <c:v>45188</c:v>
                      </c:pt>
                      <c:pt idx="43">
                        <c:v>45189</c:v>
                      </c:pt>
                      <c:pt idx="44">
                        <c:v>45190</c:v>
                      </c:pt>
                      <c:pt idx="45">
                        <c:v>45191</c:v>
                      </c:pt>
                      <c:pt idx="46">
                        <c:v>45194</c:v>
                      </c:pt>
                      <c:pt idx="47">
                        <c:v>45195</c:v>
                      </c:pt>
                      <c:pt idx="48">
                        <c:v>45196</c:v>
                      </c:pt>
                      <c:pt idx="49">
                        <c:v>45197</c:v>
                      </c:pt>
                      <c:pt idx="50">
                        <c:v>45208</c:v>
                      </c:pt>
                      <c:pt idx="51">
                        <c:v>45209</c:v>
                      </c:pt>
                      <c:pt idx="52">
                        <c:v>45210</c:v>
                      </c:pt>
                      <c:pt idx="53">
                        <c:v>45211</c:v>
                      </c:pt>
                      <c:pt idx="54">
                        <c:v>45212</c:v>
                      </c:pt>
                      <c:pt idx="55">
                        <c:v>45215</c:v>
                      </c:pt>
                      <c:pt idx="56">
                        <c:v>45216</c:v>
                      </c:pt>
                      <c:pt idx="57">
                        <c:v>45217</c:v>
                      </c:pt>
                      <c:pt idx="58">
                        <c:v>45218</c:v>
                      </c:pt>
                      <c:pt idx="59">
                        <c:v>45219</c:v>
                      </c:pt>
                      <c:pt idx="60">
                        <c:v>45222</c:v>
                      </c:pt>
                      <c:pt idx="61">
                        <c:v>45223</c:v>
                      </c:pt>
                      <c:pt idx="62">
                        <c:v>45224</c:v>
                      </c:pt>
                      <c:pt idx="63">
                        <c:v>45225</c:v>
                      </c:pt>
                      <c:pt idx="64">
                        <c:v>45226</c:v>
                      </c:pt>
                      <c:pt idx="65">
                        <c:v>45229</c:v>
                      </c:pt>
                      <c:pt idx="66">
                        <c:v>45230</c:v>
                      </c:pt>
                      <c:pt idx="67">
                        <c:v>45231</c:v>
                      </c:pt>
                      <c:pt idx="68">
                        <c:v>45232</c:v>
                      </c:pt>
                      <c:pt idx="69">
                        <c:v>45233</c:v>
                      </c:pt>
                      <c:pt idx="70">
                        <c:v>45236</c:v>
                      </c:pt>
                      <c:pt idx="71">
                        <c:v>45237</c:v>
                      </c:pt>
                      <c:pt idx="72">
                        <c:v>45238</c:v>
                      </c:pt>
                      <c:pt idx="73">
                        <c:v>45239</c:v>
                      </c:pt>
                      <c:pt idx="74">
                        <c:v>45240</c:v>
                      </c:pt>
                      <c:pt idx="75">
                        <c:v>45243</c:v>
                      </c:pt>
                      <c:pt idx="76">
                        <c:v>45244</c:v>
                      </c:pt>
                      <c:pt idx="77">
                        <c:v>45245</c:v>
                      </c:pt>
                      <c:pt idx="78">
                        <c:v>45246</c:v>
                      </c:pt>
                      <c:pt idx="79">
                        <c:v>45247</c:v>
                      </c:pt>
                      <c:pt idx="80">
                        <c:v>45250</c:v>
                      </c:pt>
                      <c:pt idx="81">
                        <c:v>45251</c:v>
                      </c:pt>
                      <c:pt idx="82">
                        <c:v>45252</c:v>
                      </c:pt>
                      <c:pt idx="83">
                        <c:v>45253</c:v>
                      </c:pt>
                      <c:pt idx="84">
                        <c:v>45254</c:v>
                      </c:pt>
                      <c:pt idx="85">
                        <c:v>45257</c:v>
                      </c:pt>
                      <c:pt idx="86">
                        <c:v>45258</c:v>
                      </c:pt>
                      <c:pt idx="87">
                        <c:v>45259</c:v>
                      </c:pt>
                      <c:pt idx="88">
                        <c:v>45260</c:v>
                      </c:pt>
                      <c:pt idx="89">
                        <c:v>45261</c:v>
                      </c:pt>
                      <c:pt idx="90">
                        <c:v>45264</c:v>
                      </c:pt>
                      <c:pt idx="91">
                        <c:v>45265</c:v>
                      </c:pt>
                      <c:pt idx="92">
                        <c:v>45266</c:v>
                      </c:pt>
                      <c:pt idx="93">
                        <c:v>45267</c:v>
                      </c:pt>
                      <c:pt idx="94">
                        <c:v>45268</c:v>
                      </c:pt>
                      <c:pt idx="95">
                        <c:v>45271</c:v>
                      </c:pt>
                      <c:pt idx="96">
                        <c:v>45272</c:v>
                      </c:pt>
                      <c:pt idx="97">
                        <c:v>45273</c:v>
                      </c:pt>
                      <c:pt idx="98">
                        <c:v>45274</c:v>
                      </c:pt>
                      <c:pt idx="99">
                        <c:v>45275</c:v>
                      </c:pt>
                      <c:pt idx="100">
                        <c:v>45278</c:v>
                      </c:pt>
                      <c:pt idx="101">
                        <c:v>45279</c:v>
                      </c:pt>
                      <c:pt idx="102">
                        <c:v>45280</c:v>
                      </c:pt>
                      <c:pt idx="103">
                        <c:v>45281</c:v>
                      </c:pt>
                      <c:pt idx="104">
                        <c:v>45282</c:v>
                      </c:pt>
                      <c:pt idx="105">
                        <c:v>45285</c:v>
                      </c:pt>
                      <c:pt idx="106">
                        <c:v>45286</c:v>
                      </c:pt>
                      <c:pt idx="107">
                        <c:v>45287</c:v>
                      </c:pt>
                      <c:pt idx="108">
                        <c:v>45288</c:v>
                      </c:pt>
                      <c:pt idx="109">
                        <c:v>45289</c:v>
                      </c:pt>
                      <c:pt idx="110">
                        <c:v>45293</c:v>
                      </c:pt>
                      <c:pt idx="111">
                        <c:v>45294</c:v>
                      </c:pt>
                      <c:pt idx="112">
                        <c:v>45295</c:v>
                      </c:pt>
                      <c:pt idx="113">
                        <c:v>45296</c:v>
                      </c:pt>
                      <c:pt idx="114">
                        <c:v>45299</c:v>
                      </c:pt>
                      <c:pt idx="115">
                        <c:v>45300</c:v>
                      </c:pt>
                      <c:pt idx="116">
                        <c:v>45301</c:v>
                      </c:pt>
                      <c:pt idx="117">
                        <c:v>45302</c:v>
                      </c:pt>
                      <c:pt idx="118">
                        <c:v>45303</c:v>
                      </c:pt>
                      <c:pt idx="119">
                        <c:v>45306</c:v>
                      </c:pt>
                      <c:pt idx="120">
                        <c:v>45307</c:v>
                      </c:pt>
                      <c:pt idx="121">
                        <c:v>45308</c:v>
                      </c:pt>
                      <c:pt idx="122">
                        <c:v>45309</c:v>
                      </c:pt>
                      <c:pt idx="123">
                        <c:v>45310</c:v>
                      </c:pt>
                      <c:pt idx="124">
                        <c:v>45313</c:v>
                      </c:pt>
                      <c:pt idx="125">
                        <c:v>45314</c:v>
                      </c:pt>
                      <c:pt idx="126">
                        <c:v>45315</c:v>
                      </c:pt>
                      <c:pt idx="127">
                        <c:v>45316</c:v>
                      </c:pt>
                      <c:pt idx="128">
                        <c:v>45317</c:v>
                      </c:pt>
                      <c:pt idx="129">
                        <c:v>45320</c:v>
                      </c:pt>
                      <c:pt idx="130">
                        <c:v>45321</c:v>
                      </c:pt>
                      <c:pt idx="131">
                        <c:v>45322</c:v>
                      </c:pt>
                      <c:pt idx="132">
                        <c:v>45323</c:v>
                      </c:pt>
                      <c:pt idx="133">
                        <c:v>45324</c:v>
                      </c:pt>
                      <c:pt idx="134">
                        <c:v>45327</c:v>
                      </c:pt>
                      <c:pt idx="135">
                        <c:v>45328</c:v>
                      </c:pt>
                      <c:pt idx="136">
                        <c:v>45329</c:v>
                      </c:pt>
                      <c:pt idx="137">
                        <c:v>45330</c:v>
                      </c:pt>
                      <c:pt idx="138">
                        <c:v>45341</c:v>
                      </c:pt>
                      <c:pt idx="139">
                        <c:v>45342</c:v>
                      </c:pt>
                      <c:pt idx="140">
                        <c:v>45343</c:v>
                      </c:pt>
                      <c:pt idx="141">
                        <c:v>45344</c:v>
                      </c:pt>
                      <c:pt idx="142">
                        <c:v>45345</c:v>
                      </c:pt>
                      <c:pt idx="143">
                        <c:v>45348</c:v>
                      </c:pt>
                      <c:pt idx="144">
                        <c:v>45349</c:v>
                      </c:pt>
                      <c:pt idx="145">
                        <c:v>45350</c:v>
                      </c:pt>
                      <c:pt idx="146">
                        <c:v>45351</c:v>
                      </c:pt>
                      <c:pt idx="147">
                        <c:v>45352</c:v>
                      </c:pt>
                      <c:pt idx="148">
                        <c:v>45355</c:v>
                      </c:pt>
                      <c:pt idx="149">
                        <c:v>45356</c:v>
                      </c:pt>
                      <c:pt idx="150">
                        <c:v>45357</c:v>
                      </c:pt>
                      <c:pt idx="151">
                        <c:v>45358</c:v>
                      </c:pt>
                      <c:pt idx="152">
                        <c:v>45359</c:v>
                      </c:pt>
                      <c:pt idx="153">
                        <c:v>45362</c:v>
                      </c:pt>
                      <c:pt idx="154">
                        <c:v>45363</c:v>
                      </c:pt>
                      <c:pt idx="155">
                        <c:v>45364</c:v>
                      </c:pt>
                      <c:pt idx="156">
                        <c:v>45365</c:v>
                      </c:pt>
                      <c:pt idx="157">
                        <c:v>45366</c:v>
                      </c:pt>
                      <c:pt idx="158">
                        <c:v>45369</c:v>
                      </c:pt>
                      <c:pt idx="159">
                        <c:v>45370</c:v>
                      </c:pt>
                      <c:pt idx="160">
                        <c:v>45371</c:v>
                      </c:pt>
                      <c:pt idx="161">
                        <c:v>45372</c:v>
                      </c:pt>
                      <c:pt idx="162">
                        <c:v>45373</c:v>
                      </c:pt>
                      <c:pt idx="163">
                        <c:v>45376</c:v>
                      </c:pt>
                      <c:pt idx="164">
                        <c:v>45377</c:v>
                      </c:pt>
                      <c:pt idx="165">
                        <c:v>45378</c:v>
                      </c:pt>
                      <c:pt idx="166">
                        <c:v>45379</c:v>
                      </c:pt>
                      <c:pt idx="167">
                        <c:v>45380</c:v>
                      </c:pt>
                      <c:pt idx="168">
                        <c:v>45383</c:v>
                      </c:pt>
                      <c:pt idx="169">
                        <c:v>45384</c:v>
                      </c:pt>
                      <c:pt idx="170">
                        <c:v>45385</c:v>
                      </c:pt>
                      <c:pt idx="171">
                        <c:v>45390</c:v>
                      </c:pt>
                      <c:pt idx="172">
                        <c:v>45391</c:v>
                      </c:pt>
                      <c:pt idx="173">
                        <c:v>45392</c:v>
                      </c:pt>
                      <c:pt idx="174">
                        <c:v>45393</c:v>
                      </c:pt>
                      <c:pt idx="175">
                        <c:v>45394</c:v>
                      </c:pt>
                      <c:pt idx="176">
                        <c:v>45397</c:v>
                      </c:pt>
                      <c:pt idx="177">
                        <c:v>45398</c:v>
                      </c:pt>
                      <c:pt idx="178">
                        <c:v>45399</c:v>
                      </c:pt>
                      <c:pt idx="179">
                        <c:v>45400</c:v>
                      </c:pt>
                      <c:pt idx="180">
                        <c:v>45401</c:v>
                      </c:pt>
                      <c:pt idx="181">
                        <c:v>45404</c:v>
                      </c:pt>
                      <c:pt idx="182">
                        <c:v>45405</c:v>
                      </c:pt>
                      <c:pt idx="183">
                        <c:v>45406</c:v>
                      </c:pt>
                      <c:pt idx="184">
                        <c:v>45407</c:v>
                      </c:pt>
                      <c:pt idx="185">
                        <c:v>45408</c:v>
                      </c:pt>
                      <c:pt idx="186">
                        <c:v>45411</c:v>
                      </c:pt>
                      <c:pt idx="187">
                        <c:v>45412</c:v>
                      </c:pt>
                      <c:pt idx="188">
                        <c:v>45418</c:v>
                      </c:pt>
                      <c:pt idx="189">
                        <c:v>45419</c:v>
                      </c:pt>
                      <c:pt idx="190">
                        <c:v>45420</c:v>
                      </c:pt>
                      <c:pt idx="191">
                        <c:v>45421</c:v>
                      </c:pt>
                      <c:pt idx="192">
                        <c:v>45422</c:v>
                      </c:pt>
                      <c:pt idx="193">
                        <c:v>45425</c:v>
                      </c:pt>
                      <c:pt idx="194">
                        <c:v>45426</c:v>
                      </c:pt>
                      <c:pt idx="195">
                        <c:v>45427</c:v>
                      </c:pt>
                      <c:pt idx="196">
                        <c:v>45428</c:v>
                      </c:pt>
                      <c:pt idx="197">
                        <c:v>45429</c:v>
                      </c:pt>
                      <c:pt idx="198">
                        <c:v>45432</c:v>
                      </c:pt>
                      <c:pt idx="199">
                        <c:v>45433</c:v>
                      </c:pt>
                      <c:pt idx="200">
                        <c:v>45434</c:v>
                      </c:pt>
                      <c:pt idx="201">
                        <c:v>45435</c:v>
                      </c:pt>
                      <c:pt idx="202">
                        <c:v>45436</c:v>
                      </c:pt>
                      <c:pt idx="203">
                        <c:v>45439</c:v>
                      </c:pt>
                      <c:pt idx="204">
                        <c:v>45440</c:v>
                      </c:pt>
                      <c:pt idx="205">
                        <c:v>45441</c:v>
                      </c:pt>
                      <c:pt idx="206">
                        <c:v>45442</c:v>
                      </c:pt>
                      <c:pt idx="207">
                        <c:v>45443</c:v>
                      </c:pt>
                      <c:pt idx="208">
                        <c:v>45446</c:v>
                      </c:pt>
                      <c:pt idx="209">
                        <c:v>45447</c:v>
                      </c:pt>
                      <c:pt idx="210">
                        <c:v>45448</c:v>
                      </c:pt>
                      <c:pt idx="211">
                        <c:v>45449</c:v>
                      </c:pt>
                      <c:pt idx="212">
                        <c:v>45450</c:v>
                      </c:pt>
                      <c:pt idx="213">
                        <c:v>45454</c:v>
                      </c:pt>
                      <c:pt idx="214">
                        <c:v>45455</c:v>
                      </c:pt>
                      <c:pt idx="215">
                        <c:v>45456</c:v>
                      </c:pt>
                      <c:pt idx="216">
                        <c:v>45457</c:v>
                      </c:pt>
                      <c:pt idx="217">
                        <c:v>45460</c:v>
                      </c:pt>
                      <c:pt idx="218">
                        <c:v>45461</c:v>
                      </c:pt>
                      <c:pt idx="219">
                        <c:v>45462</c:v>
                      </c:pt>
                      <c:pt idx="220">
                        <c:v>45463</c:v>
                      </c:pt>
                      <c:pt idx="221">
                        <c:v>45464</c:v>
                      </c:pt>
                      <c:pt idx="222">
                        <c:v>45467</c:v>
                      </c:pt>
                      <c:pt idx="223">
                        <c:v>45468</c:v>
                      </c:pt>
                      <c:pt idx="224">
                        <c:v>45469</c:v>
                      </c:pt>
                      <c:pt idx="225">
                        <c:v>45470</c:v>
                      </c:pt>
                      <c:pt idx="226">
                        <c:v>45471</c:v>
                      </c:pt>
                      <c:pt idx="227">
                        <c:v>45474</c:v>
                      </c:pt>
                      <c:pt idx="228">
                        <c:v>45475</c:v>
                      </c:pt>
                      <c:pt idx="229">
                        <c:v>45476</c:v>
                      </c:pt>
                      <c:pt idx="230">
                        <c:v>45477</c:v>
                      </c:pt>
                      <c:pt idx="231">
                        <c:v>45478</c:v>
                      </c:pt>
                      <c:pt idx="232">
                        <c:v>45481</c:v>
                      </c:pt>
                      <c:pt idx="233">
                        <c:v>45482</c:v>
                      </c:pt>
                      <c:pt idx="234">
                        <c:v>45483</c:v>
                      </c:pt>
                      <c:pt idx="235">
                        <c:v>45484</c:v>
                      </c:pt>
                      <c:pt idx="236">
                        <c:v>45485</c:v>
                      </c:pt>
                      <c:pt idx="237">
                        <c:v>45488</c:v>
                      </c:pt>
                      <c:pt idx="238">
                        <c:v>45489</c:v>
                      </c:pt>
                      <c:pt idx="239">
                        <c:v>45490</c:v>
                      </c:pt>
                      <c:pt idx="240">
                        <c:v>45491</c:v>
                      </c:pt>
                      <c:pt idx="241">
                        <c:v>45492</c:v>
                      </c:pt>
                      <c:pt idx="242">
                        <c:v>45495</c:v>
                      </c:pt>
                      <c:pt idx="243">
                        <c:v>45496</c:v>
                      </c:pt>
                      <c:pt idx="244">
                        <c:v>45497</c:v>
                      </c:pt>
                      <c:pt idx="245">
                        <c:v>45498</c:v>
                      </c:pt>
                      <c:pt idx="246">
                        <c:v>45499</c:v>
                      </c:pt>
                      <c:pt idx="247">
                        <c:v>45502</c:v>
                      </c:pt>
                      <c:pt idx="248">
                        <c:v>45503</c:v>
                      </c:pt>
                      <c:pt idx="249">
                        <c:v>45504</c:v>
                      </c:pt>
                      <c:pt idx="250">
                        <c:v>45505</c:v>
                      </c:pt>
                      <c:pt idx="251">
                        <c:v>45506</c:v>
                      </c:pt>
                      <c:pt idx="252">
                        <c:v>45509</c:v>
                      </c:pt>
                      <c:pt idx="253">
                        <c:v>45510</c:v>
                      </c:pt>
                      <c:pt idx="254">
                        <c:v>45511</c:v>
                      </c:pt>
                      <c:pt idx="255">
                        <c:v>45512</c:v>
                      </c:pt>
                      <c:pt idx="256">
                        <c:v>45513</c:v>
                      </c:pt>
                      <c:pt idx="257">
                        <c:v>45516</c:v>
                      </c:pt>
                      <c:pt idx="258">
                        <c:v>45517</c:v>
                      </c:pt>
                      <c:pt idx="259">
                        <c:v>45518</c:v>
                      </c:pt>
                      <c:pt idx="260">
                        <c:v>45519</c:v>
                      </c:pt>
                      <c:pt idx="261">
                        <c:v>45520</c:v>
                      </c:pt>
                      <c:pt idx="262">
                        <c:v>45523</c:v>
                      </c:pt>
                      <c:pt idx="263">
                        <c:v>45524</c:v>
                      </c:pt>
                      <c:pt idx="264">
                        <c:v>45525</c:v>
                      </c:pt>
                      <c:pt idx="265">
                        <c:v>45526</c:v>
                      </c:pt>
                      <c:pt idx="266">
                        <c:v>45527</c:v>
                      </c:pt>
                      <c:pt idx="267">
                        <c:v>45530</c:v>
                      </c:pt>
                      <c:pt idx="268">
                        <c:v>45531</c:v>
                      </c:pt>
                      <c:pt idx="269">
                        <c:v>45532</c:v>
                      </c:pt>
                      <c:pt idx="270">
                        <c:v>45533</c:v>
                      </c:pt>
                      <c:pt idx="271">
                        <c:v>45534</c:v>
                      </c:pt>
                      <c:pt idx="272">
                        <c:v>45537</c:v>
                      </c:pt>
                      <c:pt idx="273">
                        <c:v>45538</c:v>
                      </c:pt>
                      <c:pt idx="274">
                        <c:v>45539</c:v>
                      </c:pt>
                      <c:pt idx="275">
                        <c:v>45540</c:v>
                      </c:pt>
                      <c:pt idx="276">
                        <c:v>45541</c:v>
                      </c:pt>
                      <c:pt idx="277">
                        <c:v>45544</c:v>
                      </c:pt>
                      <c:pt idx="278">
                        <c:v>45545</c:v>
                      </c:pt>
                      <c:pt idx="279">
                        <c:v>45546</c:v>
                      </c:pt>
                      <c:pt idx="280">
                        <c:v>45547</c:v>
                      </c:pt>
                      <c:pt idx="281">
                        <c:v>45548</c:v>
                      </c:pt>
                      <c:pt idx="282">
                        <c:v>45553</c:v>
                      </c:pt>
                      <c:pt idx="283">
                        <c:v>45554</c:v>
                      </c:pt>
                      <c:pt idx="284">
                        <c:v>45555</c:v>
                      </c:pt>
                      <c:pt idx="285">
                        <c:v>45558</c:v>
                      </c:pt>
                      <c:pt idx="286">
                        <c:v>45559</c:v>
                      </c:pt>
                      <c:pt idx="287">
                        <c:v>45560</c:v>
                      </c:pt>
                      <c:pt idx="288">
                        <c:v>45561</c:v>
                      </c:pt>
                      <c:pt idx="289">
                        <c:v>45562</c:v>
                      </c:pt>
                      <c:pt idx="290">
                        <c:v>45565</c:v>
                      </c:pt>
                      <c:pt idx="291">
                        <c:v>45573</c:v>
                      </c:pt>
                      <c:pt idx="292">
                        <c:v>45574</c:v>
                      </c:pt>
                      <c:pt idx="293">
                        <c:v>45575</c:v>
                      </c:pt>
                      <c:pt idx="294">
                        <c:v>45576</c:v>
                      </c:pt>
                      <c:pt idx="295">
                        <c:v>45579</c:v>
                      </c:pt>
                      <c:pt idx="296">
                        <c:v>45580</c:v>
                      </c:pt>
                      <c:pt idx="297">
                        <c:v>45581</c:v>
                      </c:pt>
                      <c:pt idx="298">
                        <c:v>45582</c:v>
                      </c:pt>
                      <c:pt idx="299">
                        <c:v>45583</c:v>
                      </c:pt>
                      <c:pt idx="300">
                        <c:v>45586</c:v>
                      </c:pt>
                      <c:pt idx="301">
                        <c:v>45587</c:v>
                      </c:pt>
                      <c:pt idx="302">
                        <c:v>45588</c:v>
                      </c:pt>
                      <c:pt idx="303">
                        <c:v>45589</c:v>
                      </c:pt>
                      <c:pt idx="304">
                        <c:v>45590</c:v>
                      </c:pt>
                      <c:pt idx="305">
                        <c:v>45593</c:v>
                      </c:pt>
                      <c:pt idx="306">
                        <c:v>45594</c:v>
                      </c:pt>
                      <c:pt idx="307">
                        <c:v>45595</c:v>
                      </c:pt>
                      <c:pt idx="308">
                        <c:v>45596</c:v>
                      </c:pt>
                      <c:pt idx="309">
                        <c:v>45597</c:v>
                      </c:pt>
                      <c:pt idx="310">
                        <c:v>45600</c:v>
                      </c:pt>
                      <c:pt idx="311">
                        <c:v>45601</c:v>
                      </c:pt>
                      <c:pt idx="312">
                        <c:v>45602</c:v>
                      </c:pt>
                      <c:pt idx="313">
                        <c:v>45603</c:v>
                      </c:pt>
                      <c:pt idx="314">
                        <c:v>45604</c:v>
                      </c:pt>
                      <c:pt idx="315">
                        <c:v>45607</c:v>
                      </c:pt>
                      <c:pt idx="316">
                        <c:v>45608</c:v>
                      </c:pt>
                      <c:pt idx="317">
                        <c:v>45609</c:v>
                      </c:pt>
                      <c:pt idx="318">
                        <c:v>45610</c:v>
                      </c:pt>
                      <c:pt idx="319">
                        <c:v>45611</c:v>
                      </c:pt>
                      <c:pt idx="320">
                        <c:v>45614</c:v>
                      </c:pt>
                      <c:pt idx="321">
                        <c:v>45615</c:v>
                      </c:pt>
                      <c:pt idx="322">
                        <c:v>45616</c:v>
                      </c:pt>
                      <c:pt idx="323">
                        <c:v>45617</c:v>
                      </c:pt>
                      <c:pt idx="324">
                        <c:v>45618</c:v>
                      </c:pt>
                      <c:pt idx="325">
                        <c:v>45621</c:v>
                      </c:pt>
                      <c:pt idx="326">
                        <c:v>45622</c:v>
                      </c:pt>
                      <c:pt idx="327">
                        <c:v>45623</c:v>
                      </c:pt>
                      <c:pt idx="328">
                        <c:v>45624</c:v>
                      </c:pt>
                      <c:pt idx="329">
                        <c:v>45625</c:v>
                      </c:pt>
                      <c:pt idx="330">
                        <c:v>45628</c:v>
                      </c:pt>
                      <c:pt idx="331">
                        <c:v>45629</c:v>
                      </c:pt>
                      <c:pt idx="332">
                        <c:v>45630</c:v>
                      </c:pt>
                      <c:pt idx="333">
                        <c:v>45631</c:v>
                      </c:pt>
                      <c:pt idx="334">
                        <c:v>45632</c:v>
                      </c:pt>
                      <c:pt idx="335">
                        <c:v>45635</c:v>
                      </c:pt>
                      <c:pt idx="336">
                        <c:v>45636</c:v>
                      </c:pt>
                      <c:pt idx="337">
                        <c:v>45637</c:v>
                      </c:pt>
                      <c:pt idx="338">
                        <c:v>45638</c:v>
                      </c:pt>
                      <c:pt idx="339">
                        <c:v>45639</c:v>
                      </c:pt>
                      <c:pt idx="340">
                        <c:v>45642</c:v>
                      </c:pt>
                      <c:pt idx="341">
                        <c:v>45643</c:v>
                      </c:pt>
                      <c:pt idx="342">
                        <c:v>45644</c:v>
                      </c:pt>
                      <c:pt idx="343">
                        <c:v>45645</c:v>
                      </c:pt>
                      <c:pt idx="344">
                        <c:v>45646</c:v>
                      </c:pt>
                      <c:pt idx="345">
                        <c:v>45649</c:v>
                      </c:pt>
                      <c:pt idx="346">
                        <c:v>45650</c:v>
                      </c:pt>
                      <c:pt idx="347">
                        <c:v>45651</c:v>
                      </c:pt>
                      <c:pt idx="348">
                        <c:v>45652</c:v>
                      </c:pt>
                      <c:pt idx="349">
                        <c:v>45653</c:v>
                      </c:pt>
                      <c:pt idx="350">
                        <c:v>45656</c:v>
                      </c:pt>
                      <c:pt idx="351">
                        <c:v>45657</c:v>
                      </c:pt>
                      <c:pt idx="352">
                        <c:v>45659</c:v>
                      </c:pt>
                      <c:pt idx="353">
                        <c:v>45660</c:v>
                      </c:pt>
                      <c:pt idx="354">
                        <c:v>45663</c:v>
                      </c:pt>
                      <c:pt idx="355">
                        <c:v>45664</c:v>
                      </c:pt>
                      <c:pt idx="356">
                        <c:v>45665</c:v>
                      </c:pt>
                      <c:pt idx="357">
                        <c:v>45666</c:v>
                      </c:pt>
                      <c:pt idx="358">
                        <c:v>45667</c:v>
                      </c:pt>
                      <c:pt idx="359">
                        <c:v>45670</c:v>
                      </c:pt>
                      <c:pt idx="360">
                        <c:v>45671</c:v>
                      </c:pt>
                      <c:pt idx="361">
                        <c:v>45672</c:v>
                      </c:pt>
                      <c:pt idx="362">
                        <c:v>45673</c:v>
                      </c:pt>
                      <c:pt idx="363">
                        <c:v>45674</c:v>
                      </c:pt>
                      <c:pt idx="364">
                        <c:v>45677</c:v>
                      </c:pt>
                      <c:pt idx="365">
                        <c:v>45678</c:v>
                      </c:pt>
                      <c:pt idx="366">
                        <c:v>45679</c:v>
                      </c:pt>
                      <c:pt idx="367">
                        <c:v>45680</c:v>
                      </c:pt>
                      <c:pt idx="368">
                        <c:v>45681</c:v>
                      </c:pt>
                      <c:pt idx="369">
                        <c:v>45684</c:v>
                      </c:pt>
                      <c:pt idx="370">
                        <c:v>45693</c:v>
                      </c:pt>
                      <c:pt idx="371">
                        <c:v>45694</c:v>
                      </c:pt>
                      <c:pt idx="372">
                        <c:v>45695</c:v>
                      </c:pt>
                      <c:pt idx="373">
                        <c:v>45698</c:v>
                      </c:pt>
                      <c:pt idx="374">
                        <c:v>45699</c:v>
                      </c:pt>
                      <c:pt idx="375">
                        <c:v>45700</c:v>
                      </c:pt>
                      <c:pt idx="376">
                        <c:v>45701</c:v>
                      </c:pt>
                      <c:pt idx="377">
                        <c:v>45702</c:v>
                      </c:pt>
                      <c:pt idx="378">
                        <c:v>45705</c:v>
                      </c:pt>
                      <c:pt idx="379">
                        <c:v>45706</c:v>
                      </c:pt>
                      <c:pt idx="380">
                        <c:v>45707</c:v>
                      </c:pt>
                      <c:pt idx="381">
                        <c:v>45708</c:v>
                      </c:pt>
                      <c:pt idx="382">
                        <c:v>45709</c:v>
                      </c:pt>
                      <c:pt idx="383">
                        <c:v>45712</c:v>
                      </c:pt>
                      <c:pt idx="384">
                        <c:v>45713</c:v>
                      </c:pt>
                      <c:pt idx="385">
                        <c:v>45714</c:v>
                      </c:pt>
                      <c:pt idx="386">
                        <c:v>45715</c:v>
                      </c:pt>
                      <c:pt idx="387">
                        <c:v>45716</c:v>
                      </c:pt>
                      <c:pt idx="388">
                        <c:v>45719</c:v>
                      </c:pt>
                      <c:pt idx="389">
                        <c:v>45720</c:v>
                      </c:pt>
                      <c:pt idx="390">
                        <c:v>45721</c:v>
                      </c:pt>
                      <c:pt idx="391">
                        <c:v>45722</c:v>
                      </c:pt>
                      <c:pt idx="392">
                        <c:v>45723</c:v>
                      </c:pt>
                      <c:pt idx="393">
                        <c:v>45726</c:v>
                      </c:pt>
                      <c:pt idx="394">
                        <c:v>45727</c:v>
                      </c:pt>
                      <c:pt idx="395">
                        <c:v>45728</c:v>
                      </c:pt>
                      <c:pt idx="396">
                        <c:v>45729</c:v>
                      </c:pt>
                      <c:pt idx="397">
                        <c:v>45730</c:v>
                      </c:pt>
                      <c:pt idx="398">
                        <c:v>45733</c:v>
                      </c:pt>
                      <c:pt idx="399">
                        <c:v>45734</c:v>
                      </c:pt>
                      <c:pt idx="400">
                        <c:v>45735</c:v>
                      </c:pt>
                      <c:pt idx="401">
                        <c:v>45736</c:v>
                      </c:pt>
                      <c:pt idx="402">
                        <c:v>45737</c:v>
                      </c:pt>
                      <c:pt idx="403">
                        <c:v>45740</c:v>
                      </c:pt>
                      <c:pt idx="404">
                        <c:v>45741</c:v>
                      </c:pt>
                      <c:pt idx="405">
                        <c:v>45742</c:v>
                      </c:pt>
                      <c:pt idx="406">
                        <c:v>45743</c:v>
                      </c:pt>
                      <c:pt idx="407">
                        <c:v>45744</c:v>
                      </c:pt>
                      <c:pt idx="408">
                        <c:v>45747</c:v>
                      </c:pt>
                      <c:pt idx="409">
                        <c:v>45748</c:v>
                      </c:pt>
                      <c:pt idx="410">
                        <c:v>45749</c:v>
                      </c:pt>
                      <c:pt idx="411">
                        <c:v>45750</c:v>
                      </c:pt>
                      <c:pt idx="412">
                        <c:v>45754</c:v>
                      </c:pt>
                      <c:pt idx="413">
                        <c:v>45755</c:v>
                      </c:pt>
                      <c:pt idx="414">
                        <c:v>45756</c:v>
                      </c:pt>
                      <c:pt idx="415">
                        <c:v>45757</c:v>
                      </c:pt>
                      <c:pt idx="416">
                        <c:v>45758</c:v>
                      </c:pt>
                      <c:pt idx="417">
                        <c:v>45761</c:v>
                      </c:pt>
                      <c:pt idx="418">
                        <c:v>45762</c:v>
                      </c:pt>
                      <c:pt idx="419">
                        <c:v>45763</c:v>
                      </c:pt>
                      <c:pt idx="420">
                        <c:v>45764</c:v>
                      </c:pt>
                      <c:pt idx="421">
                        <c:v>45765</c:v>
                      </c:pt>
                      <c:pt idx="422">
                        <c:v>45768</c:v>
                      </c:pt>
                      <c:pt idx="423">
                        <c:v>45769</c:v>
                      </c:pt>
                      <c:pt idx="424">
                        <c:v>45770</c:v>
                      </c:pt>
                      <c:pt idx="425">
                        <c:v>45771</c:v>
                      </c:pt>
                      <c:pt idx="426">
                        <c:v>45772</c:v>
                      </c:pt>
                      <c:pt idx="427">
                        <c:v>45775</c:v>
                      </c:pt>
                      <c:pt idx="428">
                        <c:v>45776</c:v>
                      </c:pt>
                      <c:pt idx="429">
                        <c:v>45777</c:v>
                      </c:pt>
                      <c:pt idx="430">
                        <c:v>45783</c:v>
                      </c:pt>
                      <c:pt idx="431">
                        <c:v>45784</c:v>
                      </c:pt>
                      <c:pt idx="432">
                        <c:v>45785</c:v>
                      </c:pt>
                      <c:pt idx="433">
                        <c:v>45786</c:v>
                      </c:pt>
                      <c:pt idx="434">
                        <c:v>45789</c:v>
                      </c:pt>
                      <c:pt idx="435">
                        <c:v>45790</c:v>
                      </c:pt>
                      <c:pt idx="436">
                        <c:v>45791</c:v>
                      </c:pt>
                      <c:pt idx="437">
                        <c:v>45792</c:v>
                      </c:pt>
                      <c:pt idx="438">
                        <c:v>45793</c:v>
                      </c:pt>
                      <c:pt idx="439">
                        <c:v>45796</c:v>
                      </c:pt>
                      <c:pt idx="440">
                        <c:v>45797</c:v>
                      </c:pt>
                      <c:pt idx="441">
                        <c:v>45798</c:v>
                      </c:pt>
                      <c:pt idx="442">
                        <c:v>45799</c:v>
                      </c:pt>
                      <c:pt idx="443">
                        <c:v>45800</c:v>
                      </c:pt>
                      <c:pt idx="444">
                        <c:v>45803</c:v>
                      </c:pt>
                      <c:pt idx="445">
                        <c:v>45804</c:v>
                      </c:pt>
                      <c:pt idx="446">
                        <c:v>45805</c:v>
                      </c:pt>
                      <c:pt idx="447">
                        <c:v>45806</c:v>
                      </c:pt>
                      <c:pt idx="448">
                        <c:v>45807</c:v>
                      </c:pt>
                      <c:pt idx="449">
                        <c:v>45811</c:v>
                      </c:pt>
                      <c:pt idx="450">
                        <c:v>45812</c:v>
                      </c:pt>
                      <c:pt idx="451">
                        <c:v>45813</c:v>
                      </c:pt>
                      <c:pt idx="452">
                        <c:v>45814</c:v>
                      </c:pt>
                      <c:pt idx="453">
                        <c:v>45817</c:v>
                      </c:pt>
                      <c:pt idx="454">
                        <c:v>45818</c:v>
                      </c:pt>
                      <c:pt idx="455">
                        <c:v>45819</c:v>
                      </c:pt>
                      <c:pt idx="456">
                        <c:v>45820</c:v>
                      </c:pt>
                      <c:pt idx="457">
                        <c:v>45821</c:v>
                      </c:pt>
                      <c:pt idx="458">
                        <c:v>45824</c:v>
                      </c:pt>
                      <c:pt idx="459">
                        <c:v>45825</c:v>
                      </c:pt>
                      <c:pt idx="460">
                        <c:v>45826</c:v>
                      </c:pt>
                      <c:pt idx="461">
                        <c:v>45827</c:v>
                      </c:pt>
                      <c:pt idx="462">
                        <c:v>45828</c:v>
                      </c:pt>
                      <c:pt idx="463">
                        <c:v>45831</c:v>
                      </c:pt>
                      <c:pt idx="464">
                        <c:v>45832</c:v>
                      </c:pt>
                      <c:pt idx="465">
                        <c:v>45833</c:v>
                      </c:pt>
                      <c:pt idx="466">
                        <c:v>45834</c:v>
                      </c:pt>
                      <c:pt idx="467">
                        <c:v>45835</c:v>
                      </c:pt>
                      <c:pt idx="468">
                        <c:v>45838</c:v>
                      </c:pt>
                      <c:pt idx="469">
                        <c:v>45839</c:v>
                      </c:pt>
                      <c:pt idx="470">
                        <c:v>45840</c:v>
                      </c:pt>
                      <c:pt idx="471">
                        <c:v>45841</c:v>
                      </c:pt>
                      <c:pt idx="472">
                        <c:v>45842</c:v>
                      </c:pt>
                      <c:pt idx="473">
                        <c:v>45845</c:v>
                      </c:pt>
                      <c:pt idx="474">
                        <c:v>45846</c:v>
                      </c:pt>
                      <c:pt idx="475">
                        <c:v>45847</c:v>
                      </c:pt>
                      <c:pt idx="476">
                        <c:v>45848</c:v>
                      </c:pt>
                      <c:pt idx="477">
                        <c:v>45849</c:v>
                      </c:pt>
                      <c:pt idx="478">
                        <c:v>45852</c:v>
                      </c:pt>
                      <c:pt idx="479">
                        <c:v>45853</c:v>
                      </c:pt>
                      <c:pt idx="480">
                        <c:v>45854</c:v>
                      </c:pt>
                      <c:pt idx="481">
                        <c:v>45855</c:v>
                      </c:pt>
                      <c:pt idx="482">
                        <c:v>45856</c:v>
                      </c:pt>
                      <c:pt idx="483">
                        <c:v>45859</c:v>
                      </c:pt>
                      <c:pt idx="484">
                        <c:v>45860</c:v>
                      </c:pt>
                      <c:pt idx="485">
                        <c:v>45861</c:v>
                      </c:pt>
                      <c:pt idx="486">
                        <c:v>45862</c:v>
                      </c:pt>
                      <c:pt idx="487">
                        <c:v>45863</c:v>
                      </c:pt>
                      <c:pt idx="488">
                        <c:v>45866</c:v>
                      </c:pt>
                      <c:pt idx="489">
                        <c:v>45867</c:v>
                      </c:pt>
                      <c:pt idx="490">
                        <c:v>45868</c:v>
                      </c:pt>
                      <c:pt idx="491">
                        <c:v>45869</c:v>
                      </c:pt>
                      <c:pt idx="492">
                        <c:v>45870</c:v>
                      </c:pt>
                      <c:pt idx="493">
                        <c:v>45873</c:v>
                      </c:pt>
                      <c:pt idx="494">
                        <c:v>45874</c:v>
                      </c:pt>
                      <c:pt idx="495">
                        <c:v>45875</c:v>
                      </c:pt>
                      <c:pt idx="496">
                        <c:v>45876</c:v>
                      </c:pt>
                      <c:pt idx="497">
                        <c:v>45877</c:v>
                      </c:pt>
                      <c:pt idx="498">
                        <c:v>45880</c:v>
                      </c:pt>
                      <c:pt idx="499">
                        <c:v>45881</c:v>
                      </c:pt>
                      <c:pt idx="500">
                        <c:v>45882</c:v>
                      </c:pt>
                      <c:pt idx="501">
                        <c:v>45883</c:v>
                      </c:pt>
                      <c:pt idx="502">
                        <c:v>45884</c:v>
                      </c:pt>
                      <c:pt idx="503">
                        <c:v>45887</c:v>
                      </c:pt>
                      <c:pt idx="504">
                        <c:v>45888</c:v>
                      </c:pt>
                      <c:pt idx="505">
                        <c:v>45889</c:v>
                      </c:pt>
                      <c:pt idx="506">
                        <c:v>45890</c:v>
                      </c:pt>
                      <c:pt idx="507">
                        <c:v>45891</c:v>
                      </c:pt>
                      <c:pt idx="508">
                        <c:v>45894</c:v>
                      </c:pt>
                      <c:pt idx="509">
                        <c:v>45895</c:v>
                      </c:pt>
                      <c:pt idx="510">
                        <c:v>45896</c:v>
                      </c:pt>
                      <c:pt idx="511">
                        <c:v>45897</c:v>
                      </c:pt>
                      <c:pt idx="512">
                        <c:v>45898</c:v>
                      </c:pt>
                      <c:pt idx="513">
                        <c:v>45901</c:v>
                      </c:pt>
                      <c:pt idx="514">
                        <c:v>45902</c:v>
                      </c:pt>
                      <c:pt idx="515">
                        <c:v>45903</c:v>
                      </c:pt>
                      <c:pt idx="516">
                        <c:v>45904</c:v>
                      </c:pt>
                      <c:pt idx="517">
                        <c:v>45905</c:v>
                      </c:pt>
                      <c:pt idx="518">
                        <c:v>45908</c:v>
                      </c:pt>
                      <c:pt idx="519">
                        <c:v>45909</c:v>
                      </c:pt>
                      <c:pt idx="520">
                        <c:v>45910</c:v>
                      </c:pt>
                      <c:pt idx="521">
                        <c:v>45911</c:v>
                      </c:pt>
                      <c:pt idx="522">
                        <c:v>45912</c:v>
                      </c:pt>
                      <c:pt idx="523">
                        <c:v>45915</c:v>
                      </c:pt>
                      <c:pt idx="524">
                        <c:v>45916</c:v>
                      </c:pt>
                      <c:pt idx="525">
                        <c:v>45917</c:v>
                      </c:pt>
                      <c:pt idx="526">
                        <c:v>45918</c:v>
                      </c:pt>
                      <c:pt idx="527">
                        <c:v>45919</c:v>
                      </c:pt>
                      <c:pt idx="528">
                        <c:v>45922</c:v>
                      </c:pt>
                      <c:pt idx="529">
                        <c:v>45923</c:v>
                      </c:pt>
                      <c:pt idx="530">
                        <c:v>45924</c:v>
                      </c:pt>
                      <c:pt idx="531">
                        <c:v>45925</c:v>
                      </c:pt>
                      <c:pt idx="532">
                        <c:v>45926</c:v>
                      </c:pt>
                      <c:pt idx="533">
                        <c:v>45929</c:v>
                      </c:pt>
                      <c:pt idx="534">
                        <c:v>45930</c:v>
                      </c:pt>
                      <c:pt idx="535">
                        <c:v>45931</c:v>
                      </c:pt>
                      <c:pt idx="536">
                        <c:v>45932</c:v>
                      </c:pt>
                      <c:pt idx="537">
                        <c:v>45933</c:v>
                      </c:pt>
                      <c:pt idx="538">
                        <c:v>45936</c:v>
                      </c:pt>
                      <c:pt idx="539">
                        <c:v>45937</c:v>
                      </c:pt>
                      <c:pt idx="540">
                        <c:v>45938</c:v>
                      </c:pt>
                      <c:pt idx="541">
                        <c:v>45939</c:v>
                      </c:pt>
                      <c:pt idx="542">
                        <c:v>45940</c:v>
                      </c:pt>
                      <c:pt idx="543">
                        <c:v>45943</c:v>
                      </c:pt>
                      <c:pt idx="544">
                        <c:v>45944</c:v>
                      </c:pt>
                      <c:pt idx="545">
                        <c:v>45945</c:v>
                      </c:pt>
                      <c:pt idx="546">
                        <c:v>45946</c:v>
                      </c:pt>
                      <c:pt idx="547">
                        <c:v>45947</c:v>
                      </c:pt>
                      <c:pt idx="548">
                        <c:v>45950</c:v>
                      </c:pt>
                      <c:pt idx="549">
                        <c:v>45951</c:v>
                      </c:pt>
                      <c:pt idx="550">
                        <c:v>45952</c:v>
                      </c:pt>
                      <c:pt idx="551">
                        <c:v>45953</c:v>
                      </c:pt>
                      <c:pt idx="552">
                        <c:v>45954</c:v>
                      </c:pt>
                      <c:pt idx="553">
                        <c:v>45957</c:v>
                      </c:pt>
                      <c:pt idx="554">
                        <c:v>45958</c:v>
                      </c:pt>
                      <c:pt idx="555">
                        <c:v>45959</c:v>
                      </c:pt>
                      <c:pt idx="556">
                        <c:v>45960</c:v>
                      </c:pt>
                      <c:pt idx="557">
                        <c:v>45961</c:v>
                      </c:pt>
                      <c:pt idx="558">
                        <c:v>45964</c:v>
                      </c:pt>
                      <c:pt idx="559">
                        <c:v>45965</c:v>
                      </c:pt>
                      <c:pt idx="560">
                        <c:v>45966</c:v>
                      </c:pt>
                      <c:pt idx="561">
                        <c:v>45967</c:v>
                      </c:pt>
                      <c:pt idx="562">
                        <c:v>45968</c:v>
                      </c:pt>
                      <c:pt idx="563">
                        <c:v>45971</c:v>
                      </c:pt>
                      <c:pt idx="564">
                        <c:v>45972</c:v>
                      </c:pt>
                      <c:pt idx="565">
                        <c:v>45973</c:v>
                      </c:pt>
                      <c:pt idx="566">
                        <c:v>45974</c:v>
                      </c:pt>
                      <c:pt idx="567">
                        <c:v>45975</c:v>
                      </c:pt>
                      <c:pt idx="568">
                        <c:v>45978</c:v>
                      </c:pt>
                      <c:pt idx="569">
                        <c:v>45979</c:v>
                      </c:pt>
                      <c:pt idx="570">
                        <c:v>45980</c:v>
                      </c:pt>
                      <c:pt idx="571">
                        <c:v>45981</c:v>
                      </c:pt>
                      <c:pt idx="572">
                        <c:v>45982</c:v>
                      </c:pt>
                      <c:pt idx="573">
                        <c:v>45985</c:v>
                      </c:pt>
                      <c:pt idx="574">
                        <c:v>45986</c:v>
                      </c:pt>
                      <c:pt idx="575">
                        <c:v>45987</c:v>
                      </c:pt>
                      <c:pt idx="576">
                        <c:v>45988</c:v>
                      </c:pt>
                      <c:pt idx="577">
                        <c:v>45989</c:v>
                      </c:pt>
                      <c:pt idx="578">
                        <c:v>45992</c:v>
                      </c:pt>
                      <c:pt idx="579">
                        <c:v>45993</c:v>
                      </c:pt>
                      <c:pt idx="580">
                        <c:v>45994</c:v>
                      </c:pt>
                      <c:pt idx="581">
                        <c:v>45995</c:v>
                      </c:pt>
                      <c:pt idx="582">
                        <c:v>45996</c:v>
                      </c:pt>
                      <c:pt idx="583">
                        <c:v>45999</c:v>
                      </c:pt>
                      <c:pt idx="584">
                        <c:v>46000</c:v>
                      </c:pt>
                      <c:pt idx="585">
                        <c:v>46001</c:v>
                      </c:pt>
                      <c:pt idx="586">
                        <c:v>46002</c:v>
                      </c:pt>
                      <c:pt idx="587">
                        <c:v>46003</c:v>
                      </c:pt>
                      <c:pt idx="588">
                        <c:v>46006</c:v>
                      </c:pt>
                      <c:pt idx="589">
                        <c:v>46007</c:v>
                      </c:pt>
                      <c:pt idx="590">
                        <c:v>46008</c:v>
                      </c:pt>
                      <c:pt idx="591">
                        <c:v>46009</c:v>
                      </c:pt>
                      <c:pt idx="592">
                        <c:v>46010</c:v>
                      </c:pt>
                      <c:pt idx="593">
                        <c:v>46013</c:v>
                      </c:pt>
                      <c:pt idx="594">
                        <c:v>46014</c:v>
                      </c:pt>
                      <c:pt idx="595">
                        <c:v>46015</c:v>
                      </c:pt>
                      <c:pt idx="596">
                        <c:v>46016</c:v>
                      </c:pt>
                      <c:pt idx="597">
                        <c:v>46017</c:v>
                      </c:pt>
                      <c:pt idx="598">
                        <c:v>46020</c:v>
                      </c:pt>
                      <c:pt idx="599">
                        <c:v>46021</c:v>
                      </c:pt>
                      <c:pt idx="600">
                        <c:v>46022</c:v>
                      </c:pt>
                      <c:pt idx="601">
                        <c:v>46023</c:v>
                      </c:pt>
                      <c:pt idx="602">
                        <c:v>46024</c:v>
                      </c:pt>
                      <c:pt idx="603">
                        <c:v>46027</c:v>
                      </c:pt>
                      <c:pt idx="604">
                        <c:v>46028</c:v>
                      </c:pt>
                      <c:pt idx="605">
                        <c:v>46029</c:v>
                      </c:pt>
                      <c:pt idx="606">
                        <c:v>46030</c:v>
                      </c:pt>
                      <c:pt idx="607">
                        <c:v>46031</c:v>
                      </c:pt>
                      <c:pt idx="608">
                        <c:v>46034</c:v>
                      </c:pt>
                      <c:pt idx="609">
                        <c:v>46035</c:v>
                      </c:pt>
                      <c:pt idx="610">
                        <c:v>46036</c:v>
                      </c:pt>
                      <c:pt idx="611">
                        <c:v>46037</c:v>
                      </c:pt>
                      <c:pt idx="612">
                        <c:v>46038</c:v>
                      </c:pt>
                      <c:pt idx="613">
                        <c:v>46041</c:v>
                      </c:pt>
                      <c:pt idx="614">
                        <c:v>46042</c:v>
                      </c:pt>
                      <c:pt idx="615">
                        <c:v>46043</c:v>
                      </c:pt>
                      <c:pt idx="616">
                        <c:v>46044</c:v>
                      </c:pt>
                      <c:pt idx="617">
                        <c:v>46045</c:v>
                      </c:pt>
                      <c:pt idx="618">
                        <c:v>46048</c:v>
                      </c:pt>
                      <c:pt idx="619">
                        <c:v>46049</c:v>
                      </c:pt>
                      <c:pt idx="620">
                        <c:v>46050</c:v>
                      </c:pt>
                      <c:pt idx="621">
                        <c:v>46051</c:v>
                      </c:pt>
                      <c:pt idx="622">
                        <c:v>46052</c:v>
                      </c:pt>
                      <c:pt idx="623">
                        <c:v>46055</c:v>
                      </c:pt>
                      <c:pt idx="624">
                        <c:v>46056</c:v>
                      </c:pt>
                      <c:pt idx="625">
                        <c:v>46057</c:v>
                      </c:pt>
                      <c:pt idx="626">
                        <c:v>46058</c:v>
                      </c:pt>
                      <c:pt idx="627">
                        <c:v>46059</c:v>
                      </c:pt>
                      <c:pt idx="628">
                        <c:v>46062</c:v>
                      </c:pt>
                      <c:pt idx="629">
                        <c:v>46063</c:v>
                      </c:pt>
                      <c:pt idx="630">
                        <c:v>46064</c:v>
                      </c:pt>
                      <c:pt idx="631">
                        <c:v>46065</c:v>
                      </c:pt>
                      <c:pt idx="632">
                        <c:v>46066</c:v>
                      </c:pt>
                      <c:pt idx="633">
                        <c:v>46069</c:v>
                      </c:pt>
                      <c:pt idx="634">
                        <c:v>46070</c:v>
                      </c:pt>
                      <c:pt idx="635">
                        <c:v>46071</c:v>
                      </c:pt>
                      <c:pt idx="636">
                        <c:v>46072</c:v>
                      </c:pt>
                      <c:pt idx="637">
                        <c:v>46073</c:v>
                      </c:pt>
                      <c:pt idx="638">
                        <c:v>46076</c:v>
                      </c:pt>
                      <c:pt idx="639">
                        <c:v>46077</c:v>
                      </c:pt>
                      <c:pt idx="640">
                        <c:v>46078</c:v>
                      </c:pt>
                      <c:pt idx="641">
                        <c:v>46079</c:v>
                      </c:pt>
                      <c:pt idx="642">
                        <c:v>46080</c:v>
                      </c:pt>
                      <c:pt idx="643">
                        <c:v>46083</c:v>
                      </c:pt>
                      <c:pt idx="644">
                        <c:v>46084</c:v>
                      </c:pt>
                      <c:pt idx="645">
                        <c:v>46085</c:v>
                      </c:pt>
                      <c:pt idx="646">
                        <c:v>46086</c:v>
                      </c:pt>
                      <c:pt idx="647">
                        <c:v>46087</c:v>
                      </c:pt>
                      <c:pt idx="648">
                        <c:v>46090</c:v>
                      </c:pt>
                      <c:pt idx="649">
                        <c:v>46091</c:v>
                      </c:pt>
                      <c:pt idx="650">
                        <c:v>46092</c:v>
                      </c:pt>
                      <c:pt idx="651">
                        <c:v>46093</c:v>
                      </c:pt>
                      <c:pt idx="652">
                        <c:v>46094</c:v>
                      </c:pt>
                      <c:pt idx="653">
                        <c:v>46097</c:v>
                      </c:pt>
                      <c:pt idx="654">
                        <c:v>46098</c:v>
                      </c:pt>
                      <c:pt idx="655">
                        <c:v>46099</c:v>
                      </c:pt>
                      <c:pt idx="656">
                        <c:v>46100</c:v>
                      </c:pt>
                      <c:pt idx="657">
                        <c:v>46101</c:v>
                      </c:pt>
                      <c:pt idx="658">
                        <c:v>46104</c:v>
                      </c:pt>
                      <c:pt idx="659">
                        <c:v>46105</c:v>
                      </c:pt>
                      <c:pt idx="660">
                        <c:v>46106</c:v>
                      </c:pt>
                      <c:pt idx="661">
                        <c:v>46107</c:v>
                      </c:pt>
                      <c:pt idx="662">
                        <c:v>46108</c:v>
                      </c:pt>
                      <c:pt idx="663">
                        <c:v>46111</c:v>
                      </c:pt>
                      <c:pt idx="664">
                        <c:v>46112</c:v>
                      </c:pt>
                      <c:pt idx="665">
                        <c:v>46113</c:v>
                      </c:pt>
                      <c:pt idx="666">
                        <c:v>46114</c:v>
                      </c:pt>
                      <c:pt idx="667">
                        <c:v>46115</c:v>
                      </c:pt>
                      <c:pt idx="668">
                        <c:v>46118</c:v>
                      </c:pt>
                      <c:pt idx="669">
                        <c:v>46119</c:v>
                      </c:pt>
                      <c:pt idx="670">
                        <c:v>46120</c:v>
                      </c:pt>
                      <c:pt idx="671">
                        <c:v>46121</c:v>
                      </c:pt>
                      <c:pt idx="672">
                        <c:v>46122</c:v>
                      </c:pt>
                      <c:pt idx="673">
                        <c:v>46125</c:v>
                      </c:pt>
                      <c:pt idx="674">
                        <c:v>46126</c:v>
                      </c:pt>
                      <c:pt idx="675">
                        <c:v>46127</c:v>
                      </c:pt>
                      <c:pt idx="676">
                        <c:v>46128</c:v>
                      </c:pt>
                      <c:pt idx="677">
                        <c:v>46129</c:v>
                      </c:pt>
                      <c:pt idx="678">
                        <c:v>46132</c:v>
                      </c:pt>
                      <c:pt idx="679">
                        <c:v>46133</c:v>
                      </c:pt>
                      <c:pt idx="680">
                        <c:v>46134</c:v>
                      </c:pt>
                      <c:pt idx="681">
                        <c:v>46135</c:v>
                      </c:pt>
                      <c:pt idx="682">
                        <c:v>46136</c:v>
                      </c:pt>
                      <c:pt idx="683">
                        <c:v>46139</c:v>
                      </c:pt>
                      <c:pt idx="684">
                        <c:v>46140</c:v>
                      </c:pt>
                      <c:pt idx="685">
                        <c:v>46141</c:v>
                      </c:pt>
                      <c:pt idx="686">
                        <c:v>46142</c:v>
                      </c:pt>
                      <c:pt idx="687">
                        <c:v>46143</c:v>
                      </c:pt>
                      <c:pt idx="688">
                        <c:v>46146</c:v>
                      </c:pt>
                      <c:pt idx="689">
                        <c:v>46147</c:v>
                      </c:pt>
                      <c:pt idx="690">
                        <c:v>46148</c:v>
                      </c:pt>
                      <c:pt idx="691">
                        <c:v>46149</c:v>
                      </c:pt>
                      <c:pt idx="692">
                        <c:v>46150</c:v>
                      </c:pt>
                      <c:pt idx="693">
                        <c:v>46153</c:v>
                      </c:pt>
                      <c:pt idx="694">
                        <c:v>46154</c:v>
                      </c:pt>
                      <c:pt idx="695">
                        <c:v>46155</c:v>
                      </c:pt>
                      <c:pt idx="696">
                        <c:v>46156</c:v>
                      </c:pt>
                      <c:pt idx="697">
                        <c:v>46157</c:v>
                      </c:pt>
                      <c:pt idx="698">
                        <c:v>46160</c:v>
                      </c:pt>
                      <c:pt idx="699">
                        <c:v>46161</c:v>
                      </c:pt>
                      <c:pt idx="700">
                        <c:v>46162</c:v>
                      </c:pt>
                      <c:pt idx="701">
                        <c:v>46163</c:v>
                      </c:pt>
                      <c:pt idx="702">
                        <c:v>46164</c:v>
                      </c:pt>
                      <c:pt idx="703">
                        <c:v>46167</c:v>
                      </c:pt>
                      <c:pt idx="704">
                        <c:v>46168</c:v>
                      </c:pt>
                      <c:pt idx="705">
                        <c:v>46169</c:v>
                      </c:pt>
                      <c:pt idx="706">
                        <c:v>46170</c:v>
                      </c:pt>
                      <c:pt idx="707">
                        <c:v>46171</c:v>
                      </c:pt>
                      <c:pt idx="708">
                        <c:v>46174</c:v>
                      </c:pt>
                      <c:pt idx="709">
                        <c:v>46175</c:v>
                      </c:pt>
                      <c:pt idx="710">
                        <c:v>46176</c:v>
                      </c:pt>
                      <c:pt idx="711">
                        <c:v>46177</c:v>
                      </c:pt>
                      <c:pt idx="712">
                        <c:v>46178</c:v>
                      </c:pt>
                      <c:pt idx="713">
                        <c:v>46181</c:v>
                      </c:pt>
                      <c:pt idx="714">
                        <c:v>46182</c:v>
                      </c:pt>
                      <c:pt idx="715">
                        <c:v>46183</c:v>
                      </c:pt>
                      <c:pt idx="716">
                        <c:v>46184</c:v>
                      </c:pt>
                      <c:pt idx="717">
                        <c:v>46185</c:v>
                      </c:pt>
                      <c:pt idx="718">
                        <c:v>46188</c:v>
                      </c:pt>
                      <c:pt idx="719">
                        <c:v>46189</c:v>
                      </c:pt>
                      <c:pt idx="720">
                        <c:v>46190</c:v>
                      </c:pt>
                      <c:pt idx="721">
                        <c:v>46191</c:v>
                      </c:pt>
                      <c:pt idx="722">
                        <c:v>46192</c:v>
                      </c:pt>
                      <c:pt idx="723">
                        <c:v>46195</c:v>
                      </c:pt>
                      <c:pt idx="724">
                        <c:v>46196</c:v>
                      </c:pt>
                      <c:pt idx="725">
                        <c:v>46197</c:v>
                      </c:pt>
                      <c:pt idx="726">
                        <c:v>46198</c:v>
                      </c:pt>
                      <c:pt idx="727">
                        <c:v>46199</c:v>
                      </c:pt>
                      <c:pt idx="728">
                        <c:v>46202</c:v>
                      </c:pt>
                      <c:pt idx="729">
                        <c:v>46203</c:v>
                      </c:pt>
                      <c:pt idx="730">
                        <c:v>46204</c:v>
                      </c:pt>
                      <c:pt idx="731">
                        <c:v>46205</c:v>
                      </c:pt>
                      <c:pt idx="732">
                        <c:v>46206</c:v>
                      </c:pt>
                      <c:pt idx="733">
                        <c:v>46209</c:v>
                      </c:pt>
                      <c:pt idx="734">
                        <c:v>46210</c:v>
                      </c:pt>
                      <c:pt idx="735">
                        <c:v>46211</c:v>
                      </c:pt>
                      <c:pt idx="736">
                        <c:v>46212</c:v>
                      </c:pt>
                      <c:pt idx="737">
                        <c:v>46213</c:v>
                      </c:pt>
                      <c:pt idx="738">
                        <c:v>46216</c:v>
                      </c:pt>
                      <c:pt idx="739">
                        <c:v>46217</c:v>
                      </c:pt>
                      <c:pt idx="740">
                        <c:v>46218</c:v>
                      </c:pt>
                      <c:pt idx="741">
                        <c:v>46219</c:v>
                      </c:pt>
                      <c:pt idx="742">
                        <c:v>46220</c:v>
                      </c:pt>
                      <c:pt idx="743">
                        <c:v>46223</c:v>
                      </c:pt>
                      <c:pt idx="744">
                        <c:v>46224</c:v>
                      </c:pt>
                      <c:pt idx="745">
                        <c:v>46225</c:v>
                      </c:pt>
                      <c:pt idx="746">
                        <c:v>46226</c:v>
                      </c:pt>
                      <c:pt idx="747">
                        <c:v>46227</c:v>
                      </c:pt>
                      <c:pt idx="748">
                        <c:v>46230</c:v>
                      </c:pt>
                      <c:pt idx="749">
                        <c:v>46231</c:v>
                      </c:pt>
                      <c:pt idx="750">
                        <c:v>46232</c:v>
                      </c:pt>
                      <c:pt idx="751">
                        <c:v>46233</c:v>
                      </c:pt>
                      <c:pt idx="752">
                        <c:v>46234</c:v>
                      </c:pt>
                      <c:pt idx="753">
                        <c:v>46237</c:v>
                      </c:pt>
                      <c:pt idx="754">
                        <c:v>46238</c:v>
                      </c:pt>
                      <c:pt idx="755">
                        <c:v>46239</c:v>
                      </c:pt>
                      <c:pt idx="756">
                        <c:v>46240</c:v>
                      </c:pt>
                      <c:pt idx="757">
                        <c:v>46241</c:v>
                      </c:pt>
                      <c:pt idx="758">
                        <c:v>46244</c:v>
                      </c:pt>
                      <c:pt idx="759">
                        <c:v>46245</c:v>
                      </c:pt>
                      <c:pt idx="760">
                        <c:v>46246</c:v>
                      </c:pt>
                      <c:pt idx="761">
                        <c:v>46247</c:v>
                      </c:pt>
                      <c:pt idx="762">
                        <c:v>46248</c:v>
                      </c:pt>
                      <c:pt idx="763">
                        <c:v>46251</c:v>
                      </c:pt>
                      <c:pt idx="764">
                        <c:v>46252</c:v>
                      </c:pt>
                      <c:pt idx="765">
                        <c:v>46253</c:v>
                      </c:pt>
                      <c:pt idx="766">
                        <c:v>46254</c:v>
                      </c:pt>
                      <c:pt idx="767">
                        <c:v>46255</c:v>
                      </c:pt>
                      <c:pt idx="768">
                        <c:v>46258</c:v>
                      </c:pt>
                      <c:pt idx="769">
                        <c:v>46259</c:v>
                      </c:pt>
                      <c:pt idx="770">
                        <c:v>46260</c:v>
                      </c:pt>
                      <c:pt idx="771">
                        <c:v>46261</c:v>
                      </c:pt>
                      <c:pt idx="772">
                        <c:v>46262</c:v>
                      </c:pt>
                      <c:pt idx="773">
                        <c:v>46265</c:v>
                      </c:pt>
                      <c:pt idx="774">
                        <c:v>46266</c:v>
                      </c:pt>
                      <c:pt idx="775">
                        <c:v>46267</c:v>
                      </c:pt>
                      <c:pt idx="776">
                        <c:v>46268</c:v>
                      </c:pt>
                      <c:pt idx="777">
                        <c:v>46269</c:v>
                      </c:pt>
                      <c:pt idx="778">
                        <c:v>46272</c:v>
                      </c:pt>
                      <c:pt idx="779">
                        <c:v>46273</c:v>
                      </c:pt>
                      <c:pt idx="780">
                        <c:v>46274</c:v>
                      </c:pt>
                      <c:pt idx="781">
                        <c:v>46275</c:v>
                      </c:pt>
                      <c:pt idx="782">
                        <c:v>46276</c:v>
                      </c:pt>
                      <c:pt idx="783">
                        <c:v>46279</c:v>
                      </c:pt>
                      <c:pt idx="784">
                        <c:v>46280</c:v>
                      </c:pt>
                      <c:pt idx="785">
                        <c:v>46281</c:v>
                      </c:pt>
                      <c:pt idx="786">
                        <c:v>46282</c:v>
                      </c:pt>
                      <c:pt idx="787">
                        <c:v>46283</c:v>
                      </c:pt>
                      <c:pt idx="788">
                        <c:v>46286</c:v>
                      </c:pt>
                      <c:pt idx="789">
                        <c:v>46287</c:v>
                      </c:pt>
                      <c:pt idx="790">
                        <c:v>46288</c:v>
                      </c:pt>
                      <c:pt idx="791">
                        <c:v>46289</c:v>
                      </c:pt>
                      <c:pt idx="792">
                        <c:v>46290</c:v>
                      </c:pt>
                      <c:pt idx="793">
                        <c:v>46293</c:v>
                      </c:pt>
                      <c:pt idx="794">
                        <c:v>46294</c:v>
                      </c:pt>
                      <c:pt idx="795">
                        <c:v>46295</c:v>
                      </c:pt>
                      <c:pt idx="796">
                        <c:v>46296</c:v>
                      </c:pt>
                      <c:pt idx="797">
                        <c:v>46297</c:v>
                      </c:pt>
                      <c:pt idx="798">
                        <c:v>46300</c:v>
                      </c:pt>
                      <c:pt idx="799">
                        <c:v>46301</c:v>
                      </c:pt>
                      <c:pt idx="800">
                        <c:v>46302</c:v>
                      </c:pt>
                      <c:pt idx="801">
                        <c:v>46303</c:v>
                      </c:pt>
                      <c:pt idx="802">
                        <c:v>46304</c:v>
                      </c:pt>
                      <c:pt idx="803">
                        <c:v>46307</c:v>
                      </c:pt>
                      <c:pt idx="804">
                        <c:v>46308</c:v>
                      </c:pt>
                      <c:pt idx="805">
                        <c:v>46309</c:v>
                      </c:pt>
                      <c:pt idx="806">
                        <c:v>46310</c:v>
                      </c:pt>
                      <c:pt idx="807">
                        <c:v>46311</c:v>
                      </c:pt>
                      <c:pt idx="808">
                        <c:v>46314</c:v>
                      </c:pt>
                      <c:pt idx="809">
                        <c:v>46315</c:v>
                      </c:pt>
                      <c:pt idx="810">
                        <c:v>46316</c:v>
                      </c:pt>
                      <c:pt idx="811">
                        <c:v>46317</c:v>
                      </c:pt>
                      <c:pt idx="812">
                        <c:v>46318</c:v>
                      </c:pt>
                      <c:pt idx="813">
                        <c:v>46321</c:v>
                      </c:pt>
                      <c:pt idx="814">
                        <c:v>46322</c:v>
                      </c:pt>
                      <c:pt idx="815">
                        <c:v>46323</c:v>
                      </c:pt>
                      <c:pt idx="816">
                        <c:v>46324</c:v>
                      </c:pt>
                      <c:pt idx="817">
                        <c:v>46325</c:v>
                      </c:pt>
                      <c:pt idx="818">
                        <c:v>46328</c:v>
                      </c:pt>
                      <c:pt idx="819">
                        <c:v>46329</c:v>
                      </c:pt>
                      <c:pt idx="820">
                        <c:v>46330</c:v>
                      </c:pt>
                      <c:pt idx="821">
                        <c:v>46331</c:v>
                      </c:pt>
                      <c:pt idx="822">
                        <c:v>46332</c:v>
                      </c:pt>
                      <c:pt idx="823">
                        <c:v>46335</c:v>
                      </c:pt>
                      <c:pt idx="824">
                        <c:v>46336</c:v>
                      </c:pt>
                      <c:pt idx="825">
                        <c:v>46337</c:v>
                      </c:pt>
                      <c:pt idx="826">
                        <c:v>46338</c:v>
                      </c:pt>
                      <c:pt idx="827">
                        <c:v>46339</c:v>
                      </c:pt>
                      <c:pt idx="828">
                        <c:v>46342</c:v>
                      </c:pt>
                      <c:pt idx="829">
                        <c:v>46343</c:v>
                      </c:pt>
                      <c:pt idx="830">
                        <c:v>46344</c:v>
                      </c:pt>
                      <c:pt idx="831">
                        <c:v>46345</c:v>
                      </c:pt>
                      <c:pt idx="832">
                        <c:v>46346</c:v>
                      </c:pt>
                      <c:pt idx="833">
                        <c:v>46349</c:v>
                      </c:pt>
                      <c:pt idx="834">
                        <c:v>46350</c:v>
                      </c:pt>
                      <c:pt idx="835">
                        <c:v>46351</c:v>
                      </c:pt>
                      <c:pt idx="836">
                        <c:v>46352</c:v>
                      </c:pt>
                      <c:pt idx="837">
                        <c:v>46353</c:v>
                      </c:pt>
                      <c:pt idx="838">
                        <c:v>46356</c:v>
                      </c:pt>
                      <c:pt idx="839">
                        <c:v>46357</c:v>
                      </c:pt>
                      <c:pt idx="840">
                        <c:v>46358</c:v>
                      </c:pt>
                      <c:pt idx="841">
                        <c:v>46359</c:v>
                      </c:pt>
                      <c:pt idx="842">
                        <c:v>46360</c:v>
                      </c:pt>
                      <c:pt idx="843">
                        <c:v>46363</c:v>
                      </c:pt>
                      <c:pt idx="844">
                        <c:v>46364</c:v>
                      </c:pt>
                      <c:pt idx="845">
                        <c:v>46365</c:v>
                      </c:pt>
                      <c:pt idx="846">
                        <c:v>46366</c:v>
                      </c:pt>
                      <c:pt idx="847">
                        <c:v>46367</c:v>
                      </c:pt>
                      <c:pt idx="848">
                        <c:v>46370</c:v>
                      </c:pt>
                      <c:pt idx="849">
                        <c:v>46371</c:v>
                      </c:pt>
                      <c:pt idx="850">
                        <c:v>46372</c:v>
                      </c:pt>
                      <c:pt idx="851">
                        <c:v>46373</c:v>
                      </c:pt>
                      <c:pt idx="852">
                        <c:v>46374</c:v>
                      </c:pt>
                      <c:pt idx="853">
                        <c:v>46377</c:v>
                      </c:pt>
                      <c:pt idx="854">
                        <c:v>46378</c:v>
                      </c:pt>
                      <c:pt idx="855">
                        <c:v>46379</c:v>
                      </c:pt>
                      <c:pt idx="856">
                        <c:v>46380</c:v>
                      </c:pt>
                      <c:pt idx="857">
                        <c:v>46381</c:v>
                      </c:pt>
                      <c:pt idx="858">
                        <c:v>46384</c:v>
                      </c:pt>
                      <c:pt idx="859">
                        <c:v>46385</c:v>
                      </c:pt>
                      <c:pt idx="860">
                        <c:v>46386</c:v>
                      </c:pt>
                      <c:pt idx="861">
                        <c:v>46387</c:v>
                      </c:pt>
                      <c:pt idx="862">
                        <c:v>46388</c:v>
                      </c:pt>
                      <c:pt idx="863">
                        <c:v>46391</c:v>
                      </c:pt>
                      <c:pt idx="864">
                        <c:v>46392</c:v>
                      </c:pt>
                      <c:pt idx="865">
                        <c:v>46393</c:v>
                      </c:pt>
                      <c:pt idx="866">
                        <c:v>46394</c:v>
                      </c:pt>
                      <c:pt idx="867">
                        <c:v>46395</c:v>
                      </c:pt>
                      <c:pt idx="868">
                        <c:v>46398</c:v>
                      </c:pt>
                      <c:pt idx="869">
                        <c:v>46399</c:v>
                      </c:pt>
                      <c:pt idx="870">
                        <c:v>46400</c:v>
                      </c:pt>
                      <c:pt idx="871">
                        <c:v>46401</c:v>
                      </c:pt>
                      <c:pt idx="872">
                        <c:v>46402</c:v>
                      </c:pt>
                      <c:pt idx="873">
                        <c:v>46405</c:v>
                      </c:pt>
                      <c:pt idx="874">
                        <c:v>46406</c:v>
                      </c:pt>
                      <c:pt idx="875">
                        <c:v>46407</c:v>
                      </c:pt>
                      <c:pt idx="876">
                        <c:v>46408</c:v>
                      </c:pt>
                      <c:pt idx="877">
                        <c:v>46409</c:v>
                      </c:pt>
                      <c:pt idx="878">
                        <c:v>46412</c:v>
                      </c:pt>
                      <c:pt idx="879">
                        <c:v>46413</c:v>
                      </c:pt>
                      <c:pt idx="880">
                        <c:v>46414</c:v>
                      </c:pt>
                      <c:pt idx="881">
                        <c:v>46415</c:v>
                      </c:pt>
                      <c:pt idx="882">
                        <c:v>46416</c:v>
                      </c:pt>
                      <c:pt idx="883">
                        <c:v>46419</c:v>
                      </c:pt>
                      <c:pt idx="884">
                        <c:v>46420</c:v>
                      </c:pt>
                      <c:pt idx="885">
                        <c:v>46421</c:v>
                      </c:pt>
                      <c:pt idx="886">
                        <c:v>46422</c:v>
                      </c:pt>
                      <c:pt idx="887">
                        <c:v>46423</c:v>
                      </c:pt>
                      <c:pt idx="888">
                        <c:v>46426</c:v>
                      </c:pt>
                      <c:pt idx="889">
                        <c:v>46427</c:v>
                      </c:pt>
                      <c:pt idx="890">
                        <c:v>46428</c:v>
                      </c:pt>
                      <c:pt idx="891">
                        <c:v>46429</c:v>
                      </c:pt>
                      <c:pt idx="892">
                        <c:v>46430</c:v>
                      </c:pt>
                      <c:pt idx="893">
                        <c:v>46433</c:v>
                      </c:pt>
                      <c:pt idx="894">
                        <c:v>46434</c:v>
                      </c:pt>
                      <c:pt idx="895">
                        <c:v>46435</c:v>
                      </c:pt>
                      <c:pt idx="896">
                        <c:v>46436</c:v>
                      </c:pt>
                      <c:pt idx="897">
                        <c:v>46437</c:v>
                      </c:pt>
                      <c:pt idx="898">
                        <c:v>46440</c:v>
                      </c:pt>
                      <c:pt idx="899">
                        <c:v>46441</c:v>
                      </c:pt>
                      <c:pt idx="900">
                        <c:v>46442</c:v>
                      </c:pt>
                      <c:pt idx="901">
                        <c:v>46443</c:v>
                      </c:pt>
                      <c:pt idx="902">
                        <c:v>46444</c:v>
                      </c:pt>
                      <c:pt idx="903">
                        <c:v>46447</c:v>
                      </c:pt>
                      <c:pt idx="904">
                        <c:v>46448</c:v>
                      </c:pt>
                      <c:pt idx="905">
                        <c:v>46449</c:v>
                      </c:pt>
                      <c:pt idx="906">
                        <c:v>46450</c:v>
                      </c:pt>
                      <c:pt idx="907">
                        <c:v>46451</c:v>
                      </c:pt>
                      <c:pt idx="908">
                        <c:v>46454</c:v>
                      </c:pt>
                      <c:pt idx="909">
                        <c:v>46455</c:v>
                      </c:pt>
                      <c:pt idx="910">
                        <c:v>46456</c:v>
                      </c:pt>
                      <c:pt idx="911">
                        <c:v>46457</c:v>
                      </c:pt>
                      <c:pt idx="912">
                        <c:v>46458</c:v>
                      </c:pt>
                      <c:pt idx="913">
                        <c:v>46461</c:v>
                      </c:pt>
                      <c:pt idx="914">
                        <c:v>46462</c:v>
                      </c:pt>
                      <c:pt idx="915">
                        <c:v>46463</c:v>
                      </c:pt>
                      <c:pt idx="916">
                        <c:v>46464</c:v>
                      </c:pt>
                      <c:pt idx="917">
                        <c:v>46465</c:v>
                      </c:pt>
                      <c:pt idx="918">
                        <c:v>46468</c:v>
                      </c:pt>
                      <c:pt idx="919">
                        <c:v>46469</c:v>
                      </c:pt>
                      <c:pt idx="920">
                        <c:v>46470</c:v>
                      </c:pt>
                      <c:pt idx="921">
                        <c:v>46471</c:v>
                      </c:pt>
                      <c:pt idx="922">
                        <c:v>46472</c:v>
                      </c:pt>
                      <c:pt idx="923">
                        <c:v>46475</c:v>
                      </c:pt>
                      <c:pt idx="924">
                        <c:v>46476</c:v>
                      </c:pt>
                      <c:pt idx="925">
                        <c:v>46477</c:v>
                      </c:pt>
                      <c:pt idx="926">
                        <c:v>46478</c:v>
                      </c:pt>
                      <c:pt idx="927">
                        <c:v>46479</c:v>
                      </c:pt>
                      <c:pt idx="928">
                        <c:v>46482</c:v>
                      </c:pt>
                      <c:pt idx="929">
                        <c:v>46483</c:v>
                      </c:pt>
                      <c:pt idx="930">
                        <c:v>46484</c:v>
                      </c:pt>
                      <c:pt idx="931">
                        <c:v>46485</c:v>
                      </c:pt>
                      <c:pt idx="932">
                        <c:v>46486</c:v>
                      </c:pt>
                      <c:pt idx="933">
                        <c:v>46489</c:v>
                      </c:pt>
                      <c:pt idx="934">
                        <c:v>46490</c:v>
                      </c:pt>
                      <c:pt idx="935">
                        <c:v>46491</c:v>
                      </c:pt>
                      <c:pt idx="936">
                        <c:v>46492</c:v>
                      </c:pt>
                      <c:pt idx="937">
                        <c:v>46493</c:v>
                      </c:pt>
                      <c:pt idx="938">
                        <c:v>46496</c:v>
                      </c:pt>
                      <c:pt idx="939">
                        <c:v>46497</c:v>
                      </c:pt>
                      <c:pt idx="940">
                        <c:v>46498</c:v>
                      </c:pt>
                      <c:pt idx="941">
                        <c:v>46499</c:v>
                      </c:pt>
                      <c:pt idx="942">
                        <c:v>46500</c:v>
                      </c:pt>
                      <c:pt idx="943">
                        <c:v>46503</c:v>
                      </c:pt>
                      <c:pt idx="944">
                        <c:v>46504</c:v>
                      </c:pt>
                      <c:pt idx="945">
                        <c:v>46505</c:v>
                      </c:pt>
                      <c:pt idx="946">
                        <c:v>46506</c:v>
                      </c:pt>
                      <c:pt idx="947">
                        <c:v>46507</c:v>
                      </c:pt>
                      <c:pt idx="948">
                        <c:v>46510</c:v>
                      </c:pt>
                      <c:pt idx="949">
                        <c:v>46511</c:v>
                      </c:pt>
                      <c:pt idx="950">
                        <c:v>46512</c:v>
                      </c:pt>
                      <c:pt idx="951">
                        <c:v>46513</c:v>
                      </c:pt>
                      <c:pt idx="952">
                        <c:v>46514</c:v>
                      </c:pt>
                      <c:pt idx="953">
                        <c:v>46517</c:v>
                      </c:pt>
                      <c:pt idx="954">
                        <c:v>46518</c:v>
                      </c:pt>
                      <c:pt idx="955">
                        <c:v>46519</c:v>
                      </c:pt>
                      <c:pt idx="956">
                        <c:v>46520</c:v>
                      </c:pt>
                      <c:pt idx="957">
                        <c:v>46521</c:v>
                      </c:pt>
                      <c:pt idx="958">
                        <c:v>46524</c:v>
                      </c:pt>
                      <c:pt idx="959">
                        <c:v>46525</c:v>
                      </c:pt>
                      <c:pt idx="960">
                        <c:v>46526</c:v>
                      </c:pt>
                      <c:pt idx="961">
                        <c:v>46527</c:v>
                      </c:pt>
                      <c:pt idx="962">
                        <c:v>46528</c:v>
                      </c:pt>
                      <c:pt idx="963">
                        <c:v>46531</c:v>
                      </c:pt>
                      <c:pt idx="964">
                        <c:v>46532</c:v>
                      </c:pt>
                      <c:pt idx="965">
                        <c:v>46533</c:v>
                      </c:pt>
                      <c:pt idx="966">
                        <c:v>46534</c:v>
                      </c:pt>
                      <c:pt idx="967">
                        <c:v>46535</c:v>
                      </c:pt>
                      <c:pt idx="968">
                        <c:v>46538</c:v>
                      </c:pt>
                      <c:pt idx="969">
                        <c:v>46539</c:v>
                      </c:pt>
                      <c:pt idx="970">
                        <c:v>46540</c:v>
                      </c:pt>
                      <c:pt idx="971">
                        <c:v>46541</c:v>
                      </c:pt>
                      <c:pt idx="972">
                        <c:v>46542</c:v>
                      </c:pt>
                      <c:pt idx="973">
                        <c:v>46545</c:v>
                      </c:pt>
                      <c:pt idx="974">
                        <c:v>46546</c:v>
                      </c:pt>
                      <c:pt idx="975">
                        <c:v>46547</c:v>
                      </c:pt>
                      <c:pt idx="976">
                        <c:v>46548</c:v>
                      </c:pt>
                      <c:pt idx="977">
                        <c:v>46549</c:v>
                      </c:pt>
                      <c:pt idx="978">
                        <c:v>46552</c:v>
                      </c:pt>
                      <c:pt idx="979">
                        <c:v>46553</c:v>
                      </c:pt>
                      <c:pt idx="980">
                        <c:v>46554</c:v>
                      </c:pt>
                      <c:pt idx="981">
                        <c:v>46555</c:v>
                      </c:pt>
                      <c:pt idx="982">
                        <c:v>46556</c:v>
                      </c:pt>
                      <c:pt idx="983">
                        <c:v>46559</c:v>
                      </c:pt>
                      <c:pt idx="984">
                        <c:v>46560</c:v>
                      </c:pt>
                      <c:pt idx="985">
                        <c:v>46561</c:v>
                      </c:pt>
                      <c:pt idx="986">
                        <c:v>46562</c:v>
                      </c:pt>
                      <c:pt idx="987">
                        <c:v>46563</c:v>
                      </c:pt>
                      <c:pt idx="988">
                        <c:v>46566</c:v>
                      </c:pt>
                      <c:pt idx="989">
                        <c:v>46567</c:v>
                      </c:pt>
                      <c:pt idx="990">
                        <c:v>46568</c:v>
                      </c:pt>
                      <c:pt idx="991">
                        <c:v>46569</c:v>
                      </c:pt>
                      <c:pt idx="992">
                        <c:v>46570</c:v>
                      </c:pt>
                      <c:pt idx="993">
                        <c:v>46573</c:v>
                      </c:pt>
                      <c:pt idx="994">
                        <c:v>46574</c:v>
                      </c:pt>
                      <c:pt idx="995">
                        <c:v>46575</c:v>
                      </c:pt>
                      <c:pt idx="996">
                        <c:v>46576</c:v>
                      </c:pt>
                      <c:pt idx="997">
                        <c:v>46577</c:v>
                      </c:pt>
                      <c:pt idx="998">
                        <c:v>46580</c:v>
                      </c:pt>
                    </c:numCache>
                  </c:numRef>
                </c:cat>
                <c:val>
                  <c:numRef>
                    <c:extLst>
                      <c:ext uri="{02D57815-91ED-43cb-92C2-25804820EDAC}">
                        <c15:formulaRef>
                          <c15:sqref>Daily!$Q$2:$Q$1057</c15:sqref>
                        </c15:formulaRef>
                      </c:ext>
                    </c:extLst>
                    <c:numCache>
                      <c:formatCode>#,##0</c:formatCode>
                      <c:ptCount val="1056"/>
                      <c:pt idx="0">
                        <c:v>8085</c:v>
                      </c:pt>
                      <c:pt idx="1">
                        <c:v>13122</c:v>
                      </c:pt>
                      <c:pt idx="2">
                        <c:v>15020</c:v>
                      </c:pt>
                      <c:pt idx="3">
                        <c:v>14508</c:v>
                      </c:pt>
                      <c:pt idx="4">
                        <c:v>15105</c:v>
                      </c:pt>
                      <c:pt idx="5">
                        <c:v>14780</c:v>
                      </c:pt>
                      <c:pt idx="6">
                        <c:v>15505</c:v>
                      </c:pt>
                      <c:pt idx="7">
                        <c:v>15676</c:v>
                      </c:pt>
                      <c:pt idx="8">
                        <c:v>15675</c:v>
                      </c:pt>
                      <c:pt idx="9">
                        <c:v>16230</c:v>
                      </c:pt>
                      <c:pt idx="10">
                        <c:v>16442</c:v>
                      </c:pt>
                      <c:pt idx="11">
                        <c:v>18615</c:v>
                      </c:pt>
                      <c:pt idx="12">
                        <c:v>20447</c:v>
                      </c:pt>
                      <c:pt idx="13">
                        <c:v>20194</c:v>
                      </c:pt>
                      <c:pt idx="14">
                        <c:v>23910</c:v>
                      </c:pt>
                      <c:pt idx="15">
                        <c:v>25574</c:v>
                      </c:pt>
                      <c:pt idx="16">
                        <c:v>31513</c:v>
                      </c:pt>
                      <c:pt idx="17">
                        <c:v>35763</c:v>
                      </c:pt>
                      <c:pt idx="18">
                        <c:v>34637</c:v>
                      </c:pt>
                      <c:pt idx="19">
                        <c:v>37164</c:v>
                      </c:pt>
                      <c:pt idx="20">
                        <c:v>34426</c:v>
                      </c:pt>
                      <c:pt idx="21">
                        <c:v>32603</c:v>
                      </c:pt>
                      <c:pt idx="22">
                        <c:v>32402</c:v>
                      </c:pt>
                      <c:pt idx="23">
                        <c:v>33373</c:v>
                      </c:pt>
                      <c:pt idx="24">
                        <c:v>32539</c:v>
                      </c:pt>
                      <c:pt idx="25">
                        <c:v>35118</c:v>
                      </c:pt>
                      <c:pt idx="26">
                        <c:v>40209</c:v>
                      </c:pt>
                      <c:pt idx="27">
                        <c:v>41506</c:v>
                      </c:pt>
                      <c:pt idx="28">
                        <c:v>42342</c:v>
                      </c:pt>
                      <c:pt idx="29">
                        <c:v>42781</c:v>
                      </c:pt>
                      <c:pt idx="30">
                        <c:v>42394</c:v>
                      </c:pt>
                      <c:pt idx="31">
                        <c:v>42254</c:v>
                      </c:pt>
                      <c:pt idx="32">
                        <c:v>42918</c:v>
                      </c:pt>
                      <c:pt idx="33">
                        <c:v>44121</c:v>
                      </c:pt>
                      <c:pt idx="34">
                        <c:v>47905</c:v>
                      </c:pt>
                      <c:pt idx="35">
                        <c:v>55765</c:v>
                      </c:pt>
                      <c:pt idx="36">
                        <c:v>58960</c:v>
                      </c:pt>
                      <c:pt idx="37">
                        <c:v>62317</c:v>
                      </c:pt>
                      <c:pt idx="38">
                        <c:v>64288</c:v>
                      </c:pt>
                      <c:pt idx="39">
                        <c:v>72526</c:v>
                      </c:pt>
                      <c:pt idx="40">
                        <c:v>74360</c:v>
                      </c:pt>
                      <c:pt idx="41">
                        <c:v>78420</c:v>
                      </c:pt>
                      <c:pt idx="42">
                        <c:v>89721</c:v>
                      </c:pt>
                      <c:pt idx="43">
                        <c:v>98481</c:v>
                      </c:pt>
                      <c:pt idx="44">
                        <c:v>95389</c:v>
                      </c:pt>
                      <c:pt idx="45">
                        <c:v>96303</c:v>
                      </c:pt>
                      <c:pt idx="46">
                        <c:v>99150</c:v>
                      </c:pt>
                      <c:pt idx="47">
                        <c:v>107796</c:v>
                      </c:pt>
                      <c:pt idx="48">
                        <c:v>106659</c:v>
                      </c:pt>
                      <c:pt idx="49">
                        <c:v>100532</c:v>
                      </c:pt>
                      <c:pt idx="50">
                        <c:v>106282</c:v>
                      </c:pt>
                      <c:pt idx="51">
                        <c:v>113144</c:v>
                      </c:pt>
                      <c:pt idx="52">
                        <c:v>118372</c:v>
                      </c:pt>
                      <c:pt idx="53">
                        <c:v>119027</c:v>
                      </c:pt>
                      <c:pt idx="54">
                        <c:v>108907</c:v>
                      </c:pt>
                      <c:pt idx="55">
                        <c:v>114876</c:v>
                      </c:pt>
                      <c:pt idx="56">
                        <c:v>120006</c:v>
                      </c:pt>
                      <c:pt idx="57">
                        <c:v>122017</c:v>
                      </c:pt>
                      <c:pt idx="58">
                        <c:v>128737</c:v>
                      </c:pt>
                      <c:pt idx="59">
                        <c:v>136415</c:v>
                      </c:pt>
                      <c:pt idx="60">
                        <c:v>142151</c:v>
                      </c:pt>
                      <c:pt idx="61">
                        <c:v>142103</c:v>
                      </c:pt>
                      <c:pt idx="62">
                        <c:v>146914</c:v>
                      </c:pt>
                      <c:pt idx="63">
                        <c:v>155074</c:v>
                      </c:pt>
                      <c:pt idx="64">
                        <c:v>157541</c:v>
                      </c:pt>
                      <c:pt idx="65">
                        <c:v>157651</c:v>
                      </c:pt>
                      <c:pt idx="66">
                        <c:v>160480</c:v>
                      </c:pt>
                      <c:pt idx="67">
                        <c:v>166055</c:v>
                      </c:pt>
                      <c:pt idx="68">
                        <c:v>169552</c:v>
                      </c:pt>
                      <c:pt idx="69">
                        <c:v>176966</c:v>
                      </c:pt>
                      <c:pt idx="70">
                        <c:v>195148</c:v>
                      </c:pt>
                      <c:pt idx="71">
                        <c:v>207789</c:v>
                      </c:pt>
                      <c:pt idx="72">
                        <c:v>200293</c:v>
                      </c:pt>
                      <c:pt idx="73">
                        <c:v>201886</c:v>
                      </c:pt>
                      <c:pt idx="74">
                        <c:v>193637</c:v>
                      </c:pt>
                      <c:pt idx="75">
                        <c:v>193811</c:v>
                      </c:pt>
                      <c:pt idx="76">
                        <c:v>196984</c:v>
                      </c:pt>
                      <c:pt idx="77">
                        <c:v>208643</c:v>
                      </c:pt>
                      <c:pt idx="78">
                        <c:v>217280</c:v>
                      </c:pt>
                      <c:pt idx="79">
                        <c:v>218608</c:v>
                      </c:pt>
                      <c:pt idx="80">
                        <c:v>226705</c:v>
                      </c:pt>
                      <c:pt idx="81">
                        <c:v>233445</c:v>
                      </c:pt>
                      <c:pt idx="82">
                        <c:v>238614</c:v>
                      </c:pt>
                      <c:pt idx="83">
                        <c:v>238458</c:v>
                      </c:pt>
                      <c:pt idx="84">
                        <c:v>249256</c:v>
                      </c:pt>
                      <c:pt idx="85">
                        <c:v>273942</c:v>
                      </c:pt>
                      <c:pt idx="86">
                        <c:v>276354</c:v>
                      </c:pt>
                      <c:pt idx="87">
                        <c:v>315263</c:v>
                      </c:pt>
                      <c:pt idx="88">
                        <c:v>328597</c:v>
                      </c:pt>
                      <c:pt idx="89">
                        <c:v>331785</c:v>
                      </c:pt>
                      <c:pt idx="90">
                        <c:v>368476</c:v>
                      </c:pt>
                      <c:pt idx="91">
                        <c:v>389661</c:v>
                      </c:pt>
                      <c:pt idx="92">
                        <c:v>388713</c:v>
                      </c:pt>
                      <c:pt idx="93">
                        <c:v>418857</c:v>
                      </c:pt>
                      <c:pt idx="94">
                        <c:v>400419</c:v>
                      </c:pt>
                      <c:pt idx="95">
                        <c:v>308040</c:v>
                      </c:pt>
                      <c:pt idx="96">
                        <c:v>323695</c:v>
                      </c:pt>
                      <c:pt idx="97">
                        <c:v>323614</c:v>
                      </c:pt>
                      <c:pt idx="98">
                        <c:v>307327</c:v>
                      </c:pt>
                      <c:pt idx="99">
                        <c:v>305461</c:v>
                      </c:pt>
                      <c:pt idx="100">
                        <c:v>300576</c:v>
                      </c:pt>
                      <c:pt idx="101">
                        <c:v>295884</c:v>
                      </c:pt>
                      <c:pt idx="102">
                        <c:v>294119</c:v>
                      </c:pt>
                      <c:pt idx="103">
                        <c:v>288409</c:v>
                      </c:pt>
                      <c:pt idx="104">
                        <c:v>289256</c:v>
                      </c:pt>
                      <c:pt idx="105">
                        <c:v>292814</c:v>
                      </c:pt>
                      <c:pt idx="106">
                        <c:v>285088</c:v>
                      </c:pt>
                      <c:pt idx="107">
                        <c:v>278206</c:v>
                      </c:pt>
                      <c:pt idx="108">
                        <c:v>280042</c:v>
                      </c:pt>
                      <c:pt idx="109">
                        <c:v>275608</c:v>
                      </c:pt>
                      <c:pt idx="110">
                        <c:v>270011</c:v>
                      </c:pt>
                      <c:pt idx="111">
                        <c:v>262088</c:v>
                      </c:pt>
                      <c:pt idx="112">
                        <c:v>263432</c:v>
                      </c:pt>
                      <c:pt idx="113">
                        <c:v>263577</c:v>
                      </c:pt>
                      <c:pt idx="114">
                        <c:v>269911</c:v>
                      </c:pt>
                      <c:pt idx="115">
                        <c:v>275159</c:v>
                      </c:pt>
                      <c:pt idx="116">
                        <c:v>269889</c:v>
                      </c:pt>
                      <c:pt idx="117">
                        <c:v>269835</c:v>
                      </c:pt>
                      <c:pt idx="118">
                        <c:v>267518</c:v>
                      </c:pt>
                      <c:pt idx="119">
                        <c:v>266413</c:v>
                      </c:pt>
                      <c:pt idx="120">
                        <c:v>271350</c:v>
                      </c:pt>
                      <c:pt idx="121">
                        <c:v>267949</c:v>
                      </c:pt>
                      <c:pt idx="122">
                        <c:v>265155</c:v>
                      </c:pt>
                      <c:pt idx="123">
                        <c:v>264567</c:v>
                      </c:pt>
                      <c:pt idx="124">
                        <c:v>258211</c:v>
                      </c:pt>
                      <c:pt idx="125">
                        <c:v>254276</c:v>
                      </c:pt>
                      <c:pt idx="126">
                        <c:v>256351</c:v>
                      </c:pt>
                      <c:pt idx="127">
                        <c:v>257143</c:v>
                      </c:pt>
                      <c:pt idx="128">
                        <c:v>255720</c:v>
                      </c:pt>
                      <c:pt idx="129">
                        <c:v>251200</c:v>
                      </c:pt>
                      <c:pt idx="130">
                        <c:v>245616</c:v>
                      </c:pt>
                      <c:pt idx="131">
                        <c:v>252537</c:v>
                      </c:pt>
                      <c:pt idx="132">
                        <c:v>243025</c:v>
                      </c:pt>
                      <c:pt idx="133">
                        <c:v>232551</c:v>
                      </c:pt>
                      <c:pt idx="134">
                        <c:v>227930</c:v>
                      </c:pt>
                      <c:pt idx="135">
                        <c:v>235841</c:v>
                      </c:pt>
                      <c:pt idx="136">
                        <c:v>229732</c:v>
                      </c:pt>
                      <c:pt idx="137">
                        <c:v>229545</c:v>
                      </c:pt>
                      <c:pt idx="138">
                        <c:v>240334</c:v>
                      </c:pt>
                      <c:pt idx="139">
                        <c:v>265448</c:v>
                      </c:pt>
                      <c:pt idx="140">
                        <c:v>257584</c:v>
                      </c:pt>
                      <c:pt idx="141">
                        <c:v>257467</c:v>
                      </c:pt>
                      <c:pt idx="142">
                        <c:v>269553</c:v>
                      </c:pt>
                      <c:pt idx="143">
                        <c:v>277530</c:v>
                      </c:pt>
                      <c:pt idx="144">
                        <c:v>296726</c:v>
                      </c:pt>
                      <c:pt idx="145">
                        <c:v>295528</c:v>
                      </c:pt>
                      <c:pt idx="146">
                        <c:v>321349</c:v>
                      </c:pt>
                      <c:pt idx="147">
                        <c:v>314503</c:v>
                      </c:pt>
                      <c:pt idx="148">
                        <c:v>317200</c:v>
                      </c:pt>
                      <c:pt idx="149">
                        <c:v>310341</c:v>
                      </c:pt>
                      <c:pt idx="150">
                        <c:v>321525</c:v>
                      </c:pt>
                      <c:pt idx="151">
                        <c:v>327010</c:v>
                      </c:pt>
                      <c:pt idx="152">
                        <c:v>326896</c:v>
                      </c:pt>
                      <c:pt idx="153">
                        <c:v>340353</c:v>
                      </c:pt>
                      <c:pt idx="154">
                        <c:v>338758</c:v>
                      </c:pt>
                      <c:pt idx="155">
                        <c:v>337413</c:v>
                      </c:pt>
                      <c:pt idx="156">
                        <c:v>317440</c:v>
                      </c:pt>
                      <c:pt idx="157">
                        <c:v>312896</c:v>
                      </c:pt>
                      <c:pt idx="158">
                        <c:v>312633</c:v>
                      </c:pt>
                      <c:pt idx="159">
                        <c:v>307963</c:v>
                      </c:pt>
                      <c:pt idx="160">
                        <c:v>308663</c:v>
                      </c:pt>
                      <c:pt idx="161">
                        <c:v>314551</c:v>
                      </c:pt>
                      <c:pt idx="162">
                        <c:v>305345</c:v>
                      </c:pt>
                      <c:pt idx="163">
                        <c:v>309921</c:v>
                      </c:pt>
                      <c:pt idx="164">
                        <c:v>304060</c:v>
                      </c:pt>
                      <c:pt idx="165">
                        <c:v>305065</c:v>
                      </c:pt>
                      <c:pt idx="166">
                        <c:v>304681</c:v>
                      </c:pt>
                      <c:pt idx="167">
                        <c:v>301064</c:v>
                      </c:pt>
                      <c:pt idx="168">
                        <c:v>302565</c:v>
                      </c:pt>
                      <c:pt idx="169">
                        <c:v>292090</c:v>
                      </c:pt>
                      <c:pt idx="170">
                        <c:v>282580</c:v>
                      </c:pt>
                      <c:pt idx="171">
                        <c:v>282979</c:v>
                      </c:pt>
                      <c:pt idx="172">
                        <c:v>283302</c:v>
                      </c:pt>
                      <c:pt idx="173">
                        <c:v>282621</c:v>
                      </c:pt>
                      <c:pt idx="174">
                        <c:v>276098</c:v>
                      </c:pt>
                      <c:pt idx="175">
                        <c:v>271717</c:v>
                      </c:pt>
                      <c:pt idx="176">
                        <c:v>271626</c:v>
                      </c:pt>
                      <c:pt idx="177">
                        <c:v>268363</c:v>
                      </c:pt>
                      <c:pt idx="178">
                        <c:v>263032</c:v>
                      </c:pt>
                      <c:pt idx="179">
                        <c:v>262602</c:v>
                      </c:pt>
                      <c:pt idx="180">
                        <c:v>264043</c:v>
                      </c:pt>
                      <c:pt idx="181">
                        <c:v>266274</c:v>
                      </c:pt>
                      <c:pt idx="182">
                        <c:v>265418</c:v>
                      </c:pt>
                      <c:pt idx="183">
                        <c:v>268944</c:v>
                      </c:pt>
                      <c:pt idx="184">
                        <c:v>266002</c:v>
                      </c:pt>
                      <c:pt idx="185">
                        <c:v>261900</c:v>
                      </c:pt>
                      <c:pt idx="186">
                        <c:v>289851</c:v>
                      </c:pt>
                      <c:pt idx="187">
                        <c:v>276761</c:v>
                      </c:pt>
                      <c:pt idx="188">
                        <c:v>281666</c:v>
                      </c:pt>
                      <c:pt idx="189">
                        <c:v>287478</c:v>
                      </c:pt>
                      <c:pt idx="190">
                        <c:v>289713</c:v>
                      </c:pt>
                      <c:pt idx="191">
                        <c:v>293436</c:v>
                      </c:pt>
                      <c:pt idx="192">
                        <c:v>298966</c:v>
                      </c:pt>
                      <c:pt idx="193">
                        <c:v>302623</c:v>
                      </c:pt>
                      <c:pt idx="194">
                        <c:v>302378</c:v>
                      </c:pt>
                      <c:pt idx="195">
                        <c:v>303976</c:v>
                      </c:pt>
                      <c:pt idx="196">
                        <c:v>298301</c:v>
                      </c:pt>
                      <c:pt idx="197">
                        <c:v>285986</c:v>
                      </c:pt>
                      <c:pt idx="198">
                        <c:v>285093</c:v>
                      </c:pt>
                      <c:pt idx="199">
                        <c:v>282785</c:v>
                      </c:pt>
                      <c:pt idx="200">
                        <c:v>286518</c:v>
                      </c:pt>
                      <c:pt idx="201">
                        <c:v>282825</c:v>
                      </c:pt>
                      <c:pt idx="202">
                        <c:v>284945</c:v>
                      </c:pt>
                      <c:pt idx="203">
                        <c:v>291216</c:v>
                      </c:pt>
                      <c:pt idx="204">
                        <c:v>292720</c:v>
                      </c:pt>
                      <c:pt idx="205">
                        <c:v>290462</c:v>
                      </c:pt>
                      <c:pt idx="206">
                        <c:v>290321</c:v>
                      </c:pt>
                      <c:pt idx="207">
                        <c:v>290748</c:v>
                      </c:pt>
                      <c:pt idx="208">
                        <c:v>294706</c:v>
                      </c:pt>
                      <c:pt idx="209">
                        <c:v>298695</c:v>
                      </c:pt>
                      <c:pt idx="210">
                        <c:v>302933</c:v>
                      </c:pt>
                      <c:pt idx="211">
                        <c:v>296589</c:v>
                      </c:pt>
                      <c:pt idx="212">
                        <c:v>296018</c:v>
                      </c:pt>
                      <c:pt idx="213">
                        <c:v>301070</c:v>
                      </c:pt>
                      <c:pt idx="214">
                        <c:v>299277</c:v>
                      </c:pt>
                      <c:pt idx="215">
                        <c:v>293681</c:v>
                      </c:pt>
                      <c:pt idx="216">
                        <c:v>293689</c:v>
                      </c:pt>
                      <c:pt idx="217">
                        <c:v>295014</c:v>
                      </c:pt>
                      <c:pt idx="218">
                        <c:v>307187</c:v>
                      </c:pt>
                      <c:pt idx="219">
                        <c:v>302128</c:v>
                      </c:pt>
                      <c:pt idx="220">
                        <c:v>296646</c:v>
                      </c:pt>
                      <c:pt idx="221">
                        <c:v>297993</c:v>
                      </c:pt>
                      <c:pt idx="222">
                        <c:v>301896</c:v>
                      </c:pt>
                      <c:pt idx="223">
                        <c:v>304777</c:v>
                      </c:pt>
                      <c:pt idx="224">
                        <c:v>306583</c:v>
                      </c:pt>
                      <c:pt idx="225">
                        <c:v>306775</c:v>
                      </c:pt>
                      <c:pt idx="226">
                        <c:v>306774</c:v>
                      </c:pt>
                      <c:pt idx="227">
                        <c:v>310062</c:v>
                      </c:pt>
                      <c:pt idx="228">
                        <c:v>314614</c:v>
                      </c:pt>
                      <c:pt idx="229">
                        <c:v>317538</c:v>
                      </c:pt>
                      <c:pt idx="230">
                        <c:v>321627</c:v>
                      </c:pt>
                      <c:pt idx="231">
                        <c:v>313469</c:v>
                      </c:pt>
                      <c:pt idx="232">
                        <c:v>318058</c:v>
                      </c:pt>
                      <c:pt idx="233">
                        <c:v>313602</c:v>
                      </c:pt>
                      <c:pt idx="234">
                        <c:v>315132</c:v>
                      </c:pt>
                      <c:pt idx="235">
                        <c:v>303605</c:v>
                      </c:pt>
                      <c:pt idx="236">
                        <c:v>304447</c:v>
                      </c:pt>
                      <c:pt idx="237">
                        <c:v>316153</c:v>
                      </c:pt>
                      <c:pt idx="238">
                        <c:v>310558</c:v>
                      </c:pt>
                      <c:pt idx="239">
                        <c:v>315568</c:v>
                      </c:pt>
                      <c:pt idx="240">
                        <c:v>313613</c:v>
                      </c:pt>
                      <c:pt idx="241">
                        <c:v>313214</c:v>
                      </c:pt>
                      <c:pt idx="242">
                        <c:v>311378</c:v>
                      </c:pt>
                      <c:pt idx="243">
                        <c:v>305438</c:v>
                      </c:pt>
                      <c:pt idx="244">
                        <c:v>304177</c:v>
                      </c:pt>
                      <c:pt idx="245">
                        <c:v>303123</c:v>
                      </c:pt>
                      <c:pt idx="246">
                        <c:v>307284</c:v>
                      </c:pt>
                      <c:pt idx="247">
                        <c:v>319327</c:v>
                      </c:pt>
                      <c:pt idx="248">
                        <c:v>326462</c:v>
                      </c:pt>
                      <c:pt idx="249">
                        <c:v>317487</c:v>
                      </c:pt>
                      <c:pt idx="250">
                        <c:v>330187</c:v>
                      </c:pt>
                      <c:pt idx="251">
                        <c:v>321314</c:v>
                      </c:pt>
                      <c:pt idx="252">
                        <c:v>309292</c:v>
                      </c:pt>
                      <c:pt idx="253">
                        <c:v>300146</c:v>
                      </c:pt>
                      <c:pt idx="254">
                        <c:v>303205</c:v>
                      </c:pt>
                      <c:pt idx="255">
                        <c:v>311853</c:v>
                      </c:pt>
                      <c:pt idx="256">
                        <c:v>313737</c:v>
                      </c:pt>
                      <c:pt idx="257">
                        <c:v>322871</c:v>
                      </c:pt>
                      <c:pt idx="258">
                        <c:v>318642</c:v>
                      </c:pt>
                      <c:pt idx="259">
                        <c:v>328393</c:v>
                      </c:pt>
                      <c:pt idx="260">
                        <c:v>327448</c:v>
                      </c:pt>
                      <c:pt idx="261">
                        <c:v>324890</c:v>
                      </c:pt>
                      <c:pt idx="262">
                        <c:v>329769</c:v>
                      </c:pt>
                      <c:pt idx="263">
                        <c:v>331875</c:v>
                      </c:pt>
                      <c:pt idx="264">
                        <c:v>331728</c:v>
                      </c:pt>
                      <c:pt idx="265">
                        <c:v>329435</c:v>
                      </c:pt>
                      <c:pt idx="266">
                        <c:v>327981</c:v>
                      </c:pt>
                      <c:pt idx="267">
                        <c:v>331899</c:v>
                      </c:pt>
                      <c:pt idx="268">
                        <c:v>334823</c:v>
                      </c:pt>
                      <c:pt idx="269">
                        <c:v>341022</c:v>
                      </c:pt>
                      <c:pt idx="270">
                        <c:v>353310</c:v>
                      </c:pt>
                      <c:pt idx="271">
                        <c:v>353352</c:v>
                      </c:pt>
                      <c:pt idx="272">
                        <c:v>353212</c:v>
                      </c:pt>
                      <c:pt idx="273">
                        <c:v>358015</c:v>
                      </c:pt>
                      <c:pt idx="274">
                        <c:v>360539</c:v>
                      </c:pt>
                      <c:pt idx="275">
                        <c:v>374473</c:v>
                      </c:pt>
                      <c:pt idx="276">
                        <c:v>372675</c:v>
                      </c:pt>
                      <c:pt idx="277">
                        <c:v>374473</c:v>
                      </c:pt>
                      <c:pt idx="278">
                        <c:v>384953</c:v>
                      </c:pt>
                      <c:pt idx="279">
                        <c:v>414889</c:v>
                      </c:pt>
                      <c:pt idx="280">
                        <c:v>413174</c:v>
                      </c:pt>
                      <c:pt idx="281">
                        <c:v>406456</c:v>
                      </c:pt>
                      <c:pt idx="282">
                        <c:v>402572</c:v>
                      </c:pt>
                      <c:pt idx="283">
                        <c:v>403000</c:v>
                      </c:pt>
                      <c:pt idx="284">
                        <c:v>400723</c:v>
                      </c:pt>
                      <c:pt idx="285">
                        <c:v>399861</c:v>
                      </c:pt>
                      <c:pt idx="286">
                        <c:v>418907</c:v>
                      </c:pt>
                      <c:pt idx="287">
                        <c:v>429465</c:v>
                      </c:pt>
                      <c:pt idx="288">
                        <c:v>425361</c:v>
                      </c:pt>
                      <c:pt idx="289">
                        <c:v>428706</c:v>
                      </c:pt>
                      <c:pt idx="290">
                        <c:v>439908</c:v>
                      </c:pt>
                      <c:pt idx="291">
                        <c:v>444168</c:v>
                      </c:pt>
                      <c:pt idx="292">
                        <c:v>443950</c:v>
                      </c:pt>
                      <c:pt idx="293">
                        <c:v>452963</c:v>
                      </c:pt>
                      <c:pt idx="294">
                        <c:v>443793</c:v>
                      </c:pt>
                      <c:pt idx="295">
                        <c:v>466819</c:v>
                      </c:pt>
                      <c:pt idx="296">
                        <c:v>454502</c:v>
                      </c:pt>
                      <c:pt idx="297">
                        <c:v>462475</c:v>
                      </c:pt>
                      <c:pt idx="298">
                        <c:v>463539</c:v>
                      </c:pt>
                      <c:pt idx="299">
                        <c:v>459026</c:v>
                      </c:pt>
                      <c:pt idx="300">
                        <c:v>468682</c:v>
                      </c:pt>
                      <c:pt idx="301">
                        <c:v>473245</c:v>
                      </c:pt>
                      <c:pt idx="302">
                        <c:v>469913</c:v>
                      </c:pt>
                      <c:pt idx="303">
                        <c:v>463666</c:v>
                      </c:pt>
                      <c:pt idx="304">
                        <c:v>458439</c:v>
                      </c:pt>
                      <c:pt idx="305">
                        <c:v>438193</c:v>
                      </c:pt>
                      <c:pt idx="306">
                        <c:v>434051</c:v>
                      </c:pt>
                      <c:pt idx="307">
                        <c:v>419332</c:v>
                      </c:pt>
                      <c:pt idx="308">
                        <c:v>402669</c:v>
                      </c:pt>
                      <c:pt idx="309">
                        <c:v>396330</c:v>
                      </c:pt>
                      <c:pt idx="310">
                        <c:v>398203</c:v>
                      </c:pt>
                      <c:pt idx="311">
                        <c:v>397721</c:v>
                      </c:pt>
                      <c:pt idx="312">
                        <c:v>385293</c:v>
                      </c:pt>
                      <c:pt idx="313">
                        <c:v>390805</c:v>
                      </c:pt>
                      <c:pt idx="314">
                        <c:v>391023</c:v>
                      </c:pt>
                      <c:pt idx="315">
                        <c:v>451388</c:v>
                      </c:pt>
                      <c:pt idx="316">
                        <c:v>466845</c:v>
                      </c:pt>
                      <c:pt idx="317">
                        <c:v>518502</c:v>
                      </c:pt>
                      <c:pt idx="318">
                        <c:v>489080</c:v>
                      </c:pt>
                      <c:pt idx="319">
                        <c:v>473756</c:v>
                      </c:pt>
                      <c:pt idx="320">
                        <c:v>477119</c:v>
                      </c:pt>
                      <c:pt idx="321">
                        <c:v>495165</c:v>
                      </c:pt>
                      <c:pt idx="322">
                        <c:v>499992</c:v>
                      </c:pt>
                      <c:pt idx="323">
                        <c:v>496144</c:v>
                      </c:pt>
                      <c:pt idx="324">
                        <c:v>487018</c:v>
                      </c:pt>
                      <c:pt idx="325">
                        <c:v>482934</c:v>
                      </c:pt>
                      <c:pt idx="326">
                        <c:v>482288</c:v>
                      </c:pt>
                      <c:pt idx="327">
                        <c:v>472131</c:v>
                      </c:pt>
                      <c:pt idx="328">
                        <c:v>468891</c:v>
                      </c:pt>
                      <c:pt idx="329">
                        <c:v>478102</c:v>
                      </c:pt>
                      <c:pt idx="330">
                        <c:v>476654</c:v>
                      </c:pt>
                      <c:pt idx="331">
                        <c:v>469689</c:v>
                      </c:pt>
                      <c:pt idx="332">
                        <c:v>457340</c:v>
                      </c:pt>
                      <c:pt idx="333">
                        <c:v>448095</c:v>
                      </c:pt>
                      <c:pt idx="334">
                        <c:v>441009</c:v>
                      </c:pt>
                      <c:pt idx="335">
                        <c:v>431792</c:v>
                      </c:pt>
                      <c:pt idx="336">
                        <c:v>431889</c:v>
                      </c:pt>
                      <c:pt idx="337">
                        <c:v>429829</c:v>
                      </c:pt>
                      <c:pt idx="338">
                        <c:v>422291</c:v>
                      </c:pt>
                      <c:pt idx="339">
                        <c:v>411237</c:v>
                      </c:pt>
                      <c:pt idx="340">
                        <c:v>402940</c:v>
                      </c:pt>
                      <c:pt idx="341">
                        <c:v>391924</c:v>
                      </c:pt>
                      <c:pt idx="342">
                        <c:v>389786</c:v>
                      </c:pt>
                      <c:pt idx="343">
                        <c:v>373837</c:v>
                      </c:pt>
                      <c:pt idx="344">
                        <c:v>367766</c:v>
                      </c:pt>
                      <c:pt idx="345">
                        <c:v>367281</c:v>
                      </c:pt>
                      <c:pt idx="346">
                        <c:v>370004</c:v>
                      </c:pt>
                      <c:pt idx="347">
                        <c:v>366959</c:v>
                      </c:pt>
                      <c:pt idx="348">
                        <c:v>361340</c:v>
                      </c:pt>
                      <c:pt idx="349">
                        <c:v>365291</c:v>
                      </c:pt>
                      <c:pt idx="350">
                        <c:v>374830</c:v>
                      </c:pt>
                      <c:pt idx="351">
                        <c:v>376499</c:v>
                      </c:pt>
                      <c:pt idx="352">
                        <c:v>363731</c:v>
                      </c:pt>
                      <c:pt idx="353">
                        <c:v>353761</c:v>
                      </c:pt>
                      <c:pt idx="354">
                        <c:v>344074</c:v>
                      </c:pt>
                      <c:pt idx="355">
                        <c:v>369576</c:v>
                      </c:pt>
                      <c:pt idx="356">
                        <c:v>360037</c:v>
                      </c:pt>
                      <c:pt idx="357">
                        <c:v>358761</c:v>
                      </c:pt>
                      <c:pt idx="358">
                        <c:v>356643</c:v>
                      </c:pt>
                      <c:pt idx="359">
                        <c:v>358825</c:v>
                      </c:pt>
                      <c:pt idx="360">
                        <c:v>379157</c:v>
                      </c:pt>
                      <c:pt idx="361">
                        <c:v>409729</c:v>
                      </c:pt>
                      <c:pt idx="362">
                        <c:v>401317</c:v>
                      </c:pt>
                      <c:pt idx="363">
                        <c:v>412759</c:v>
                      </c:pt>
                      <c:pt idx="364">
                        <c:v>416963</c:v>
                      </c:pt>
                      <c:pt idx="365">
                        <c:v>405999</c:v>
                      </c:pt>
                      <c:pt idx="366">
                        <c:v>397147</c:v>
                      </c:pt>
                      <c:pt idx="367">
                        <c:v>393822</c:v>
                      </c:pt>
                      <c:pt idx="368">
                        <c:v>383780</c:v>
                      </c:pt>
                      <c:pt idx="369">
                        <c:v>378934</c:v>
                      </c:pt>
                      <c:pt idx="370">
                        <c:v>383719</c:v>
                      </c:pt>
                      <c:pt idx="371">
                        <c:v>392359</c:v>
                      </c:pt>
                      <c:pt idx="372">
                        <c:v>381758</c:v>
                      </c:pt>
                      <c:pt idx="373">
                        <c:v>380520</c:v>
                      </c:pt>
                      <c:pt idx="374">
                        <c:v>385500</c:v>
                      </c:pt>
                      <c:pt idx="375">
                        <c:v>385602</c:v>
                      </c:pt>
                      <c:pt idx="376">
                        <c:v>388081</c:v>
                      </c:pt>
                      <c:pt idx="377">
                        <c:v>393486</c:v>
                      </c:pt>
                      <c:pt idx="378">
                        <c:v>385111</c:v>
                      </c:pt>
                      <c:pt idx="379">
                        <c:v>383245</c:v>
                      </c:pt>
                      <c:pt idx="380">
                        <c:v>380254</c:v>
                      </c:pt>
                      <c:pt idx="381">
                        <c:v>375818</c:v>
                      </c:pt>
                      <c:pt idx="382">
                        <c:v>388682</c:v>
                      </c:pt>
                      <c:pt idx="383">
                        <c:v>388719</c:v>
                      </c:pt>
                      <c:pt idx="384">
                        <c:v>375632</c:v>
                      </c:pt>
                      <c:pt idx="385">
                        <c:v>389482</c:v>
                      </c:pt>
                      <c:pt idx="386">
                        <c:v>384946</c:v>
                      </c:pt>
                      <c:pt idx="387">
                        <c:v>400492</c:v>
                      </c:pt>
                      <c:pt idx="388">
                        <c:v>391707</c:v>
                      </c:pt>
                      <c:pt idx="389">
                        <c:v>387902</c:v>
                      </c:pt>
                      <c:pt idx="390">
                        <c:v>379344</c:v>
                      </c:pt>
                      <c:pt idx="391">
                        <c:v>371208</c:v>
                      </c:pt>
                      <c:pt idx="392">
                        <c:v>373886</c:v>
                      </c:pt>
                      <c:pt idx="393">
                        <c:v>372409</c:v>
                      </c:pt>
                      <c:pt idx="394">
                        <c:v>372361</c:v>
                      </c:pt>
                      <c:pt idx="395">
                        <c:v>372868</c:v>
                      </c:pt>
                      <c:pt idx="396">
                        <c:v>374924</c:v>
                      </c:pt>
                      <c:pt idx="397">
                        <c:v>373880</c:v>
                      </c:pt>
                      <c:pt idx="398">
                        <c:v>377358</c:v>
                      </c:pt>
                      <c:pt idx="399">
                        <c:v>382184</c:v>
                      </c:pt>
                      <c:pt idx="400">
                        <c:v>379904</c:v>
                      </c:pt>
                      <c:pt idx="401">
                        <c:v>395206</c:v>
                      </c:pt>
                      <c:pt idx="402">
                        <c:v>391937</c:v>
                      </c:pt>
                      <c:pt idx="403">
                        <c:v>382039</c:v>
                      </c:pt>
                      <c:pt idx="404">
                        <c:v>374287</c:v>
                      </c:pt>
                      <c:pt idx="405">
                        <c:v>366463</c:v>
                      </c:pt>
                      <c:pt idx="406">
                        <c:v>367970</c:v>
                      </c:pt>
                      <c:pt idx="407">
                        <c:v>367153</c:v>
                      </c:pt>
                      <c:pt idx="408">
                        <c:v>362587</c:v>
                      </c:pt>
                      <c:pt idx="409">
                        <c:v>355825</c:v>
                      </c:pt>
                      <c:pt idx="410">
                        <c:v>366192</c:v>
                      </c:pt>
                      <c:pt idx="411">
                        <c:v>362218</c:v>
                      </c:pt>
                      <c:pt idx="412">
                        <c:v>343692</c:v>
                      </c:pt>
                      <c:pt idx="413">
                        <c:v>346849</c:v>
                      </c:pt>
                      <c:pt idx="414">
                        <c:v>334956</c:v>
                      </c:pt>
                      <c:pt idx="415">
                        <c:v>329983</c:v>
                      </c:pt>
                      <c:pt idx="416">
                        <c:v>326331</c:v>
                      </c:pt>
                      <c:pt idx="417">
                        <c:v>321690</c:v>
                      </c:pt>
                      <c:pt idx="418">
                        <c:v>323050</c:v>
                      </c:pt>
                      <c:pt idx="419">
                        <c:v>324289</c:v>
                      </c:pt>
                      <c:pt idx="420">
                        <c:v>321270</c:v>
                      </c:pt>
                      <c:pt idx="421">
                        <c:v>322559</c:v>
                      </c:pt>
                      <c:pt idx="422">
                        <c:v>347511</c:v>
                      </c:pt>
                      <c:pt idx="423">
                        <c:v>369384</c:v>
                      </c:pt>
                      <c:pt idx="424">
                        <c:v>365876</c:v>
                      </c:pt>
                      <c:pt idx="425">
                        <c:v>364676</c:v>
                      </c:pt>
                      <c:pt idx="426">
                        <c:v>362961</c:v>
                      </c:pt>
                      <c:pt idx="427">
                        <c:v>393166</c:v>
                      </c:pt>
                      <c:pt idx="428">
                        <c:v>394193</c:v>
                      </c:pt>
                      <c:pt idx="429">
                        <c:v>388360</c:v>
                      </c:pt>
                      <c:pt idx="430">
                        <c:v>407535</c:v>
                      </c:pt>
                      <c:pt idx="431">
                        <c:v>437294</c:v>
                      </c:pt>
                      <c:pt idx="432">
                        <c:v>433977</c:v>
                      </c:pt>
                      <c:pt idx="433">
                        <c:v>468568</c:v>
                      </c:pt>
                      <c:pt idx="434">
                        <c:v>466523</c:v>
                      </c:pt>
                      <c:pt idx="435">
                        <c:v>484211</c:v>
                      </c:pt>
                      <c:pt idx="436">
                        <c:v>465422</c:v>
                      </c:pt>
                      <c:pt idx="437">
                        <c:v>480821</c:v>
                      </c:pt>
                      <c:pt idx="438">
                        <c:v>550105</c:v>
                      </c:pt>
                      <c:pt idx="439">
                        <c:v>566765</c:v>
                      </c:pt>
                      <c:pt idx="440">
                        <c:v>578509</c:v>
                      </c:pt>
                      <c:pt idx="441">
                        <c:v>571450</c:v>
                      </c:pt>
                      <c:pt idx="442">
                        <c:v>555870</c:v>
                      </c:pt>
                      <c:pt idx="443">
                        <c:v>574843</c:v>
                      </c:pt>
                      <c:pt idx="444">
                        <c:v>585095</c:v>
                      </c:pt>
                      <c:pt idx="445">
                        <c:v>567772</c:v>
                      </c:pt>
                      <c:pt idx="446">
                        <c:v>569527</c:v>
                      </c:pt>
                      <c:pt idx="447">
                        <c:v>594597</c:v>
                      </c:pt>
                      <c:pt idx="448">
                        <c:v>573701</c:v>
                      </c:pt>
                      <c:pt idx="449">
                        <c:v>585875</c:v>
                      </c:pt>
                      <c:pt idx="450">
                        <c:v>578740</c:v>
                      </c:pt>
                      <c:pt idx="451">
                        <c:v>578419</c:v>
                      </c:pt>
                      <c:pt idx="452">
                        <c:v>565526</c:v>
                      </c:pt>
                      <c:pt idx="453">
                        <c:v>563120</c:v>
                      </c:pt>
                      <c:pt idx="454">
                        <c:v>555779</c:v>
                      </c:pt>
                      <c:pt idx="455">
                        <c:v>562980</c:v>
                      </c:pt>
                      <c:pt idx="456">
                        <c:v>578848</c:v>
                      </c:pt>
                      <c:pt idx="457">
                        <c:v>597958</c:v>
                      </c:pt>
                      <c:pt idx="458">
                        <c:v>615599</c:v>
                      </c:pt>
                      <c:pt idx="459">
                        <c:v>612829</c:v>
                      </c:pt>
                      <c:pt idx="460">
                        <c:v>604974</c:v>
                      </c:pt>
                      <c:pt idx="461">
                        <c:v>598148</c:v>
                      </c:pt>
                      <c:pt idx="462">
                        <c:v>647277</c:v>
                      </c:pt>
                      <c:pt idx="463">
                        <c:v>656617</c:v>
                      </c:pt>
                      <c:pt idx="464">
                        <c:v>631536</c:v>
                      </c:pt>
                      <c:pt idx="465">
                        <c:v>630554</c:v>
                      </c:pt>
                      <c:pt idx="466">
                        <c:v>619950</c:v>
                      </c:pt>
                      <c:pt idx="467">
                        <c:v>615022</c:v>
                      </c:pt>
                      <c:pt idx="468">
                        <c:v>596987</c:v>
                      </c:pt>
                      <c:pt idx="469">
                        <c:v>592395</c:v>
                      </c:pt>
                      <c:pt idx="470">
                        <c:v>589634</c:v>
                      </c:pt>
                      <c:pt idx="471">
                        <c:v>603359</c:v>
                      </c:pt>
                      <c:pt idx="472">
                        <c:v>592838</c:v>
                      </c:pt>
                      <c:pt idx="473">
                        <c:v>591177</c:v>
                      </c:pt>
                      <c:pt idx="474">
                        <c:v>599714</c:v>
                      </c:pt>
                      <c:pt idx="475">
                        <c:v>585066</c:v>
                      </c:pt>
                      <c:pt idx="476">
                        <c:v>591900</c:v>
                      </c:pt>
                      <c:pt idx="477">
                        <c:v>600972</c:v>
                      </c:pt>
                      <c:pt idx="478">
                        <c:v>635053</c:v>
                      </c:pt>
                      <c:pt idx="479">
                        <c:v>622936</c:v>
                      </c:pt>
                      <c:pt idx="480">
                        <c:v>619618</c:v>
                      </c:pt>
                      <c:pt idx="481">
                        <c:v>637419</c:v>
                      </c:pt>
                      <c:pt idx="482">
                        <c:v>660768</c:v>
                      </c:pt>
                      <c:pt idx="483">
                        <c:v>677768</c:v>
                      </c:pt>
                      <c:pt idx="484">
                        <c:v>718301</c:v>
                      </c:pt>
                      <c:pt idx="485">
                        <c:v>691312</c:v>
                      </c:pt>
                      <c:pt idx="486">
                        <c:v>816142</c:v>
                      </c:pt>
                      <c:pt idx="487">
                        <c:v>908178</c:v>
                      </c:pt>
                      <c:pt idx="488">
                        <c:v>800394</c:v>
                      </c:pt>
                      <c:pt idx="489">
                        <c:v>721541</c:v>
                      </c:pt>
                      <c:pt idx="490">
                        <c:v>726914</c:v>
                      </c:pt>
                      <c:pt idx="491">
                        <c:v>699164</c:v>
                      </c:pt>
                      <c:pt idx="492">
                        <c:v>696107</c:v>
                      </c:pt>
                      <c:pt idx="493">
                        <c:v>701824</c:v>
                      </c:pt>
                      <c:pt idx="494">
                        <c:v>690060</c:v>
                      </c:pt>
                      <c:pt idx="495">
                        <c:v>713116</c:v>
                      </c:pt>
                      <c:pt idx="496">
                        <c:v>741254</c:v>
                      </c:pt>
                      <c:pt idx="497">
                        <c:v>782023</c:v>
                      </c:pt>
                      <c:pt idx="498">
                        <c:v>783699</c:v>
                      </c:pt>
                      <c:pt idx="499">
                        <c:v>836361</c:v>
                      </c:pt>
                      <c:pt idx="500">
                        <c:v>875577</c:v>
                      </c:pt>
                      <c:pt idx="501">
                        <c:v>874921</c:v>
                      </c:pt>
                      <c:pt idx="502">
                        <c:v>894334</c:v>
                      </c:pt>
                      <c:pt idx="503">
                        <c:v>918292</c:v>
                      </c:pt>
                      <c:pt idx="504">
                        <c:v>901416</c:v>
                      </c:pt>
                      <c:pt idx="505">
                        <c:v>841337</c:v>
                      </c:pt>
                      <c:pt idx="506">
                        <c:v>820203</c:v>
                      </c:pt>
                      <c:pt idx="507">
                        <c:v>789520</c:v>
                      </c:pt>
                      <c:pt idx="508">
                        <c:v>788716</c:v>
                      </c:pt>
                      <c:pt idx="509">
                        <c:v>761026</c:v>
                      </c:pt>
                      <c:pt idx="510">
                        <c:v>757922</c:v>
                      </c:pt>
                      <c:pt idx="511">
                        <c:v>744733</c:v>
                      </c:pt>
                      <c:pt idx="512">
                        <c:v>744380</c:v>
                      </c:pt>
                      <c:pt idx="513">
                        <c:v>741853</c:v>
                      </c:pt>
                      <c:pt idx="514">
                        <c:v>761420</c:v>
                      </c:pt>
                      <c:pt idx="515">
                        <c:v>763953</c:v>
                      </c:pt>
                      <c:pt idx="516">
                        <c:v>777956</c:v>
                      </c:pt>
                      <c:pt idx="517">
                        <c:v>811867</c:v>
                      </c:pt>
                      <c:pt idx="518">
                        <c:v>807874</c:v>
                      </c:pt>
                      <c:pt idx="519">
                        <c:v>806377</c:v>
                      </c:pt>
                      <c:pt idx="520">
                        <c:v>796180</c:v>
                      </c:pt>
                      <c:pt idx="521">
                        <c:v>778508</c:v>
                      </c:pt>
                      <c:pt idx="522">
                        <c:v>761900</c:v>
                      </c:pt>
                      <c:pt idx="523">
                        <c:v>761248</c:v>
                      </c:pt>
                      <c:pt idx="524">
                        <c:v>754858</c:v>
                      </c:pt>
                      <c:pt idx="525">
                        <c:v>750058</c:v>
                      </c:pt>
                      <c:pt idx="526">
                        <c:v>732100</c:v>
                      </c:pt>
                      <c:pt idx="527">
                        <c:v>734905</c:v>
                      </c:pt>
                      <c:pt idx="528">
                        <c:v>724411</c:v>
                      </c:pt>
                      <c:pt idx="529">
                        <c:v>704420</c:v>
                      </c:pt>
                      <c:pt idx="530">
                        <c:v>714619</c:v>
                      </c:pt>
                      <c:pt idx="531">
                        <c:v>713068</c:v>
                      </c:pt>
                      <c:pt idx="532">
                        <c:v>695123</c:v>
                      </c:pt>
                      <c:pt idx="533">
                        <c:v>695786</c:v>
                      </c:pt>
                      <c:pt idx="534">
                        <c:v>676349</c:v>
                      </c:pt>
                    </c:numCache>
                  </c:numRef>
                </c:val>
                <c:extLst>
                  <c:ext xmlns:c16="http://schemas.microsoft.com/office/drawing/2014/chart" uri="{C3380CC4-5D6E-409C-BE32-E72D297353CC}">
                    <c16:uniqueId val="{00000020-094D-4E29-B010-D717A2A1A293}"/>
                  </c:ext>
                </c:extLst>
              </c15:ser>
            </c15:filteredAreaSeries>
          </c:ext>
        </c:extLst>
      </c:areaChart>
      <c:lineChart>
        <c:grouping val="standard"/>
        <c:varyColors val="0"/>
        <c:ser>
          <c:idx val="0"/>
          <c:order val="0"/>
          <c:tx>
            <c:strRef>
              <c:f>Daily!$B$1</c:f>
              <c:strCache>
                <c:ptCount val="1"/>
                <c:pt idx="0">
                  <c:v>Settlement Price</c:v>
                </c:pt>
              </c:strCache>
            </c:strRef>
          </c:tx>
          <c:spPr>
            <a:ln w="28575" cap="rnd" cmpd="sng" algn="ctr">
              <a:solidFill>
                <a:srgbClr val="F07169"/>
              </a:solidFill>
              <a:prstDash val="solid"/>
              <a:round/>
            </a:ln>
            <a:effectLst/>
          </c:spPr>
          <c:marker>
            <c:symbol val="none"/>
          </c:marker>
          <c:dPt>
            <c:idx val="92"/>
            <c:bubble3D val="0"/>
            <c:spPr>
              <a:ln w="28575" cap="rnd" cmpd="sng" algn="ctr">
                <a:solidFill>
                  <a:srgbClr val="F07169"/>
                </a:solidFill>
                <a:prstDash val="solid"/>
                <a:round/>
              </a:ln>
              <a:effectLst/>
            </c:spPr>
            <c:extLst>
              <c:ext xmlns:c16="http://schemas.microsoft.com/office/drawing/2014/chart" uri="{C3380CC4-5D6E-409C-BE32-E72D297353CC}">
                <c16:uniqueId val="{00000002-094D-4E29-B010-D717A2A1A293}"/>
              </c:ext>
            </c:extLst>
          </c:dPt>
          <c:dPt>
            <c:idx val="95"/>
            <c:bubble3D val="0"/>
            <c:spPr>
              <a:ln w="28575" cap="rnd" cmpd="sng" algn="ctr">
                <a:solidFill>
                  <a:srgbClr val="F07169"/>
                </a:solidFill>
                <a:prstDash val="solid"/>
                <a:round/>
              </a:ln>
              <a:effectLst/>
            </c:spPr>
            <c:extLst>
              <c:ext xmlns:c16="http://schemas.microsoft.com/office/drawing/2014/chart" uri="{C3380CC4-5D6E-409C-BE32-E72D297353CC}">
                <c16:uniqueId val="{00000004-094D-4E29-B010-D717A2A1A293}"/>
              </c:ext>
            </c:extLst>
          </c:dPt>
          <c:dPt>
            <c:idx val="486"/>
            <c:bubble3D val="0"/>
            <c:spPr>
              <a:ln w="28575" cap="rnd" cmpd="sng" algn="ctr">
                <a:solidFill>
                  <a:srgbClr val="F07169"/>
                </a:solidFill>
                <a:prstDash val="solid"/>
                <a:round/>
              </a:ln>
              <a:effectLst/>
            </c:spPr>
            <c:extLst>
              <c:ext xmlns:c16="http://schemas.microsoft.com/office/drawing/2014/chart" uri="{C3380CC4-5D6E-409C-BE32-E72D297353CC}">
                <c16:uniqueId val="{00000006-094D-4E29-B010-D717A2A1A293}"/>
              </c:ext>
            </c:extLst>
          </c:dPt>
          <c:cat>
            <c:numRef>
              <c:f>Daily!$A$2:$A$1000</c:f>
              <c:numCache>
                <c:formatCode>d\-mmm\-yy</c:formatCode>
                <c:ptCount val="999"/>
                <c:pt idx="0">
                  <c:v>45128</c:v>
                </c:pt>
                <c:pt idx="1">
                  <c:v>45131</c:v>
                </c:pt>
                <c:pt idx="2">
                  <c:v>45132</c:v>
                </c:pt>
                <c:pt idx="3">
                  <c:v>45133</c:v>
                </c:pt>
                <c:pt idx="4">
                  <c:v>45134</c:v>
                </c:pt>
                <c:pt idx="5">
                  <c:v>45135</c:v>
                </c:pt>
                <c:pt idx="6">
                  <c:v>45138</c:v>
                </c:pt>
                <c:pt idx="7">
                  <c:v>45139</c:v>
                </c:pt>
                <c:pt idx="8">
                  <c:v>45140</c:v>
                </c:pt>
                <c:pt idx="9">
                  <c:v>45141</c:v>
                </c:pt>
                <c:pt idx="10">
                  <c:v>45142</c:v>
                </c:pt>
                <c:pt idx="11">
                  <c:v>45145</c:v>
                </c:pt>
                <c:pt idx="12">
                  <c:v>45146</c:v>
                </c:pt>
                <c:pt idx="13">
                  <c:v>45147</c:v>
                </c:pt>
                <c:pt idx="14">
                  <c:v>45148</c:v>
                </c:pt>
                <c:pt idx="15">
                  <c:v>45149</c:v>
                </c:pt>
                <c:pt idx="16">
                  <c:v>45152</c:v>
                </c:pt>
                <c:pt idx="17">
                  <c:v>45153</c:v>
                </c:pt>
                <c:pt idx="18">
                  <c:v>45154</c:v>
                </c:pt>
                <c:pt idx="19">
                  <c:v>45155</c:v>
                </c:pt>
                <c:pt idx="20">
                  <c:v>45156</c:v>
                </c:pt>
                <c:pt idx="21">
                  <c:v>45159</c:v>
                </c:pt>
                <c:pt idx="22">
                  <c:v>45160</c:v>
                </c:pt>
                <c:pt idx="23">
                  <c:v>45161</c:v>
                </c:pt>
                <c:pt idx="24">
                  <c:v>45162</c:v>
                </c:pt>
                <c:pt idx="25">
                  <c:v>45163</c:v>
                </c:pt>
                <c:pt idx="26">
                  <c:v>45166</c:v>
                </c:pt>
                <c:pt idx="27">
                  <c:v>45167</c:v>
                </c:pt>
                <c:pt idx="28">
                  <c:v>45168</c:v>
                </c:pt>
                <c:pt idx="29">
                  <c:v>45169</c:v>
                </c:pt>
                <c:pt idx="30">
                  <c:v>45170</c:v>
                </c:pt>
                <c:pt idx="31">
                  <c:v>45173</c:v>
                </c:pt>
                <c:pt idx="32">
                  <c:v>45174</c:v>
                </c:pt>
                <c:pt idx="33">
                  <c:v>45175</c:v>
                </c:pt>
                <c:pt idx="34">
                  <c:v>45176</c:v>
                </c:pt>
                <c:pt idx="35">
                  <c:v>45177</c:v>
                </c:pt>
                <c:pt idx="36">
                  <c:v>45180</c:v>
                </c:pt>
                <c:pt idx="37">
                  <c:v>45181</c:v>
                </c:pt>
                <c:pt idx="38">
                  <c:v>45182</c:v>
                </c:pt>
                <c:pt idx="39">
                  <c:v>45183</c:v>
                </c:pt>
                <c:pt idx="40">
                  <c:v>45184</c:v>
                </c:pt>
                <c:pt idx="41">
                  <c:v>45187</c:v>
                </c:pt>
                <c:pt idx="42">
                  <c:v>45188</c:v>
                </c:pt>
                <c:pt idx="43">
                  <c:v>45189</c:v>
                </c:pt>
                <c:pt idx="44">
                  <c:v>45190</c:v>
                </c:pt>
                <c:pt idx="45">
                  <c:v>45191</c:v>
                </c:pt>
                <c:pt idx="46">
                  <c:v>45194</c:v>
                </c:pt>
                <c:pt idx="47">
                  <c:v>45195</c:v>
                </c:pt>
                <c:pt idx="48">
                  <c:v>45196</c:v>
                </c:pt>
                <c:pt idx="49">
                  <c:v>45197</c:v>
                </c:pt>
                <c:pt idx="50">
                  <c:v>45208</c:v>
                </c:pt>
                <c:pt idx="51">
                  <c:v>45209</c:v>
                </c:pt>
                <c:pt idx="52">
                  <c:v>45210</c:v>
                </c:pt>
                <c:pt idx="53">
                  <c:v>45211</c:v>
                </c:pt>
                <c:pt idx="54">
                  <c:v>45212</c:v>
                </c:pt>
                <c:pt idx="55">
                  <c:v>45215</c:v>
                </c:pt>
                <c:pt idx="56">
                  <c:v>45216</c:v>
                </c:pt>
                <c:pt idx="57">
                  <c:v>45217</c:v>
                </c:pt>
                <c:pt idx="58">
                  <c:v>45218</c:v>
                </c:pt>
                <c:pt idx="59">
                  <c:v>45219</c:v>
                </c:pt>
                <c:pt idx="60">
                  <c:v>45222</c:v>
                </c:pt>
                <c:pt idx="61">
                  <c:v>45223</c:v>
                </c:pt>
                <c:pt idx="62">
                  <c:v>45224</c:v>
                </c:pt>
                <c:pt idx="63">
                  <c:v>45225</c:v>
                </c:pt>
                <c:pt idx="64">
                  <c:v>45226</c:v>
                </c:pt>
                <c:pt idx="65">
                  <c:v>45229</c:v>
                </c:pt>
                <c:pt idx="66">
                  <c:v>45230</c:v>
                </c:pt>
                <c:pt idx="67">
                  <c:v>45231</c:v>
                </c:pt>
                <c:pt idx="68">
                  <c:v>45232</c:v>
                </c:pt>
                <c:pt idx="69">
                  <c:v>45233</c:v>
                </c:pt>
                <c:pt idx="70">
                  <c:v>45236</c:v>
                </c:pt>
                <c:pt idx="71">
                  <c:v>45237</c:v>
                </c:pt>
                <c:pt idx="72">
                  <c:v>45238</c:v>
                </c:pt>
                <c:pt idx="73">
                  <c:v>45239</c:v>
                </c:pt>
                <c:pt idx="74">
                  <c:v>45240</c:v>
                </c:pt>
                <c:pt idx="75">
                  <c:v>45243</c:v>
                </c:pt>
                <c:pt idx="76">
                  <c:v>45244</c:v>
                </c:pt>
                <c:pt idx="77">
                  <c:v>45245</c:v>
                </c:pt>
                <c:pt idx="78">
                  <c:v>45246</c:v>
                </c:pt>
                <c:pt idx="79">
                  <c:v>45247</c:v>
                </c:pt>
                <c:pt idx="80">
                  <c:v>45250</c:v>
                </c:pt>
                <c:pt idx="81">
                  <c:v>45251</c:v>
                </c:pt>
                <c:pt idx="82">
                  <c:v>45252</c:v>
                </c:pt>
                <c:pt idx="83">
                  <c:v>45253</c:v>
                </c:pt>
                <c:pt idx="84">
                  <c:v>45254</c:v>
                </c:pt>
                <c:pt idx="85">
                  <c:v>45257</c:v>
                </c:pt>
                <c:pt idx="86">
                  <c:v>45258</c:v>
                </c:pt>
                <c:pt idx="87">
                  <c:v>45259</c:v>
                </c:pt>
                <c:pt idx="88">
                  <c:v>45260</c:v>
                </c:pt>
                <c:pt idx="89">
                  <c:v>45261</c:v>
                </c:pt>
                <c:pt idx="90">
                  <c:v>45264</c:v>
                </c:pt>
                <c:pt idx="91">
                  <c:v>45265</c:v>
                </c:pt>
                <c:pt idx="92">
                  <c:v>45266</c:v>
                </c:pt>
                <c:pt idx="93">
                  <c:v>45267</c:v>
                </c:pt>
                <c:pt idx="94">
                  <c:v>45268</c:v>
                </c:pt>
                <c:pt idx="95">
                  <c:v>45271</c:v>
                </c:pt>
                <c:pt idx="96">
                  <c:v>45272</c:v>
                </c:pt>
                <c:pt idx="97">
                  <c:v>45273</c:v>
                </c:pt>
                <c:pt idx="98">
                  <c:v>45274</c:v>
                </c:pt>
                <c:pt idx="99">
                  <c:v>45275</c:v>
                </c:pt>
                <c:pt idx="100">
                  <c:v>45278</c:v>
                </c:pt>
                <c:pt idx="101">
                  <c:v>45279</c:v>
                </c:pt>
                <c:pt idx="102">
                  <c:v>45280</c:v>
                </c:pt>
                <c:pt idx="103">
                  <c:v>45281</c:v>
                </c:pt>
                <c:pt idx="104">
                  <c:v>45282</c:v>
                </c:pt>
                <c:pt idx="105">
                  <c:v>45285</c:v>
                </c:pt>
                <c:pt idx="106">
                  <c:v>45286</c:v>
                </c:pt>
                <c:pt idx="107">
                  <c:v>45287</c:v>
                </c:pt>
                <c:pt idx="108">
                  <c:v>45288</c:v>
                </c:pt>
                <c:pt idx="109">
                  <c:v>45289</c:v>
                </c:pt>
                <c:pt idx="110">
                  <c:v>45293</c:v>
                </c:pt>
                <c:pt idx="111">
                  <c:v>45294</c:v>
                </c:pt>
                <c:pt idx="112">
                  <c:v>45295</c:v>
                </c:pt>
                <c:pt idx="113">
                  <c:v>45296</c:v>
                </c:pt>
                <c:pt idx="114">
                  <c:v>45299</c:v>
                </c:pt>
                <c:pt idx="115">
                  <c:v>45300</c:v>
                </c:pt>
                <c:pt idx="116">
                  <c:v>45301</c:v>
                </c:pt>
                <c:pt idx="117">
                  <c:v>45302</c:v>
                </c:pt>
                <c:pt idx="118">
                  <c:v>45303</c:v>
                </c:pt>
                <c:pt idx="119">
                  <c:v>45306</c:v>
                </c:pt>
                <c:pt idx="120">
                  <c:v>45307</c:v>
                </c:pt>
                <c:pt idx="121">
                  <c:v>45308</c:v>
                </c:pt>
                <c:pt idx="122">
                  <c:v>45309</c:v>
                </c:pt>
                <c:pt idx="123">
                  <c:v>45310</c:v>
                </c:pt>
                <c:pt idx="124">
                  <c:v>45313</c:v>
                </c:pt>
                <c:pt idx="125">
                  <c:v>45314</c:v>
                </c:pt>
                <c:pt idx="126">
                  <c:v>45315</c:v>
                </c:pt>
                <c:pt idx="127">
                  <c:v>45316</c:v>
                </c:pt>
                <c:pt idx="128">
                  <c:v>45317</c:v>
                </c:pt>
                <c:pt idx="129">
                  <c:v>45320</c:v>
                </c:pt>
                <c:pt idx="130">
                  <c:v>45321</c:v>
                </c:pt>
                <c:pt idx="131">
                  <c:v>45322</c:v>
                </c:pt>
                <c:pt idx="132">
                  <c:v>45323</c:v>
                </c:pt>
                <c:pt idx="133">
                  <c:v>45324</c:v>
                </c:pt>
                <c:pt idx="134">
                  <c:v>45327</c:v>
                </c:pt>
                <c:pt idx="135">
                  <c:v>45328</c:v>
                </c:pt>
                <c:pt idx="136">
                  <c:v>45329</c:v>
                </c:pt>
                <c:pt idx="137">
                  <c:v>45330</c:v>
                </c:pt>
                <c:pt idx="138">
                  <c:v>45341</c:v>
                </c:pt>
                <c:pt idx="139">
                  <c:v>45342</c:v>
                </c:pt>
                <c:pt idx="140">
                  <c:v>45343</c:v>
                </c:pt>
                <c:pt idx="141">
                  <c:v>45344</c:v>
                </c:pt>
                <c:pt idx="142">
                  <c:v>45345</c:v>
                </c:pt>
                <c:pt idx="143">
                  <c:v>45348</c:v>
                </c:pt>
                <c:pt idx="144">
                  <c:v>45349</c:v>
                </c:pt>
                <c:pt idx="145">
                  <c:v>45350</c:v>
                </c:pt>
                <c:pt idx="146">
                  <c:v>45351</c:v>
                </c:pt>
                <c:pt idx="147">
                  <c:v>45352</c:v>
                </c:pt>
                <c:pt idx="148">
                  <c:v>45355</c:v>
                </c:pt>
                <c:pt idx="149">
                  <c:v>45356</c:v>
                </c:pt>
                <c:pt idx="150">
                  <c:v>45357</c:v>
                </c:pt>
                <c:pt idx="151">
                  <c:v>45358</c:v>
                </c:pt>
                <c:pt idx="152">
                  <c:v>45359</c:v>
                </c:pt>
                <c:pt idx="153">
                  <c:v>45362</c:v>
                </c:pt>
                <c:pt idx="154">
                  <c:v>45363</c:v>
                </c:pt>
                <c:pt idx="155">
                  <c:v>45364</c:v>
                </c:pt>
                <c:pt idx="156">
                  <c:v>45365</c:v>
                </c:pt>
                <c:pt idx="157">
                  <c:v>45366</c:v>
                </c:pt>
                <c:pt idx="158">
                  <c:v>45369</c:v>
                </c:pt>
                <c:pt idx="159">
                  <c:v>45370</c:v>
                </c:pt>
                <c:pt idx="160">
                  <c:v>45371</c:v>
                </c:pt>
                <c:pt idx="161">
                  <c:v>45372</c:v>
                </c:pt>
                <c:pt idx="162">
                  <c:v>45373</c:v>
                </c:pt>
                <c:pt idx="163">
                  <c:v>45376</c:v>
                </c:pt>
                <c:pt idx="164">
                  <c:v>45377</c:v>
                </c:pt>
                <c:pt idx="165">
                  <c:v>45378</c:v>
                </c:pt>
                <c:pt idx="166">
                  <c:v>45379</c:v>
                </c:pt>
                <c:pt idx="167">
                  <c:v>45380</c:v>
                </c:pt>
                <c:pt idx="168">
                  <c:v>45383</c:v>
                </c:pt>
                <c:pt idx="169">
                  <c:v>45384</c:v>
                </c:pt>
                <c:pt idx="170">
                  <c:v>45385</c:v>
                </c:pt>
                <c:pt idx="171">
                  <c:v>45390</c:v>
                </c:pt>
                <c:pt idx="172">
                  <c:v>45391</c:v>
                </c:pt>
                <c:pt idx="173">
                  <c:v>45392</c:v>
                </c:pt>
                <c:pt idx="174">
                  <c:v>45393</c:v>
                </c:pt>
                <c:pt idx="175">
                  <c:v>45394</c:v>
                </c:pt>
                <c:pt idx="176">
                  <c:v>45397</c:v>
                </c:pt>
                <c:pt idx="177">
                  <c:v>45398</c:v>
                </c:pt>
                <c:pt idx="178">
                  <c:v>45399</c:v>
                </c:pt>
                <c:pt idx="179">
                  <c:v>45400</c:v>
                </c:pt>
                <c:pt idx="180">
                  <c:v>45401</c:v>
                </c:pt>
                <c:pt idx="181">
                  <c:v>45404</c:v>
                </c:pt>
                <c:pt idx="182">
                  <c:v>45405</c:v>
                </c:pt>
                <c:pt idx="183">
                  <c:v>45406</c:v>
                </c:pt>
                <c:pt idx="184">
                  <c:v>45407</c:v>
                </c:pt>
                <c:pt idx="185">
                  <c:v>45408</c:v>
                </c:pt>
                <c:pt idx="186">
                  <c:v>45411</c:v>
                </c:pt>
                <c:pt idx="187">
                  <c:v>45412</c:v>
                </c:pt>
                <c:pt idx="188">
                  <c:v>45418</c:v>
                </c:pt>
                <c:pt idx="189">
                  <c:v>45419</c:v>
                </c:pt>
                <c:pt idx="190">
                  <c:v>45420</c:v>
                </c:pt>
                <c:pt idx="191">
                  <c:v>45421</c:v>
                </c:pt>
                <c:pt idx="192">
                  <c:v>45422</c:v>
                </c:pt>
                <c:pt idx="193">
                  <c:v>45425</c:v>
                </c:pt>
                <c:pt idx="194">
                  <c:v>45426</c:v>
                </c:pt>
                <c:pt idx="195">
                  <c:v>45427</c:v>
                </c:pt>
                <c:pt idx="196">
                  <c:v>45428</c:v>
                </c:pt>
                <c:pt idx="197">
                  <c:v>45429</c:v>
                </c:pt>
                <c:pt idx="198">
                  <c:v>45432</c:v>
                </c:pt>
                <c:pt idx="199">
                  <c:v>45433</c:v>
                </c:pt>
                <c:pt idx="200">
                  <c:v>45434</c:v>
                </c:pt>
                <c:pt idx="201">
                  <c:v>45435</c:v>
                </c:pt>
                <c:pt idx="202">
                  <c:v>45436</c:v>
                </c:pt>
                <c:pt idx="203">
                  <c:v>45439</c:v>
                </c:pt>
                <c:pt idx="204">
                  <c:v>45440</c:v>
                </c:pt>
                <c:pt idx="205">
                  <c:v>45441</c:v>
                </c:pt>
                <c:pt idx="206">
                  <c:v>45442</c:v>
                </c:pt>
                <c:pt idx="207">
                  <c:v>45443</c:v>
                </c:pt>
                <c:pt idx="208">
                  <c:v>45446</c:v>
                </c:pt>
                <c:pt idx="209">
                  <c:v>45447</c:v>
                </c:pt>
                <c:pt idx="210">
                  <c:v>45448</c:v>
                </c:pt>
                <c:pt idx="211">
                  <c:v>45449</c:v>
                </c:pt>
                <c:pt idx="212">
                  <c:v>45450</c:v>
                </c:pt>
                <c:pt idx="213">
                  <c:v>45454</c:v>
                </c:pt>
                <c:pt idx="214">
                  <c:v>45455</c:v>
                </c:pt>
                <c:pt idx="215">
                  <c:v>45456</c:v>
                </c:pt>
                <c:pt idx="216">
                  <c:v>45457</c:v>
                </c:pt>
                <c:pt idx="217">
                  <c:v>45460</c:v>
                </c:pt>
                <c:pt idx="218">
                  <c:v>45461</c:v>
                </c:pt>
                <c:pt idx="219">
                  <c:v>45462</c:v>
                </c:pt>
                <c:pt idx="220">
                  <c:v>45463</c:v>
                </c:pt>
                <c:pt idx="221">
                  <c:v>45464</c:v>
                </c:pt>
                <c:pt idx="222">
                  <c:v>45467</c:v>
                </c:pt>
                <c:pt idx="223">
                  <c:v>45468</c:v>
                </c:pt>
                <c:pt idx="224">
                  <c:v>45469</c:v>
                </c:pt>
                <c:pt idx="225">
                  <c:v>45470</c:v>
                </c:pt>
                <c:pt idx="226">
                  <c:v>45471</c:v>
                </c:pt>
                <c:pt idx="227">
                  <c:v>45474</c:v>
                </c:pt>
                <c:pt idx="228">
                  <c:v>45475</c:v>
                </c:pt>
                <c:pt idx="229">
                  <c:v>45476</c:v>
                </c:pt>
                <c:pt idx="230">
                  <c:v>45477</c:v>
                </c:pt>
                <c:pt idx="231">
                  <c:v>45478</c:v>
                </c:pt>
                <c:pt idx="232">
                  <c:v>45481</c:v>
                </c:pt>
                <c:pt idx="233">
                  <c:v>45482</c:v>
                </c:pt>
                <c:pt idx="234">
                  <c:v>45483</c:v>
                </c:pt>
                <c:pt idx="235">
                  <c:v>45484</c:v>
                </c:pt>
                <c:pt idx="236">
                  <c:v>45485</c:v>
                </c:pt>
                <c:pt idx="237">
                  <c:v>45488</c:v>
                </c:pt>
                <c:pt idx="238">
                  <c:v>45489</c:v>
                </c:pt>
                <c:pt idx="239">
                  <c:v>45490</c:v>
                </c:pt>
                <c:pt idx="240">
                  <c:v>45491</c:v>
                </c:pt>
                <c:pt idx="241">
                  <c:v>45492</c:v>
                </c:pt>
                <c:pt idx="242">
                  <c:v>45495</c:v>
                </c:pt>
                <c:pt idx="243">
                  <c:v>45496</c:v>
                </c:pt>
                <c:pt idx="244">
                  <c:v>45497</c:v>
                </c:pt>
                <c:pt idx="245">
                  <c:v>45498</c:v>
                </c:pt>
                <c:pt idx="246">
                  <c:v>45499</c:v>
                </c:pt>
                <c:pt idx="247">
                  <c:v>45502</c:v>
                </c:pt>
                <c:pt idx="248">
                  <c:v>45503</c:v>
                </c:pt>
                <c:pt idx="249">
                  <c:v>45504</c:v>
                </c:pt>
                <c:pt idx="250">
                  <c:v>45505</c:v>
                </c:pt>
                <c:pt idx="251">
                  <c:v>45506</c:v>
                </c:pt>
                <c:pt idx="252">
                  <c:v>45509</c:v>
                </c:pt>
                <c:pt idx="253">
                  <c:v>45510</c:v>
                </c:pt>
                <c:pt idx="254">
                  <c:v>45511</c:v>
                </c:pt>
                <c:pt idx="255">
                  <c:v>45512</c:v>
                </c:pt>
                <c:pt idx="256">
                  <c:v>45513</c:v>
                </c:pt>
                <c:pt idx="257">
                  <c:v>45516</c:v>
                </c:pt>
                <c:pt idx="258">
                  <c:v>45517</c:v>
                </c:pt>
                <c:pt idx="259">
                  <c:v>45518</c:v>
                </c:pt>
                <c:pt idx="260">
                  <c:v>45519</c:v>
                </c:pt>
                <c:pt idx="261">
                  <c:v>45520</c:v>
                </c:pt>
                <c:pt idx="262">
                  <c:v>45523</c:v>
                </c:pt>
                <c:pt idx="263">
                  <c:v>45524</c:v>
                </c:pt>
                <c:pt idx="264">
                  <c:v>45525</c:v>
                </c:pt>
                <c:pt idx="265">
                  <c:v>45526</c:v>
                </c:pt>
                <c:pt idx="266">
                  <c:v>45527</c:v>
                </c:pt>
                <c:pt idx="267">
                  <c:v>45530</c:v>
                </c:pt>
                <c:pt idx="268">
                  <c:v>45531</c:v>
                </c:pt>
                <c:pt idx="269">
                  <c:v>45532</c:v>
                </c:pt>
                <c:pt idx="270">
                  <c:v>45533</c:v>
                </c:pt>
                <c:pt idx="271">
                  <c:v>45534</c:v>
                </c:pt>
                <c:pt idx="272">
                  <c:v>45537</c:v>
                </c:pt>
                <c:pt idx="273">
                  <c:v>45538</c:v>
                </c:pt>
                <c:pt idx="274">
                  <c:v>45539</c:v>
                </c:pt>
                <c:pt idx="275">
                  <c:v>45540</c:v>
                </c:pt>
                <c:pt idx="276">
                  <c:v>45541</c:v>
                </c:pt>
                <c:pt idx="277">
                  <c:v>45544</c:v>
                </c:pt>
                <c:pt idx="278">
                  <c:v>45545</c:v>
                </c:pt>
                <c:pt idx="279">
                  <c:v>45546</c:v>
                </c:pt>
                <c:pt idx="280">
                  <c:v>45547</c:v>
                </c:pt>
                <c:pt idx="281">
                  <c:v>45548</c:v>
                </c:pt>
                <c:pt idx="282">
                  <c:v>45553</c:v>
                </c:pt>
                <c:pt idx="283">
                  <c:v>45554</c:v>
                </c:pt>
                <c:pt idx="284">
                  <c:v>45555</c:v>
                </c:pt>
                <c:pt idx="285">
                  <c:v>45558</c:v>
                </c:pt>
                <c:pt idx="286">
                  <c:v>45559</c:v>
                </c:pt>
                <c:pt idx="287">
                  <c:v>45560</c:v>
                </c:pt>
                <c:pt idx="288">
                  <c:v>45561</c:v>
                </c:pt>
                <c:pt idx="289">
                  <c:v>45562</c:v>
                </c:pt>
                <c:pt idx="290">
                  <c:v>45565</c:v>
                </c:pt>
                <c:pt idx="291">
                  <c:v>45573</c:v>
                </c:pt>
                <c:pt idx="292">
                  <c:v>45574</c:v>
                </c:pt>
                <c:pt idx="293">
                  <c:v>45575</c:v>
                </c:pt>
                <c:pt idx="294">
                  <c:v>45576</c:v>
                </c:pt>
                <c:pt idx="295">
                  <c:v>45579</c:v>
                </c:pt>
                <c:pt idx="296">
                  <c:v>45580</c:v>
                </c:pt>
                <c:pt idx="297">
                  <c:v>45581</c:v>
                </c:pt>
                <c:pt idx="298">
                  <c:v>45582</c:v>
                </c:pt>
                <c:pt idx="299">
                  <c:v>45583</c:v>
                </c:pt>
                <c:pt idx="300">
                  <c:v>45586</c:v>
                </c:pt>
                <c:pt idx="301">
                  <c:v>45587</c:v>
                </c:pt>
                <c:pt idx="302">
                  <c:v>45588</c:v>
                </c:pt>
                <c:pt idx="303">
                  <c:v>45589</c:v>
                </c:pt>
                <c:pt idx="304">
                  <c:v>45590</c:v>
                </c:pt>
                <c:pt idx="305">
                  <c:v>45593</c:v>
                </c:pt>
                <c:pt idx="306">
                  <c:v>45594</c:v>
                </c:pt>
                <c:pt idx="307">
                  <c:v>45595</c:v>
                </c:pt>
                <c:pt idx="308">
                  <c:v>45596</c:v>
                </c:pt>
                <c:pt idx="309">
                  <c:v>45597</c:v>
                </c:pt>
                <c:pt idx="310">
                  <c:v>45600</c:v>
                </c:pt>
                <c:pt idx="311">
                  <c:v>45601</c:v>
                </c:pt>
                <c:pt idx="312">
                  <c:v>45602</c:v>
                </c:pt>
                <c:pt idx="313">
                  <c:v>45603</c:v>
                </c:pt>
                <c:pt idx="314">
                  <c:v>45604</c:v>
                </c:pt>
                <c:pt idx="315">
                  <c:v>45607</c:v>
                </c:pt>
                <c:pt idx="316">
                  <c:v>45608</c:v>
                </c:pt>
                <c:pt idx="317">
                  <c:v>45609</c:v>
                </c:pt>
                <c:pt idx="318">
                  <c:v>45610</c:v>
                </c:pt>
                <c:pt idx="319">
                  <c:v>45611</c:v>
                </c:pt>
                <c:pt idx="320">
                  <c:v>45614</c:v>
                </c:pt>
                <c:pt idx="321">
                  <c:v>45615</c:v>
                </c:pt>
                <c:pt idx="322">
                  <c:v>45616</c:v>
                </c:pt>
                <c:pt idx="323">
                  <c:v>45617</c:v>
                </c:pt>
                <c:pt idx="324">
                  <c:v>45618</c:v>
                </c:pt>
                <c:pt idx="325">
                  <c:v>45621</c:v>
                </c:pt>
                <c:pt idx="326">
                  <c:v>45622</c:v>
                </c:pt>
                <c:pt idx="327">
                  <c:v>45623</c:v>
                </c:pt>
                <c:pt idx="328">
                  <c:v>45624</c:v>
                </c:pt>
                <c:pt idx="329">
                  <c:v>45625</c:v>
                </c:pt>
                <c:pt idx="330">
                  <c:v>45628</c:v>
                </c:pt>
                <c:pt idx="331">
                  <c:v>45629</c:v>
                </c:pt>
                <c:pt idx="332">
                  <c:v>45630</c:v>
                </c:pt>
                <c:pt idx="333">
                  <c:v>45631</c:v>
                </c:pt>
                <c:pt idx="334">
                  <c:v>45632</c:v>
                </c:pt>
                <c:pt idx="335">
                  <c:v>45635</c:v>
                </c:pt>
                <c:pt idx="336">
                  <c:v>45636</c:v>
                </c:pt>
                <c:pt idx="337">
                  <c:v>45637</c:v>
                </c:pt>
                <c:pt idx="338">
                  <c:v>45638</c:v>
                </c:pt>
                <c:pt idx="339">
                  <c:v>45639</c:v>
                </c:pt>
                <c:pt idx="340">
                  <c:v>45642</c:v>
                </c:pt>
                <c:pt idx="341">
                  <c:v>45643</c:v>
                </c:pt>
                <c:pt idx="342">
                  <c:v>45644</c:v>
                </c:pt>
                <c:pt idx="343">
                  <c:v>45645</c:v>
                </c:pt>
                <c:pt idx="344">
                  <c:v>45646</c:v>
                </c:pt>
                <c:pt idx="345">
                  <c:v>45649</c:v>
                </c:pt>
                <c:pt idx="346">
                  <c:v>45650</c:v>
                </c:pt>
                <c:pt idx="347">
                  <c:v>45651</c:v>
                </c:pt>
                <c:pt idx="348">
                  <c:v>45652</c:v>
                </c:pt>
                <c:pt idx="349">
                  <c:v>45653</c:v>
                </c:pt>
                <c:pt idx="350">
                  <c:v>45656</c:v>
                </c:pt>
                <c:pt idx="351">
                  <c:v>45657</c:v>
                </c:pt>
                <c:pt idx="352">
                  <c:v>45659</c:v>
                </c:pt>
                <c:pt idx="353">
                  <c:v>45660</c:v>
                </c:pt>
                <c:pt idx="354">
                  <c:v>45663</c:v>
                </c:pt>
                <c:pt idx="355">
                  <c:v>45664</c:v>
                </c:pt>
                <c:pt idx="356">
                  <c:v>45665</c:v>
                </c:pt>
                <c:pt idx="357">
                  <c:v>45666</c:v>
                </c:pt>
                <c:pt idx="358">
                  <c:v>45667</c:v>
                </c:pt>
                <c:pt idx="359">
                  <c:v>45670</c:v>
                </c:pt>
                <c:pt idx="360">
                  <c:v>45671</c:v>
                </c:pt>
                <c:pt idx="361">
                  <c:v>45672</c:v>
                </c:pt>
                <c:pt idx="362">
                  <c:v>45673</c:v>
                </c:pt>
                <c:pt idx="363">
                  <c:v>45674</c:v>
                </c:pt>
                <c:pt idx="364">
                  <c:v>45677</c:v>
                </c:pt>
                <c:pt idx="365">
                  <c:v>45678</c:v>
                </c:pt>
                <c:pt idx="366">
                  <c:v>45679</c:v>
                </c:pt>
                <c:pt idx="367">
                  <c:v>45680</c:v>
                </c:pt>
                <c:pt idx="368">
                  <c:v>45681</c:v>
                </c:pt>
                <c:pt idx="369">
                  <c:v>45684</c:v>
                </c:pt>
                <c:pt idx="370">
                  <c:v>45693</c:v>
                </c:pt>
                <c:pt idx="371">
                  <c:v>45694</c:v>
                </c:pt>
                <c:pt idx="372">
                  <c:v>45695</c:v>
                </c:pt>
                <c:pt idx="373">
                  <c:v>45698</c:v>
                </c:pt>
                <c:pt idx="374">
                  <c:v>45699</c:v>
                </c:pt>
                <c:pt idx="375">
                  <c:v>45700</c:v>
                </c:pt>
                <c:pt idx="376">
                  <c:v>45701</c:v>
                </c:pt>
                <c:pt idx="377">
                  <c:v>45702</c:v>
                </c:pt>
                <c:pt idx="378">
                  <c:v>45705</c:v>
                </c:pt>
                <c:pt idx="379">
                  <c:v>45706</c:v>
                </c:pt>
                <c:pt idx="380">
                  <c:v>45707</c:v>
                </c:pt>
                <c:pt idx="381">
                  <c:v>45708</c:v>
                </c:pt>
                <c:pt idx="382">
                  <c:v>45709</c:v>
                </c:pt>
                <c:pt idx="383">
                  <c:v>45712</c:v>
                </c:pt>
                <c:pt idx="384">
                  <c:v>45713</c:v>
                </c:pt>
                <c:pt idx="385">
                  <c:v>45714</c:v>
                </c:pt>
                <c:pt idx="386">
                  <c:v>45715</c:v>
                </c:pt>
                <c:pt idx="387">
                  <c:v>45716</c:v>
                </c:pt>
                <c:pt idx="388">
                  <c:v>45719</c:v>
                </c:pt>
                <c:pt idx="389">
                  <c:v>45720</c:v>
                </c:pt>
                <c:pt idx="390">
                  <c:v>45721</c:v>
                </c:pt>
                <c:pt idx="391">
                  <c:v>45722</c:v>
                </c:pt>
                <c:pt idx="392">
                  <c:v>45723</c:v>
                </c:pt>
                <c:pt idx="393">
                  <c:v>45726</c:v>
                </c:pt>
                <c:pt idx="394">
                  <c:v>45727</c:v>
                </c:pt>
                <c:pt idx="395">
                  <c:v>45728</c:v>
                </c:pt>
                <c:pt idx="396">
                  <c:v>45729</c:v>
                </c:pt>
                <c:pt idx="397">
                  <c:v>45730</c:v>
                </c:pt>
                <c:pt idx="398">
                  <c:v>45733</c:v>
                </c:pt>
                <c:pt idx="399">
                  <c:v>45734</c:v>
                </c:pt>
                <c:pt idx="400">
                  <c:v>45735</c:v>
                </c:pt>
                <c:pt idx="401">
                  <c:v>45736</c:v>
                </c:pt>
                <c:pt idx="402">
                  <c:v>45737</c:v>
                </c:pt>
                <c:pt idx="403">
                  <c:v>45740</c:v>
                </c:pt>
                <c:pt idx="404">
                  <c:v>45741</c:v>
                </c:pt>
                <c:pt idx="405">
                  <c:v>45742</c:v>
                </c:pt>
                <c:pt idx="406">
                  <c:v>45743</c:v>
                </c:pt>
                <c:pt idx="407">
                  <c:v>45744</c:v>
                </c:pt>
                <c:pt idx="408">
                  <c:v>45747</c:v>
                </c:pt>
                <c:pt idx="409">
                  <c:v>45748</c:v>
                </c:pt>
                <c:pt idx="410">
                  <c:v>45749</c:v>
                </c:pt>
                <c:pt idx="411">
                  <c:v>45750</c:v>
                </c:pt>
                <c:pt idx="412">
                  <c:v>45754</c:v>
                </c:pt>
                <c:pt idx="413">
                  <c:v>45755</c:v>
                </c:pt>
                <c:pt idx="414">
                  <c:v>45756</c:v>
                </c:pt>
                <c:pt idx="415">
                  <c:v>45757</c:v>
                </c:pt>
                <c:pt idx="416">
                  <c:v>45758</c:v>
                </c:pt>
                <c:pt idx="417">
                  <c:v>45761</c:v>
                </c:pt>
                <c:pt idx="418">
                  <c:v>45762</c:v>
                </c:pt>
                <c:pt idx="419">
                  <c:v>45763</c:v>
                </c:pt>
                <c:pt idx="420">
                  <c:v>45764</c:v>
                </c:pt>
                <c:pt idx="421">
                  <c:v>45765</c:v>
                </c:pt>
                <c:pt idx="422">
                  <c:v>45768</c:v>
                </c:pt>
                <c:pt idx="423">
                  <c:v>45769</c:v>
                </c:pt>
                <c:pt idx="424">
                  <c:v>45770</c:v>
                </c:pt>
                <c:pt idx="425">
                  <c:v>45771</c:v>
                </c:pt>
                <c:pt idx="426">
                  <c:v>45772</c:v>
                </c:pt>
                <c:pt idx="427">
                  <c:v>45775</c:v>
                </c:pt>
                <c:pt idx="428">
                  <c:v>45776</c:v>
                </c:pt>
                <c:pt idx="429">
                  <c:v>45777</c:v>
                </c:pt>
                <c:pt idx="430">
                  <c:v>45783</c:v>
                </c:pt>
                <c:pt idx="431">
                  <c:v>45784</c:v>
                </c:pt>
                <c:pt idx="432">
                  <c:v>45785</c:v>
                </c:pt>
                <c:pt idx="433">
                  <c:v>45786</c:v>
                </c:pt>
                <c:pt idx="434">
                  <c:v>45789</c:v>
                </c:pt>
                <c:pt idx="435">
                  <c:v>45790</c:v>
                </c:pt>
                <c:pt idx="436">
                  <c:v>45791</c:v>
                </c:pt>
                <c:pt idx="437">
                  <c:v>45792</c:v>
                </c:pt>
                <c:pt idx="438">
                  <c:v>45793</c:v>
                </c:pt>
                <c:pt idx="439">
                  <c:v>45796</c:v>
                </c:pt>
                <c:pt idx="440">
                  <c:v>45797</c:v>
                </c:pt>
                <c:pt idx="441">
                  <c:v>45798</c:v>
                </c:pt>
                <c:pt idx="442">
                  <c:v>45799</c:v>
                </c:pt>
                <c:pt idx="443">
                  <c:v>45800</c:v>
                </c:pt>
                <c:pt idx="444">
                  <c:v>45803</c:v>
                </c:pt>
                <c:pt idx="445">
                  <c:v>45804</c:v>
                </c:pt>
                <c:pt idx="446">
                  <c:v>45805</c:v>
                </c:pt>
                <c:pt idx="447">
                  <c:v>45806</c:v>
                </c:pt>
                <c:pt idx="448">
                  <c:v>45807</c:v>
                </c:pt>
                <c:pt idx="449">
                  <c:v>45811</c:v>
                </c:pt>
                <c:pt idx="450">
                  <c:v>45812</c:v>
                </c:pt>
                <c:pt idx="451">
                  <c:v>45813</c:v>
                </c:pt>
                <c:pt idx="452">
                  <c:v>45814</c:v>
                </c:pt>
                <c:pt idx="453">
                  <c:v>45817</c:v>
                </c:pt>
                <c:pt idx="454">
                  <c:v>45818</c:v>
                </c:pt>
                <c:pt idx="455">
                  <c:v>45819</c:v>
                </c:pt>
                <c:pt idx="456">
                  <c:v>45820</c:v>
                </c:pt>
                <c:pt idx="457">
                  <c:v>45821</c:v>
                </c:pt>
                <c:pt idx="458">
                  <c:v>45824</c:v>
                </c:pt>
                <c:pt idx="459">
                  <c:v>45825</c:v>
                </c:pt>
                <c:pt idx="460">
                  <c:v>45826</c:v>
                </c:pt>
                <c:pt idx="461">
                  <c:v>45827</c:v>
                </c:pt>
                <c:pt idx="462">
                  <c:v>45828</c:v>
                </c:pt>
                <c:pt idx="463">
                  <c:v>45831</c:v>
                </c:pt>
                <c:pt idx="464">
                  <c:v>45832</c:v>
                </c:pt>
                <c:pt idx="465">
                  <c:v>45833</c:v>
                </c:pt>
                <c:pt idx="466">
                  <c:v>45834</c:v>
                </c:pt>
                <c:pt idx="467">
                  <c:v>45835</c:v>
                </c:pt>
                <c:pt idx="468">
                  <c:v>45838</c:v>
                </c:pt>
                <c:pt idx="469">
                  <c:v>45839</c:v>
                </c:pt>
                <c:pt idx="470">
                  <c:v>45840</c:v>
                </c:pt>
                <c:pt idx="471">
                  <c:v>45841</c:v>
                </c:pt>
                <c:pt idx="472">
                  <c:v>45842</c:v>
                </c:pt>
                <c:pt idx="473">
                  <c:v>45845</c:v>
                </c:pt>
                <c:pt idx="474">
                  <c:v>45846</c:v>
                </c:pt>
                <c:pt idx="475">
                  <c:v>45847</c:v>
                </c:pt>
                <c:pt idx="476">
                  <c:v>45848</c:v>
                </c:pt>
                <c:pt idx="477">
                  <c:v>45849</c:v>
                </c:pt>
                <c:pt idx="478">
                  <c:v>45852</c:v>
                </c:pt>
                <c:pt idx="479">
                  <c:v>45853</c:v>
                </c:pt>
                <c:pt idx="480">
                  <c:v>45854</c:v>
                </c:pt>
                <c:pt idx="481">
                  <c:v>45855</c:v>
                </c:pt>
                <c:pt idx="482">
                  <c:v>45856</c:v>
                </c:pt>
                <c:pt idx="483">
                  <c:v>45859</c:v>
                </c:pt>
                <c:pt idx="484">
                  <c:v>45860</c:v>
                </c:pt>
                <c:pt idx="485">
                  <c:v>45861</c:v>
                </c:pt>
                <c:pt idx="486">
                  <c:v>45862</c:v>
                </c:pt>
                <c:pt idx="487">
                  <c:v>45863</c:v>
                </c:pt>
                <c:pt idx="488">
                  <c:v>45866</c:v>
                </c:pt>
                <c:pt idx="489">
                  <c:v>45867</c:v>
                </c:pt>
                <c:pt idx="490">
                  <c:v>45868</c:v>
                </c:pt>
                <c:pt idx="491">
                  <c:v>45869</c:v>
                </c:pt>
                <c:pt idx="492">
                  <c:v>45870</c:v>
                </c:pt>
                <c:pt idx="493">
                  <c:v>45873</c:v>
                </c:pt>
                <c:pt idx="494">
                  <c:v>45874</c:v>
                </c:pt>
                <c:pt idx="495">
                  <c:v>45875</c:v>
                </c:pt>
                <c:pt idx="496">
                  <c:v>45876</c:v>
                </c:pt>
                <c:pt idx="497">
                  <c:v>45877</c:v>
                </c:pt>
                <c:pt idx="498">
                  <c:v>45880</c:v>
                </c:pt>
                <c:pt idx="499">
                  <c:v>45881</c:v>
                </c:pt>
                <c:pt idx="500">
                  <c:v>45882</c:v>
                </c:pt>
                <c:pt idx="501">
                  <c:v>45883</c:v>
                </c:pt>
                <c:pt idx="502">
                  <c:v>45884</c:v>
                </c:pt>
                <c:pt idx="503">
                  <c:v>45887</c:v>
                </c:pt>
                <c:pt idx="504">
                  <c:v>45888</c:v>
                </c:pt>
                <c:pt idx="505">
                  <c:v>45889</c:v>
                </c:pt>
                <c:pt idx="506">
                  <c:v>45890</c:v>
                </c:pt>
                <c:pt idx="507">
                  <c:v>45891</c:v>
                </c:pt>
                <c:pt idx="508">
                  <c:v>45894</c:v>
                </c:pt>
                <c:pt idx="509">
                  <c:v>45895</c:v>
                </c:pt>
                <c:pt idx="510">
                  <c:v>45896</c:v>
                </c:pt>
                <c:pt idx="511">
                  <c:v>45897</c:v>
                </c:pt>
                <c:pt idx="512">
                  <c:v>45898</c:v>
                </c:pt>
                <c:pt idx="513">
                  <c:v>45901</c:v>
                </c:pt>
                <c:pt idx="514">
                  <c:v>45902</c:v>
                </c:pt>
                <c:pt idx="515">
                  <c:v>45903</c:v>
                </c:pt>
                <c:pt idx="516">
                  <c:v>45904</c:v>
                </c:pt>
                <c:pt idx="517">
                  <c:v>45905</c:v>
                </c:pt>
                <c:pt idx="518">
                  <c:v>45908</c:v>
                </c:pt>
                <c:pt idx="519">
                  <c:v>45909</c:v>
                </c:pt>
                <c:pt idx="520">
                  <c:v>45910</c:v>
                </c:pt>
                <c:pt idx="521">
                  <c:v>45911</c:v>
                </c:pt>
                <c:pt idx="522">
                  <c:v>45912</c:v>
                </c:pt>
                <c:pt idx="523">
                  <c:v>45915</c:v>
                </c:pt>
                <c:pt idx="524">
                  <c:v>45916</c:v>
                </c:pt>
                <c:pt idx="525">
                  <c:v>45917</c:v>
                </c:pt>
                <c:pt idx="526">
                  <c:v>45918</c:v>
                </c:pt>
                <c:pt idx="527">
                  <c:v>45919</c:v>
                </c:pt>
                <c:pt idx="528">
                  <c:v>45922</c:v>
                </c:pt>
                <c:pt idx="529">
                  <c:v>45923</c:v>
                </c:pt>
                <c:pt idx="530">
                  <c:v>45924</c:v>
                </c:pt>
                <c:pt idx="531">
                  <c:v>45925</c:v>
                </c:pt>
                <c:pt idx="532">
                  <c:v>45926</c:v>
                </c:pt>
                <c:pt idx="533">
                  <c:v>45929</c:v>
                </c:pt>
                <c:pt idx="534">
                  <c:v>45930</c:v>
                </c:pt>
                <c:pt idx="535">
                  <c:v>45931</c:v>
                </c:pt>
                <c:pt idx="536">
                  <c:v>45932</c:v>
                </c:pt>
                <c:pt idx="537">
                  <c:v>45933</c:v>
                </c:pt>
                <c:pt idx="538">
                  <c:v>45936</c:v>
                </c:pt>
                <c:pt idx="539">
                  <c:v>45937</c:v>
                </c:pt>
                <c:pt idx="540">
                  <c:v>45938</c:v>
                </c:pt>
                <c:pt idx="541">
                  <c:v>45939</c:v>
                </c:pt>
                <c:pt idx="542">
                  <c:v>45940</c:v>
                </c:pt>
                <c:pt idx="543">
                  <c:v>45943</c:v>
                </c:pt>
                <c:pt idx="544">
                  <c:v>45944</c:v>
                </c:pt>
                <c:pt idx="545">
                  <c:v>45945</c:v>
                </c:pt>
                <c:pt idx="546">
                  <c:v>45946</c:v>
                </c:pt>
                <c:pt idx="547">
                  <c:v>45947</c:v>
                </c:pt>
                <c:pt idx="548">
                  <c:v>45950</c:v>
                </c:pt>
                <c:pt idx="549">
                  <c:v>45951</c:v>
                </c:pt>
                <c:pt idx="550">
                  <c:v>45952</c:v>
                </c:pt>
                <c:pt idx="551">
                  <c:v>45953</c:v>
                </c:pt>
                <c:pt idx="552">
                  <c:v>45954</c:v>
                </c:pt>
                <c:pt idx="553">
                  <c:v>45957</c:v>
                </c:pt>
                <c:pt idx="554">
                  <c:v>45958</c:v>
                </c:pt>
                <c:pt idx="555">
                  <c:v>45959</c:v>
                </c:pt>
                <c:pt idx="556">
                  <c:v>45960</c:v>
                </c:pt>
                <c:pt idx="557">
                  <c:v>45961</c:v>
                </c:pt>
                <c:pt idx="558">
                  <c:v>45964</c:v>
                </c:pt>
                <c:pt idx="559">
                  <c:v>45965</c:v>
                </c:pt>
                <c:pt idx="560">
                  <c:v>45966</c:v>
                </c:pt>
                <c:pt idx="561">
                  <c:v>45967</c:v>
                </c:pt>
                <c:pt idx="562">
                  <c:v>45968</c:v>
                </c:pt>
                <c:pt idx="563">
                  <c:v>45971</c:v>
                </c:pt>
                <c:pt idx="564">
                  <c:v>45972</c:v>
                </c:pt>
                <c:pt idx="565">
                  <c:v>45973</c:v>
                </c:pt>
                <c:pt idx="566">
                  <c:v>45974</c:v>
                </c:pt>
                <c:pt idx="567">
                  <c:v>45975</c:v>
                </c:pt>
                <c:pt idx="568">
                  <c:v>45978</c:v>
                </c:pt>
                <c:pt idx="569">
                  <c:v>45979</c:v>
                </c:pt>
                <c:pt idx="570">
                  <c:v>45980</c:v>
                </c:pt>
                <c:pt idx="571">
                  <c:v>45981</c:v>
                </c:pt>
                <c:pt idx="572">
                  <c:v>45982</c:v>
                </c:pt>
                <c:pt idx="573">
                  <c:v>45985</c:v>
                </c:pt>
                <c:pt idx="574">
                  <c:v>45986</c:v>
                </c:pt>
                <c:pt idx="575">
                  <c:v>45987</c:v>
                </c:pt>
                <c:pt idx="576">
                  <c:v>45988</c:v>
                </c:pt>
                <c:pt idx="577">
                  <c:v>45989</c:v>
                </c:pt>
                <c:pt idx="578">
                  <c:v>45992</c:v>
                </c:pt>
                <c:pt idx="579">
                  <c:v>45993</c:v>
                </c:pt>
                <c:pt idx="580">
                  <c:v>45994</c:v>
                </c:pt>
                <c:pt idx="581">
                  <c:v>45995</c:v>
                </c:pt>
                <c:pt idx="582">
                  <c:v>45996</c:v>
                </c:pt>
                <c:pt idx="583">
                  <c:v>45999</c:v>
                </c:pt>
                <c:pt idx="584">
                  <c:v>46000</c:v>
                </c:pt>
                <c:pt idx="585">
                  <c:v>46001</c:v>
                </c:pt>
                <c:pt idx="586">
                  <c:v>46002</c:v>
                </c:pt>
                <c:pt idx="587">
                  <c:v>46003</c:v>
                </c:pt>
                <c:pt idx="588">
                  <c:v>46006</c:v>
                </c:pt>
                <c:pt idx="589">
                  <c:v>46007</c:v>
                </c:pt>
                <c:pt idx="590">
                  <c:v>46008</c:v>
                </c:pt>
                <c:pt idx="591">
                  <c:v>46009</c:v>
                </c:pt>
                <c:pt idx="592">
                  <c:v>46010</c:v>
                </c:pt>
                <c:pt idx="593">
                  <c:v>46013</c:v>
                </c:pt>
                <c:pt idx="594">
                  <c:v>46014</c:v>
                </c:pt>
                <c:pt idx="595">
                  <c:v>46015</c:v>
                </c:pt>
                <c:pt idx="596">
                  <c:v>46016</c:v>
                </c:pt>
                <c:pt idx="597">
                  <c:v>46017</c:v>
                </c:pt>
                <c:pt idx="598">
                  <c:v>46020</c:v>
                </c:pt>
                <c:pt idx="599">
                  <c:v>46021</c:v>
                </c:pt>
                <c:pt idx="600">
                  <c:v>46022</c:v>
                </c:pt>
                <c:pt idx="601">
                  <c:v>46023</c:v>
                </c:pt>
                <c:pt idx="602">
                  <c:v>46024</c:v>
                </c:pt>
                <c:pt idx="603">
                  <c:v>46027</c:v>
                </c:pt>
                <c:pt idx="604">
                  <c:v>46028</c:v>
                </c:pt>
                <c:pt idx="605">
                  <c:v>46029</c:v>
                </c:pt>
                <c:pt idx="606">
                  <c:v>46030</c:v>
                </c:pt>
                <c:pt idx="607">
                  <c:v>46031</c:v>
                </c:pt>
                <c:pt idx="608">
                  <c:v>46034</c:v>
                </c:pt>
                <c:pt idx="609">
                  <c:v>46035</c:v>
                </c:pt>
                <c:pt idx="610">
                  <c:v>46036</c:v>
                </c:pt>
                <c:pt idx="611">
                  <c:v>46037</c:v>
                </c:pt>
                <c:pt idx="612">
                  <c:v>46038</c:v>
                </c:pt>
                <c:pt idx="613">
                  <c:v>46041</c:v>
                </c:pt>
                <c:pt idx="614">
                  <c:v>46042</c:v>
                </c:pt>
                <c:pt idx="615">
                  <c:v>46043</c:v>
                </c:pt>
                <c:pt idx="616">
                  <c:v>46044</c:v>
                </c:pt>
                <c:pt idx="617">
                  <c:v>46045</c:v>
                </c:pt>
                <c:pt idx="618">
                  <c:v>46048</c:v>
                </c:pt>
                <c:pt idx="619">
                  <c:v>46049</c:v>
                </c:pt>
                <c:pt idx="620">
                  <c:v>46050</c:v>
                </c:pt>
                <c:pt idx="621">
                  <c:v>46051</c:v>
                </c:pt>
                <c:pt idx="622">
                  <c:v>46052</c:v>
                </c:pt>
                <c:pt idx="623">
                  <c:v>46055</c:v>
                </c:pt>
                <c:pt idx="624">
                  <c:v>46056</c:v>
                </c:pt>
                <c:pt idx="625">
                  <c:v>46057</c:v>
                </c:pt>
                <c:pt idx="626">
                  <c:v>46058</c:v>
                </c:pt>
                <c:pt idx="627">
                  <c:v>46059</c:v>
                </c:pt>
                <c:pt idx="628">
                  <c:v>46062</c:v>
                </c:pt>
                <c:pt idx="629">
                  <c:v>46063</c:v>
                </c:pt>
                <c:pt idx="630">
                  <c:v>46064</c:v>
                </c:pt>
                <c:pt idx="631">
                  <c:v>46065</c:v>
                </c:pt>
                <c:pt idx="632">
                  <c:v>46066</c:v>
                </c:pt>
                <c:pt idx="633">
                  <c:v>46069</c:v>
                </c:pt>
                <c:pt idx="634">
                  <c:v>46070</c:v>
                </c:pt>
                <c:pt idx="635">
                  <c:v>46071</c:v>
                </c:pt>
                <c:pt idx="636">
                  <c:v>46072</c:v>
                </c:pt>
                <c:pt idx="637">
                  <c:v>46073</c:v>
                </c:pt>
                <c:pt idx="638">
                  <c:v>46076</c:v>
                </c:pt>
                <c:pt idx="639">
                  <c:v>46077</c:v>
                </c:pt>
                <c:pt idx="640">
                  <c:v>46078</c:v>
                </c:pt>
                <c:pt idx="641">
                  <c:v>46079</c:v>
                </c:pt>
                <c:pt idx="642">
                  <c:v>46080</c:v>
                </c:pt>
                <c:pt idx="643">
                  <c:v>46083</c:v>
                </c:pt>
                <c:pt idx="644">
                  <c:v>46084</c:v>
                </c:pt>
                <c:pt idx="645">
                  <c:v>46085</c:v>
                </c:pt>
                <c:pt idx="646">
                  <c:v>46086</c:v>
                </c:pt>
                <c:pt idx="647">
                  <c:v>46087</c:v>
                </c:pt>
                <c:pt idx="648">
                  <c:v>46090</c:v>
                </c:pt>
                <c:pt idx="649">
                  <c:v>46091</c:v>
                </c:pt>
                <c:pt idx="650">
                  <c:v>46092</c:v>
                </c:pt>
                <c:pt idx="651">
                  <c:v>46093</c:v>
                </c:pt>
                <c:pt idx="652">
                  <c:v>46094</c:v>
                </c:pt>
                <c:pt idx="653">
                  <c:v>46097</c:v>
                </c:pt>
                <c:pt idx="654">
                  <c:v>46098</c:v>
                </c:pt>
                <c:pt idx="655">
                  <c:v>46099</c:v>
                </c:pt>
                <c:pt idx="656">
                  <c:v>46100</c:v>
                </c:pt>
                <c:pt idx="657">
                  <c:v>46101</c:v>
                </c:pt>
                <c:pt idx="658">
                  <c:v>46104</c:v>
                </c:pt>
                <c:pt idx="659">
                  <c:v>46105</c:v>
                </c:pt>
                <c:pt idx="660">
                  <c:v>46106</c:v>
                </c:pt>
                <c:pt idx="661">
                  <c:v>46107</c:v>
                </c:pt>
                <c:pt idx="662">
                  <c:v>46108</c:v>
                </c:pt>
                <c:pt idx="663">
                  <c:v>46111</c:v>
                </c:pt>
                <c:pt idx="664">
                  <c:v>46112</c:v>
                </c:pt>
                <c:pt idx="665">
                  <c:v>46113</c:v>
                </c:pt>
                <c:pt idx="666">
                  <c:v>46114</c:v>
                </c:pt>
                <c:pt idx="667">
                  <c:v>46115</c:v>
                </c:pt>
                <c:pt idx="668">
                  <c:v>46118</c:v>
                </c:pt>
                <c:pt idx="669">
                  <c:v>46119</c:v>
                </c:pt>
                <c:pt idx="670">
                  <c:v>46120</c:v>
                </c:pt>
                <c:pt idx="671">
                  <c:v>46121</c:v>
                </c:pt>
                <c:pt idx="672">
                  <c:v>46122</c:v>
                </c:pt>
                <c:pt idx="673">
                  <c:v>46125</c:v>
                </c:pt>
                <c:pt idx="674">
                  <c:v>46126</c:v>
                </c:pt>
                <c:pt idx="675">
                  <c:v>46127</c:v>
                </c:pt>
                <c:pt idx="676">
                  <c:v>46128</c:v>
                </c:pt>
                <c:pt idx="677">
                  <c:v>46129</c:v>
                </c:pt>
                <c:pt idx="678">
                  <c:v>46132</c:v>
                </c:pt>
                <c:pt idx="679">
                  <c:v>46133</c:v>
                </c:pt>
                <c:pt idx="680">
                  <c:v>46134</c:v>
                </c:pt>
                <c:pt idx="681">
                  <c:v>46135</c:v>
                </c:pt>
                <c:pt idx="682">
                  <c:v>46136</c:v>
                </c:pt>
                <c:pt idx="683">
                  <c:v>46139</c:v>
                </c:pt>
                <c:pt idx="684">
                  <c:v>46140</c:v>
                </c:pt>
                <c:pt idx="685">
                  <c:v>46141</c:v>
                </c:pt>
                <c:pt idx="686">
                  <c:v>46142</c:v>
                </c:pt>
                <c:pt idx="687">
                  <c:v>46143</c:v>
                </c:pt>
                <c:pt idx="688">
                  <c:v>46146</c:v>
                </c:pt>
                <c:pt idx="689">
                  <c:v>46147</c:v>
                </c:pt>
                <c:pt idx="690">
                  <c:v>46148</c:v>
                </c:pt>
                <c:pt idx="691">
                  <c:v>46149</c:v>
                </c:pt>
                <c:pt idx="692">
                  <c:v>46150</c:v>
                </c:pt>
                <c:pt idx="693">
                  <c:v>46153</c:v>
                </c:pt>
                <c:pt idx="694">
                  <c:v>46154</c:v>
                </c:pt>
                <c:pt idx="695">
                  <c:v>46155</c:v>
                </c:pt>
                <c:pt idx="696">
                  <c:v>46156</c:v>
                </c:pt>
                <c:pt idx="697">
                  <c:v>46157</c:v>
                </c:pt>
                <c:pt idx="698">
                  <c:v>46160</c:v>
                </c:pt>
                <c:pt idx="699">
                  <c:v>46161</c:v>
                </c:pt>
                <c:pt idx="700">
                  <c:v>46162</c:v>
                </c:pt>
                <c:pt idx="701">
                  <c:v>46163</c:v>
                </c:pt>
                <c:pt idx="702">
                  <c:v>46164</c:v>
                </c:pt>
                <c:pt idx="703">
                  <c:v>46167</c:v>
                </c:pt>
                <c:pt idx="704">
                  <c:v>46168</c:v>
                </c:pt>
                <c:pt idx="705">
                  <c:v>46169</c:v>
                </c:pt>
                <c:pt idx="706">
                  <c:v>46170</c:v>
                </c:pt>
                <c:pt idx="707">
                  <c:v>46171</c:v>
                </c:pt>
                <c:pt idx="708">
                  <c:v>46174</c:v>
                </c:pt>
                <c:pt idx="709">
                  <c:v>46175</c:v>
                </c:pt>
                <c:pt idx="710">
                  <c:v>46176</c:v>
                </c:pt>
                <c:pt idx="711">
                  <c:v>46177</c:v>
                </c:pt>
                <c:pt idx="712">
                  <c:v>46178</c:v>
                </c:pt>
                <c:pt idx="713">
                  <c:v>46181</c:v>
                </c:pt>
                <c:pt idx="714">
                  <c:v>46182</c:v>
                </c:pt>
                <c:pt idx="715">
                  <c:v>46183</c:v>
                </c:pt>
                <c:pt idx="716">
                  <c:v>46184</c:v>
                </c:pt>
                <c:pt idx="717">
                  <c:v>46185</c:v>
                </c:pt>
                <c:pt idx="718">
                  <c:v>46188</c:v>
                </c:pt>
                <c:pt idx="719">
                  <c:v>46189</c:v>
                </c:pt>
                <c:pt idx="720">
                  <c:v>46190</c:v>
                </c:pt>
                <c:pt idx="721">
                  <c:v>46191</c:v>
                </c:pt>
                <c:pt idx="722">
                  <c:v>46192</c:v>
                </c:pt>
                <c:pt idx="723">
                  <c:v>46195</c:v>
                </c:pt>
                <c:pt idx="724">
                  <c:v>46196</c:v>
                </c:pt>
                <c:pt idx="725">
                  <c:v>46197</c:v>
                </c:pt>
                <c:pt idx="726">
                  <c:v>46198</c:v>
                </c:pt>
                <c:pt idx="727">
                  <c:v>46199</c:v>
                </c:pt>
                <c:pt idx="728">
                  <c:v>46202</c:v>
                </c:pt>
                <c:pt idx="729">
                  <c:v>46203</c:v>
                </c:pt>
                <c:pt idx="730">
                  <c:v>46204</c:v>
                </c:pt>
                <c:pt idx="731">
                  <c:v>46205</c:v>
                </c:pt>
                <c:pt idx="732">
                  <c:v>46206</c:v>
                </c:pt>
                <c:pt idx="733">
                  <c:v>46209</c:v>
                </c:pt>
                <c:pt idx="734">
                  <c:v>46210</c:v>
                </c:pt>
                <c:pt idx="735">
                  <c:v>46211</c:v>
                </c:pt>
                <c:pt idx="736">
                  <c:v>46212</c:v>
                </c:pt>
                <c:pt idx="737">
                  <c:v>46213</c:v>
                </c:pt>
                <c:pt idx="738">
                  <c:v>46216</c:v>
                </c:pt>
                <c:pt idx="739">
                  <c:v>46217</c:v>
                </c:pt>
                <c:pt idx="740">
                  <c:v>46218</c:v>
                </c:pt>
                <c:pt idx="741">
                  <c:v>46219</c:v>
                </c:pt>
                <c:pt idx="742">
                  <c:v>46220</c:v>
                </c:pt>
                <c:pt idx="743">
                  <c:v>46223</c:v>
                </c:pt>
                <c:pt idx="744">
                  <c:v>46224</c:v>
                </c:pt>
                <c:pt idx="745">
                  <c:v>46225</c:v>
                </c:pt>
                <c:pt idx="746">
                  <c:v>46226</c:v>
                </c:pt>
                <c:pt idx="747">
                  <c:v>46227</c:v>
                </c:pt>
                <c:pt idx="748">
                  <c:v>46230</c:v>
                </c:pt>
                <c:pt idx="749">
                  <c:v>46231</c:v>
                </c:pt>
                <c:pt idx="750">
                  <c:v>46232</c:v>
                </c:pt>
                <c:pt idx="751">
                  <c:v>46233</c:v>
                </c:pt>
                <c:pt idx="752">
                  <c:v>46234</c:v>
                </c:pt>
                <c:pt idx="753">
                  <c:v>46237</c:v>
                </c:pt>
                <c:pt idx="754">
                  <c:v>46238</c:v>
                </c:pt>
                <c:pt idx="755">
                  <c:v>46239</c:v>
                </c:pt>
                <c:pt idx="756">
                  <c:v>46240</c:v>
                </c:pt>
                <c:pt idx="757">
                  <c:v>46241</c:v>
                </c:pt>
                <c:pt idx="758">
                  <c:v>46244</c:v>
                </c:pt>
                <c:pt idx="759">
                  <c:v>46245</c:v>
                </c:pt>
                <c:pt idx="760">
                  <c:v>46246</c:v>
                </c:pt>
                <c:pt idx="761">
                  <c:v>46247</c:v>
                </c:pt>
                <c:pt idx="762">
                  <c:v>46248</c:v>
                </c:pt>
                <c:pt idx="763">
                  <c:v>46251</c:v>
                </c:pt>
                <c:pt idx="764">
                  <c:v>46252</c:v>
                </c:pt>
                <c:pt idx="765">
                  <c:v>46253</c:v>
                </c:pt>
                <c:pt idx="766">
                  <c:v>46254</c:v>
                </c:pt>
                <c:pt idx="767">
                  <c:v>46255</c:v>
                </c:pt>
                <c:pt idx="768">
                  <c:v>46258</c:v>
                </c:pt>
                <c:pt idx="769">
                  <c:v>46259</c:v>
                </c:pt>
                <c:pt idx="770">
                  <c:v>46260</c:v>
                </c:pt>
                <c:pt idx="771">
                  <c:v>46261</c:v>
                </c:pt>
                <c:pt idx="772">
                  <c:v>46262</c:v>
                </c:pt>
                <c:pt idx="773">
                  <c:v>46265</c:v>
                </c:pt>
                <c:pt idx="774">
                  <c:v>46266</c:v>
                </c:pt>
                <c:pt idx="775">
                  <c:v>46267</c:v>
                </c:pt>
                <c:pt idx="776">
                  <c:v>46268</c:v>
                </c:pt>
                <c:pt idx="777">
                  <c:v>46269</c:v>
                </c:pt>
                <c:pt idx="778">
                  <c:v>46272</c:v>
                </c:pt>
                <c:pt idx="779">
                  <c:v>46273</c:v>
                </c:pt>
                <c:pt idx="780">
                  <c:v>46274</c:v>
                </c:pt>
                <c:pt idx="781">
                  <c:v>46275</c:v>
                </c:pt>
                <c:pt idx="782">
                  <c:v>46276</c:v>
                </c:pt>
                <c:pt idx="783">
                  <c:v>46279</c:v>
                </c:pt>
                <c:pt idx="784">
                  <c:v>46280</c:v>
                </c:pt>
                <c:pt idx="785">
                  <c:v>46281</c:v>
                </c:pt>
                <c:pt idx="786">
                  <c:v>46282</c:v>
                </c:pt>
                <c:pt idx="787">
                  <c:v>46283</c:v>
                </c:pt>
                <c:pt idx="788">
                  <c:v>46286</c:v>
                </c:pt>
                <c:pt idx="789">
                  <c:v>46287</c:v>
                </c:pt>
                <c:pt idx="790">
                  <c:v>46288</c:v>
                </c:pt>
                <c:pt idx="791">
                  <c:v>46289</c:v>
                </c:pt>
                <c:pt idx="792">
                  <c:v>46290</c:v>
                </c:pt>
                <c:pt idx="793">
                  <c:v>46293</c:v>
                </c:pt>
                <c:pt idx="794">
                  <c:v>46294</c:v>
                </c:pt>
                <c:pt idx="795">
                  <c:v>46295</c:v>
                </c:pt>
                <c:pt idx="796">
                  <c:v>46296</c:v>
                </c:pt>
                <c:pt idx="797">
                  <c:v>46297</c:v>
                </c:pt>
                <c:pt idx="798">
                  <c:v>46300</c:v>
                </c:pt>
                <c:pt idx="799">
                  <c:v>46301</c:v>
                </c:pt>
                <c:pt idx="800">
                  <c:v>46302</c:v>
                </c:pt>
                <c:pt idx="801">
                  <c:v>46303</c:v>
                </c:pt>
                <c:pt idx="802">
                  <c:v>46304</c:v>
                </c:pt>
                <c:pt idx="803">
                  <c:v>46307</c:v>
                </c:pt>
                <c:pt idx="804">
                  <c:v>46308</c:v>
                </c:pt>
                <c:pt idx="805">
                  <c:v>46309</c:v>
                </c:pt>
                <c:pt idx="806">
                  <c:v>46310</c:v>
                </c:pt>
                <c:pt idx="807">
                  <c:v>46311</c:v>
                </c:pt>
                <c:pt idx="808">
                  <c:v>46314</c:v>
                </c:pt>
                <c:pt idx="809">
                  <c:v>46315</c:v>
                </c:pt>
                <c:pt idx="810">
                  <c:v>46316</c:v>
                </c:pt>
                <c:pt idx="811">
                  <c:v>46317</c:v>
                </c:pt>
                <c:pt idx="812">
                  <c:v>46318</c:v>
                </c:pt>
                <c:pt idx="813">
                  <c:v>46321</c:v>
                </c:pt>
                <c:pt idx="814">
                  <c:v>46322</c:v>
                </c:pt>
                <c:pt idx="815">
                  <c:v>46323</c:v>
                </c:pt>
                <c:pt idx="816">
                  <c:v>46324</c:v>
                </c:pt>
                <c:pt idx="817">
                  <c:v>46325</c:v>
                </c:pt>
                <c:pt idx="818">
                  <c:v>46328</c:v>
                </c:pt>
                <c:pt idx="819">
                  <c:v>46329</c:v>
                </c:pt>
                <c:pt idx="820">
                  <c:v>46330</c:v>
                </c:pt>
                <c:pt idx="821">
                  <c:v>46331</c:v>
                </c:pt>
                <c:pt idx="822">
                  <c:v>46332</c:v>
                </c:pt>
                <c:pt idx="823">
                  <c:v>46335</c:v>
                </c:pt>
                <c:pt idx="824">
                  <c:v>46336</c:v>
                </c:pt>
                <c:pt idx="825">
                  <c:v>46337</c:v>
                </c:pt>
                <c:pt idx="826">
                  <c:v>46338</c:v>
                </c:pt>
                <c:pt idx="827">
                  <c:v>46339</c:v>
                </c:pt>
                <c:pt idx="828">
                  <c:v>46342</c:v>
                </c:pt>
                <c:pt idx="829">
                  <c:v>46343</c:v>
                </c:pt>
                <c:pt idx="830">
                  <c:v>46344</c:v>
                </c:pt>
                <c:pt idx="831">
                  <c:v>46345</c:v>
                </c:pt>
                <c:pt idx="832">
                  <c:v>46346</c:v>
                </c:pt>
                <c:pt idx="833">
                  <c:v>46349</c:v>
                </c:pt>
                <c:pt idx="834">
                  <c:v>46350</c:v>
                </c:pt>
                <c:pt idx="835">
                  <c:v>46351</c:v>
                </c:pt>
                <c:pt idx="836">
                  <c:v>46352</c:v>
                </c:pt>
                <c:pt idx="837">
                  <c:v>46353</c:v>
                </c:pt>
                <c:pt idx="838">
                  <c:v>46356</c:v>
                </c:pt>
                <c:pt idx="839">
                  <c:v>46357</c:v>
                </c:pt>
                <c:pt idx="840">
                  <c:v>46358</c:v>
                </c:pt>
                <c:pt idx="841">
                  <c:v>46359</c:v>
                </c:pt>
                <c:pt idx="842">
                  <c:v>46360</c:v>
                </c:pt>
                <c:pt idx="843">
                  <c:v>46363</c:v>
                </c:pt>
                <c:pt idx="844">
                  <c:v>46364</c:v>
                </c:pt>
                <c:pt idx="845">
                  <c:v>46365</c:v>
                </c:pt>
                <c:pt idx="846">
                  <c:v>46366</c:v>
                </c:pt>
                <c:pt idx="847">
                  <c:v>46367</c:v>
                </c:pt>
                <c:pt idx="848">
                  <c:v>46370</c:v>
                </c:pt>
                <c:pt idx="849">
                  <c:v>46371</c:v>
                </c:pt>
                <c:pt idx="850">
                  <c:v>46372</c:v>
                </c:pt>
                <c:pt idx="851">
                  <c:v>46373</c:v>
                </c:pt>
                <c:pt idx="852">
                  <c:v>46374</c:v>
                </c:pt>
                <c:pt idx="853">
                  <c:v>46377</c:v>
                </c:pt>
                <c:pt idx="854">
                  <c:v>46378</c:v>
                </c:pt>
                <c:pt idx="855">
                  <c:v>46379</c:v>
                </c:pt>
                <c:pt idx="856">
                  <c:v>46380</c:v>
                </c:pt>
                <c:pt idx="857">
                  <c:v>46381</c:v>
                </c:pt>
                <c:pt idx="858">
                  <c:v>46384</c:v>
                </c:pt>
                <c:pt idx="859">
                  <c:v>46385</c:v>
                </c:pt>
                <c:pt idx="860">
                  <c:v>46386</c:v>
                </c:pt>
                <c:pt idx="861">
                  <c:v>46387</c:v>
                </c:pt>
                <c:pt idx="862">
                  <c:v>46388</c:v>
                </c:pt>
                <c:pt idx="863">
                  <c:v>46391</c:v>
                </c:pt>
                <c:pt idx="864">
                  <c:v>46392</c:v>
                </c:pt>
                <c:pt idx="865">
                  <c:v>46393</c:v>
                </c:pt>
                <c:pt idx="866">
                  <c:v>46394</c:v>
                </c:pt>
                <c:pt idx="867">
                  <c:v>46395</c:v>
                </c:pt>
                <c:pt idx="868">
                  <c:v>46398</c:v>
                </c:pt>
                <c:pt idx="869">
                  <c:v>46399</c:v>
                </c:pt>
                <c:pt idx="870">
                  <c:v>46400</c:v>
                </c:pt>
                <c:pt idx="871">
                  <c:v>46401</c:v>
                </c:pt>
                <c:pt idx="872">
                  <c:v>46402</c:v>
                </c:pt>
                <c:pt idx="873">
                  <c:v>46405</c:v>
                </c:pt>
                <c:pt idx="874">
                  <c:v>46406</c:v>
                </c:pt>
                <c:pt idx="875">
                  <c:v>46407</c:v>
                </c:pt>
                <c:pt idx="876">
                  <c:v>46408</c:v>
                </c:pt>
                <c:pt idx="877">
                  <c:v>46409</c:v>
                </c:pt>
                <c:pt idx="878">
                  <c:v>46412</c:v>
                </c:pt>
                <c:pt idx="879">
                  <c:v>46413</c:v>
                </c:pt>
                <c:pt idx="880">
                  <c:v>46414</c:v>
                </c:pt>
                <c:pt idx="881">
                  <c:v>46415</c:v>
                </c:pt>
                <c:pt idx="882">
                  <c:v>46416</c:v>
                </c:pt>
                <c:pt idx="883">
                  <c:v>46419</c:v>
                </c:pt>
                <c:pt idx="884">
                  <c:v>46420</c:v>
                </c:pt>
                <c:pt idx="885">
                  <c:v>46421</c:v>
                </c:pt>
                <c:pt idx="886">
                  <c:v>46422</c:v>
                </c:pt>
                <c:pt idx="887">
                  <c:v>46423</c:v>
                </c:pt>
                <c:pt idx="888">
                  <c:v>46426</c:v>
                </c:pt>
                <c:pt idx="889">
                  <c:v>46427</c:v>
                </c:pt>
                <c:pt idx="890">
                  <c:v>46428</c:v>
                </c:pt>
                <c:pt idx="891">
                  <c:v>46429</c:v>
                </c:pt>
                <c:pt idx="892">
                  <c:v>46430</c:v>
                </c:pt>
                <c:pt idx="893">
                  <c:v>46433</c:v>
                </c:pt>
                <c:pt idx="894">
                  <c:v>46434</c:v>
                </c:pt>
                <c:pt idx="895">
                  <c:v>46435</c:v>
                </c:pt>
                <c:pt idx="896">
                  <c:v>46436</c:v>
                </c:pt>
                <c:pt idx="897">
                  <c:v>46437</c:v>
                </c:pt>
                <c:pt idx="898">
                  <c:v>46440</c:v>
                </c:pt>
                <c:pt idx="899">
                  <c:v>46441</c:v>
                </c:pt>
                <c:pt idx="900">
                  <c:v>46442</c:v>
                </c:pt>
                <c:pt idx="901">
                  <c:v>46443</c:v>
                </c:pt>
                <c:pt idx="902">
                  <c:v>46444</c:v>
                </c:pt>
                <c:pt idx="903">
                  <c:v>46447</c:v>
                </c:pt>
                <c:pt idx="904">
                  <c:v>46448</c:v>
                </c:pt>
                <c:pt idx="905">
                  <c:v>46449</c:v>
                </c:pt>
                <c:pt idx="906">
                  <c:v>46450</c:v>
                </c:pt>
                <c:pt idx="907">
                  <c:v>46451</c:v>
                </c:pt>
                <c:pt idx="908">
                  <c:v>46454</c:v>
                </c:pt>
                <c:pt idx="909">
                  <c:v>46455</c:v>
                </c:pt>
                <c:pt idx="910">
                  <c:v>46456</c:v>
                </c:pt>
                <c:pt idx="911">
                  <c:v>46457</c:v>
                </c:pt>
                <c:pt idx="912">
                  <c:v>46458</c:v>
                </c:pt>
                <c:pt idx="913">
                  <c:v>46461</c:v>
                </c:pt>
                <c:pt idx="914">
                  <c:v>46462</c:v>
                </c:pt>
                <c:pt idx="915">
                  <c:v>46463</c:v>
                </c:pt>
                <c:pt idx="916">
                  <c:v>46464</c:v>
                </c:pt>
                <c:pt idx="917">
                  <c:v>46465</c:v>
                </c:pt>
                <c:pt idx="918">
                  <c:v>46468</c:v>
                </c:pt>
                <c:pt idx="919">
                  <c:v>46469</c:v>
                </c:pt>
                <c:pt idx="920">
                  <c:v>46470</c:v>
                </c:pt>
                <c:pt idx="921">
                  <c:v>46471</c:v>
                </c:pt>
                <c:pt idx="922">
                  <c:v>46472</c:v>
                </c:pt>
                <c:pt idx="923">
                  <c:v>46475</c:v>
                </c:pt>
                <c:pt idx="924">
                  <c:v>46476</c:v>
                </c:pt>
                <c:pt idx="925">
                  <c:v>46477</c:v>
                </c:pt>
                <c:pt idx="926">
                  <c:v>46478</c:v>
                </c:pt>
                <c:pt idx="927">
                  <c:v>46479</c:v>
                </c:pt>
                <c:pt idx="928">
                  <c:v>46482</c:v>
                </c:pt>
                <c:pt idx="929">
                  <c:v>46483</c:v>
                </c:pt>
                <c:pt idx="930">
                  <c:v>46484</c:v>
                </c:pt>
                <c:pt idx="931">
                  <c:v>46485</c:v>
                </c:pt>
                <c:pt idx="932">
                  <c:v>46486</c:v>
                </c:pt>
                <c:pt idx="933">
                  <c:v>46489</c:v>
                </c:pt>
                <c:pt idx="934">
                  <c:v>46490</c:v>
                </c:pt>
                <c:pt idx="935">
                  <c:v>46491</c:v>
                </c:pt>
                <c:pt idx="936">
                  <c:v>46492</c:v>
                </c:pt>
                <c:pt idx="937">
                  <c:v>46493</c:v>
                </c:pt>
                <c:pt idx="938">
                  <c:v>46496</c:v>
                </c:pt>
                <c:pt idx="939">
                  <c:v>46497</c:v>
                </c:pt>
                <c:pt idx="940">
                  <c:v>46498</c:v>
                </c:pt>
                <c:pt idx="941">
                  <c:v>46499</c:v>
                </c:pt>
                <c:pt idx="942">
                  <c:v>46500</c:v>
                </c:pt>
                <c:pt idx="943">
                  <c:v>46503</c:v>
                </c:pt>
                <c:pt idx="944">
                  <c:v>46504</c:v>
                </c:pt>
                <c:pt idx="945">
                  <c:v>46505</c:v>
                </c:pt>
                <c:pt idx="946">
                  <c:v>46506</c:v>
                </c:pt>
                <c:pt idx="947">
                  <c:v>46507</c:v>
                </c:pt>
                <c:pt idx="948">
                  <c:v>46510</c:v>
                </c:pt>
                <c:pt idx="949">
                  <c:v>46511</c:v>
                </c:pt>
                <c:pt idx="950">
                  <c:v>46512</c:v>
                </c:pt>
                <c:pt idx="951">
                  <c:v>46513</c:v>
                </c:pt>
                <c:pt idx="952">
                  <c:v>46514</c:v>
                </c:pt>
                <c:pt idx="953">
                  <c:v>46517</c:v>
                </c:pt>
                <c:pt idx="954">
                  <c:v>46518</c:v>
                </c:pt>
                <c:pt idx="955">
                  <c:v>46519</c:v>
                </c:pt>
                <c:pt idx="956">
                  <c:v>46520</c:v>
                </c:pt>
                <c:pt idx="957">
                  <c:v>46521</c:v>
                </c:pt>
                <c:pt idx="958">
                  <c:v>46524</c:v>
                </c:pt>
                <c:pt idx="959">
                  <c:v>46525</c:v>
                </c:pt>
                <c:pt idx="960">
                  <c:v>46526</c:v>
                </c:pt>
                <c:pt idx="961">
                  <c:v>46527</c:v>
                </c:pt>
                <c:pt idx="962">
                  <c:v>46528</c:v>
                </c:pt>
                <c:pt idx="963">
                  <c:v>46531</c:v>
                </c:pt>
                <c:pt idx="964">
                  <c:v>46532</c:v>
                </c:pt>
                <c:pt idx="965">
                  <c:v>46533</c:v>
                </c:pt>
                <c:pt idx="966">
                  <c:v>46534</c:v>
                </c:pt>
                <c:pt idx="967">
                  <c:v>46535</c:v>
                </c:pt>
                <c:pt idx="968">
                  <c:v>46538</c:v>
                </c:pt>
                <c:pt idx="969">
                  <c:v>46539</c:v>
                </c:pt>
                <c:pt idx="970">
                  <c:v>46540</c:v>
                </c:pt>
                <c:pt idx="971">
                  <c:v>46541</c:v>
                </c:pt>
                <c:pt idx="972">
                  <c:v>46542</c:v>
                </c:pt>
                <c:pt idx="973">
                  <c:v>46545</c:v>
                </c:pt>
                <c:pt idx="974">
                  <c:v>46546</c:v>
                </c:pt>
                <c:pt idx="975">
                  <c:v>46547</c:v>
                </c:pt>
                <c:pt idx="976">
                  <c:v>46548</c:v>
                </c:pt>
                <c:pt idx="977">
                  <c:v>46549</c:v>
                </c:pt>
                <c:pt idx="978">
                  <c:v>46552</c:v>
                </c:pt>
                <c:pt idx="979">
                  <c:v>46553</c:v>
                </c:pt>
                <c:pt idx="980">
                  <c:v>46554</c:v>
                </c:pt>
                <c:pt idx="981">
                  <c:v>46555</c:v>
                </c:pt>
                <c:pt idx="982">
                  <c:v>46556</c:v>
                </c:pt>
                <c:pt idx="983">
                  <c:v>46559</c:v>
                </c:pt>
                <c:pt idx="984">
                  <c:v>46560</c:v>
                </c:pt>
                <c:pt idx="985">
                  <c:v>46561</c:v>
                </c:pt>
                <c:pt idx="986">
                  <c:v>46562</c:v>
                </c:pt>
                <c:pt idx="987">
                  <c:v>46563</c:v>
                </c:pt>
                <c:pt idx="988">
                  <c:v>46566</c:v>
                </c:pt>
                <c:pt idx="989">
                  <c:v>46567</c:v>
                </c:pt>
                <c:pt idx="990">
                  <c:v>46568</c:v>
                </c:pt>
                <c:pt idx="991">
                  <c:v>46569</c:v>
                </c:pt>
                <c:pt idx="992">
                  <c:v>46570</c:v>
                </c:pt>
                <c:pt idx="993">
                  <c:v>46573</c:v>
                </c:pt>
                <c:pt idx="994">
                  <c:v>46574</c:v>
                </c:pt>
                <c:pt idx="995">
                  <c:v>46575</c:v>
                </c:pt>
                <c:pt idx="996">
                  <c:v>46576</c:v>
                </c:pt>
                <c:pt idx="997">
                  <c:v>46577</c:v>
                </c:pt>
                <c:pt idx="998">
                  <c:v>46580</c:v>
                </c:pt>
              </c:numCache>
            </c:numRef>
          </c:cat>
          <c:val>
            <c:numRef>
              <c:f>Daily!$B$2:$B$1000</c:f>
              <c:numCache>
                <c:formatCode>#,##0</c:formatCode>
                <c:ptCount val="999"/>
                <c:pt idx="0">
                  <c:v>220700</c:v>
                </c:pt>
                <c:pt idx="1">
                  <c:v>211150</c:v>
                </c:pt>
                <c:pt idx="2">
                  <c:v>222050</c:v>
                </c:pt>
                <c:pt idx="3">
                  <c:v>230900</c:v>
                </c:pt>
                <c:pt idx="4">
                  <c:v>228050</c:v>
                </c:pt>
                <c:pt idx="5">
                  <c:v>227450</c:v>
                </c:pt>
                <c:pt idx="6">
                  <c:v>230600</c:v>
                </c:pt>
                <c:pt idx="7">
                  <c:v>228450</c:v>
                </c:pt>
                <c:pt idx="8">
                  <c:v>229000</c:v>
                </c:pt>
                <c:pt idx="9">
                  <c:v>228250</c:v>
                </c:pt>
                <c:pt idx="10">
                  <c:v>229700</c:v>
                </c:pt>
                <c:pt idx="11">
                  <c:v>223450</c:v>
                </c:pt>
                <c:pt idx="12">
                  <c:v>218300</c:v>
                </c:pt>
                <c:pt idx="13">
                  <c:v>216800</c:v>
                </c:pt>
                <c:pt idx="14">
                  <c:v>214400</c:v>
                </c:pt>
                <c:pt idx="15">
                  <c:v>208300</c:v>
                </c:pt>
                <c:pt idx="16">
                  <c:v>201550</c:v>
                </c:pt>
                <c:pt idx="17">
                  <c:v>195350</c:v>
                </c:pt>
                <c:pt idx="18">
                  <c:v>197350</c:v>
                </c:pt>
                <c:pt idx="19">
                  <c:v>194500</c:v>
                </c:pt>
                <c:pt idx="20">
                  <c:v>196300</c:v>
                </c:pt>
                <c:pt idx="21">
                  <c:v>199900</c:v>
                </c:pt>
                <c:pt idx="22">
                  <c:v>200250</c:v>
                </c:pt>
                <c:pt idx="23">
                  <c:v>198450</c:v>
                </c:pt>
                <c:pt idx="24">
                  <c:v>199950</c:v>
                </c:pt>
                <c:pt idx="25">
                  <c:v>197250</c:v>
                </c:pt>
                <c:pt idx="26">
                  <c:v>189700</c:v>
                </c:pt>
                <c:pt idx="27">
                  <c:v>185200</c:v>
                </c:pt>
                <c:pt idx="28">
                  <c:v>186350</c:v>
                </c:pt>
                <c:pt idx="29">
                  <c:v>184450</c:v>
                </c:pt>
                <c:pt idx="30">
                  <c:v>187950</c:v>
                </c:pt>
                <c:pt idx="31">
                  <c:v>189800</c:v>
                </c:pt>
                <c:pt idx="32">
                  <c:v>191000</c:v>
                </c:pt>
                <c:pt idx="33">
                  <c:v>191100</c:v>
                </c:pt>
                <c:pt idx="34">
                  <c:v>185700</c:v>
                </c:pt>
                <c:pt idx="35">
                  <c:v>179150</c:v>
                </c:pt>
                <c:pt idx="36">
                  <c:v>176800</c:v>
                </c:pt>
                <c:pt idx="37">
                  <c:v>179550</c:v>
                </c:pt>
                <c:pt idx="38">
                  <c:v>176850</c:v>
                </c:pt>
                <c:pt idx="39">
                  <c:v>172000</c:v>
                </c:pt>
                <c:pt idx="40">
                  <c:v>169100</c:v>
                </c:pt>
                <c:pt idx="41">
                  <c:v>168950</c:v>
                </c:pt>
                <c:pt idx="42">
                  <c:v>163100</c:v>
                </c:pt>
                <c:pt idx="43">
                  <c:v>156000</c:v>
                </c:pt>
                <c:pt idx="44">
                  <c:v>157050</c:v>
                </c:pt>
                <c:pt idx="45">
                  <c:v>158250</c:v>
                </c:pt>
                <c:pt idx="46">
                  <c:v>158400</c:v>
                </c:pt>
                <c:pt idx="47">
                  <c:v>153000</c:v>
                </c:pt>
                <c:pt idx="48">
                  <c:v>148350</c:v>
                </c:pt>
                <c:pt idx="49">
                  <c:v>149700</c:v>
                </c:pt>
                <c:pt idx="50">
                  <c:v>150550</c:v>
                </c:pt>
                <c:pt idx="51">
                  <c:v>153000</c:v>
                </c:pt>
                <c:pt idx="52">
                  <c:v>154200</c:v>
                </c:pt>
                <c:pt idx="53">
                  <c:v>161100</c:v>
                </c:pt>
                <c:pt idx="54">
                  <c:v>168600</c:v>
                </c:pt>
                <c:pt idx="55">
                  <c:v>169350</c:v>
                </c:pt>
                <c:pt idx="56">
                  <c:v>168500</c:v>
                </c:pt>
                <c:pt idx="57">
                  <c:v>168100</c:v>
                </c:pt>
                <c:pt idx="58">
                  <c:v>163100</c:v>
                </c:pt>
                <c:pt idx="59">
                  <c:v>156350</c:v>
                </c:pt>
                <c:pt idx="60">
                  <c:v>150350</c:v>
                </c:pt>
                <c:pt idx="61">
                  <c:v>153050</c:v>
                </c:pt>
                <c:pt idx="62">
                  <c:v>153700</c:v>
                </c:pt>
                <c:pt idx="63">
                  <c:v>150250</c:v>
                </c:pt>
                <c:pt idx="64">
                  <c:v>152100</c:v>
                </c:pt>
                <c:pt idx="65">
                  <c:v>154450</c:v>
                </c:pt>
                <c:pt idx="66">
                  <c:v>154850</c:v>
                </c:pt>
                <c:pt idx="67">
                  <c:v>154600</c:v>
                </c:pt>
                <c:pt idx="68">
                  <c:v>153800</c:v>
                </c:pt>
                <c:pt idx="69">
                  <c:v>152700</c:v>
                </c:pt>
                <c:pt idx="70">
                  <c:v>149000</c:v>
                </c:pt>
                <c:pt idx="71">
                  <c:v>143800</c:v>
                </c:pt>
                <c:pt idx="72">
                  <c:v>143100</c:v>
                </c:pt>
                <c:pt idx="73">
                  <c:v>144600</c:v>
                </c:pt>
                <c:pt idx="74">
                  <c:v>147500</c:v>
                </c:pt>
                <c:pt idx="75">
                  <c:v>147200</c:v>
                </c:pt>
                <c:pt idx="76">
                  <c:v>142800</c:v>
                </c:pt>
                <c:pt idx="77">
                  <c:v>142800</c:v>
                </c:pt>
                <c:pt idx="78">
                  <c:v>141450</c:v>
                </c:pt>
                <c:pt idx="79">
                  <c:v>138800</c:v>
                </c:pt>
                <c:pt idx="80">
                  <c:v>138600</c:v>
                </c:pt>
                <c:pt idx="81">
                  <c:v>134050</c:v>
                </c:pt>
                <c:pt idx="82">
                  <c:v>127600</c:v>
                </c:pt>
                <c:pt idx="83">
                  <c:v>122900</c:v>
                </c:pt>
                <c:pt idx="84">
                  <c:v>125400</c:v>
                </c:pt>
                <c:pt idx="85">
                  <c:v>119050</c:v>
                </c:pt>
                <c:pt idx="86">
                  <c:v>114250</c:v>
                </c:pt>
                <c:pt idx="87">
                  <c:v>112750</c:v>
                </c:pt>
                <c:pt idx="88">
                  <c:v>109100</c:v>
                </c:pt>
                <c:pt idx="89">
                  <c:v>103550</c:v>
                </c:pt>
                <c:pt idx="90">
                  <c:v>100050</c:v>
                </c:pt>
                <c:pt idx="91">
                  <c:v>94600</c:v>
                </c:pt>
                <c:pt idx="92">
                  <c:v>89350</c:v>
                </c:pt>
                <c:pt idx="93">
                  <c:v>93750</c:v>
                </c:pt>
                <c:pt idx="94">
                  <c:v>103100</c:v>
                </c:pt>
                <c:pt idx="95">
                  <c:v>107750</c:v>
                </c:pt>
                <c:pt idx="96">
                  <c:v>97850</c:v>
                </c:pt>
                <c:pt idx="97">
                  <c:v>96050</c:v>
                </c:pt>
                <c:pt idx="98">
                  <c:v>99900</c:v>
                </c:pt>
                <c:pt idx="99">
                  <c:v>102750</c:v>
                </c:pt>
                <c:pt idx="100">
                  <c:v>102100</c:v>
                </c:pt>
                <c:pt idx="101">
                  <c:v>99950</c:v>
                </c:pt>
                <c:pt idx="102">
                  <c:v>99250</c:v>
                </c:pt>
                <c:pt idx="103">
                  <c:v>95050</c:v>
                </c:pt>
                <c:pt idx="104">
                  <c:v>95900</c:v>
                </c:pt>
                <c:pt idx="105">
                  <c:v>97700</c:v>
                </c:pt>
                <c:pt idx="106">
                  <c:v>101400</c:v>
                </c:pt>
                <c:pt idx="107">
                  <c:v>101800</c:v>
                </c:pt>
                <c:pt idx="108">
                  <c:v>101350</c:v>
                </c:pt>
                <c:pt idx="109">
                  <c:v>100250</c:v>
                </c:pt>
                <c:pt idx="110">
                  <c:v>101400</c:v>
                </c:pt>
                <c:pt idx="111">
                  <c:v>101900</c:v>
                </c:pt>
                <c:pt idx="112">
                  <c:v>99650</c:v>
                </c:pt>
                <c:pt idx="113">
                  <c:v>97150</c:v>
                </c:pt>
                <c:pt idx="114">
                  <c:v>92850</c:v>
                </c:pt>
                <c:pt idx="115">
                  <c:v>91250</c:v>
                </c:pt>
                <c:pt idx="116">
                  <c:v>92900</c:v>
                </c:pt>
                <c:pt idx="117">
                  <c:v>94250</c:v>
                </c:pt>
                <c:pt idx="118">
                  <c:v>97500</c:v>
                </c:pt>
                <c:pt idx="119">
                  <c:v>97750</c:v>
                </c:pt>
                <c:pt idx="120">
                  <c:v>98050</c:v>
                </c:pt>
                <c:pt idx="121">
                  <c:v>98900</c:v>
                </c:pt>
                <c:pt idx="122">
                  <c:v>96600</c:v>
                </c:pt>
                <c:pt idx="123">
                  <c:v>97050</c:v>
                </c:pt>
                <c:pt idx="124">
                  <c:v>95450</c:v>
                </c:pt>
                <c:pt idx="125">
                  <c:v>96500</c:v>
                </c:pt>
                <c:pt idx="126">
                  <c:v>97750</c:v>
                </c:pt>
                <c:pt idx="127">
                  <c:v>97350</c:v>
                </c:pt>
                <c:pt idx="128">
                  <c:v>97450</c:v>
                </c:pt>
                <c:pt idx="129">
                  <c:v>97100</c:v>
                </c:pt>
                <c:pt idx="130">
                  <c:v>96100</c:v>
                </c:pt>
                <c:pt idx="131">
                  <c:v>96350</c:v>
                </c:pt>
                <c:pt idx="132">
                  <c:v>95800</c:v>
                </c:pt>
                <c:pt idx="133">
                  <c:v>95950</c:v>
                </c:pt>
                <c:pt idx="134">
                  <c:v>95950</c:v>
                </c:pt>
                <c:pt idx="135">
                  <c:v>95700</c:v>
                </c:pt>
                <c:pt idx="136">
                  <c:v>93800</c:v>
                </c:pt>
                <c:pt idx="137">
                  <c:v>93200</c:v>
                </c:pt>
                <c:pt idx="138">
                  <c:v>91400</c:v>
                </c:pt>
                <c:pt idx="139">
                  <c:v>90450</c:v>
                </c:pt>
                <c:pt idx="140">
                  <c:v>99000</c:v>
                </c:pt>
                <c:pt idx="141">
                  <c:v>94650</c:v>
                </c:pt>
                <c:pt idx="142">
                  <c:v>96150</c:v>
                </c:pt>
                <c:pt idx="143">
                  <c:v>99250</c:v>
                </c:pt>
                <c:pt idx="144">
                  <c:v>100000</c:v>
                </c:pt>
                <c:pt idx="145">
                  <c:v>104900</c:v>
                </c:pt>
                <c:pt idx="146">
                  <c:v>109900</c:v>
                </c:pt>
                <c:pt idx="147">
                  <c:v>114150</c:v>
                </c:pt>
                <c:pt idx="148">
                  <c:v>117700</c:v>
                </c:pt>
                <c:pt idx="149">
                  <c:v>111550</c:v>
                </c:pt>
                <c:pt idx="150">
                  <c:v>110300</c:v>
                </c:pt>
                <c:pt idx="151">
                  <c:v>110300</c:v>
                </c:pt>
                <c:pt idx="152">
                  <c:v>108950</c:v>
                </c:pt>
                <c:pt idx="153">
                  <c:v>111100</c:v>
                </c:pt>
                <c:pt idx="154">
                  <c:v>114400</c:v>
                </c:pt>
                <c:pt idx="155">
                  <c:v>116450</c:v>
                </c:pt>
                <c:pt idx="156">
                  <c:v>114800</c:v>
                </c:pt>
                <c:pt idx="157">
                  <c:v>112700</c:v>
                </c:pt>
                <c:pt idx="158">
                  <c:v>116450</c:v>
                </c:pt>
                <c:pt idx="159">
                  <c:v>115100</c:v>
                </c:pt>
                <c:pt idx="160">
                  <c:v>114650</c:v>
                </c:pt>
                <c:pt idx="161">
                  <c:v>116450</c:v>
                </c:pt>
                <c:pt idx="162">
                  <c:v>114200</c:v>
                </c:pt>
                <c:pt idx="163">
                  <c:v>110900</c:v>
                </c:pt>
                <c:pt idx="164">
                  <c:v>106800</c:v>
                </c:pt>
                <c:pt idx="165">
                  <c:v>106550</c:v>
                </c:pt>
                <c:pt idx="166">
                  <c:v>107100</c:v>
                </c:pt>
                <c:pt idx="167">
                  <c:v>106800</c:v>
                </c:pt>
                <c:pt idx="168">
                  <c:v>107500</c:v>
                </c:pt>
                <c:pt idx="169">
                  <c:v>110400</c:v>
                </c:pt>
                <c:pt idx="170">
                  <c:v>111900</c:v>
                </c:pt>
                <c:pt idx="171">
                  <c:v>112300</c:v>
                </c:pt>
                <c:pt idx="172">
                  <c:v>112400</c:v>
                </c:pt>
                <c:pt idx="173">
                  <c:v>113550</c:v>
                </c:pt>
                <c:pt idx="174">
                  <c:v>112100</c:v>
                </c:pt>
                <c:pt idx="175">
                  <c:v>111900</c:v>
                </c:pt>
                <c:pt idx="176">
                  <c:v>111850</c:v>
                </c:pt>
                <c:pt idx="177">
                  <c:v>111500</c:v>
                </c:pt>
                <c:pt idx="178">
                  <c:v>108300</c:v>
                </c:pt>
                <c:pt idx="179">
                  <c:v>109150</c:v>
                </c:pt>
                <c:pt idx="180">
                  <c:v>107250</c:v>
                </c:pt>
                <c:pt idx="181">
                  <c:v>108200</c:v>
                </c:pt>
                <c:pt idx="182">
                  <c:v>108250</c:v>
                </c:pt>
                <c:pt idx="183">
                  <c:v>109550</c:v>
                </c:pt>
                <c:pt idx="184">
                  <c:v>109600</c:v>
                </c:pt>
                <c:pt idx="185">
                  <c:v>109150</c:v>
                </c:pt>
                <c:pt idx="186">
                  <c:v>112500</c:v>
                </c:pt>
                <c:pt idx="187">
                  <c:v>112700</c:v>
                </c:pt>
                <c:pt idx="188">
                  <c:v>111300</c:v>
                </c:pt>
                <c:pt idx="189">
                  <c:v>111600</c:v>
                </c:pt>
                <c:pt idx="190">
                  <c:v>111600</c:v>
                </c:pt>
                <c:pt idx="191">
                  <c:v>111800</c:v>
                </c:pt>
                <c:pt idx="192">
                  <c:v>109300</c:v>
                </c:pt>
                <c:pt idx="193">
                  <c:v>106250</c:v>
                </c:pt>
                <c:pt idx="194">
                  <c:v>105850</c:v>
                </c:pt>
                <c:pt idx="195">
                  <c:v>101950</c:v>
                </c:pt>
                <c:pt idx="196">
                  <c:v>103400</c:v>
                </c:pt>
                <c:pt idx="197">
                  <c:v>108000</c:v>
                </c:pt>
                <c:pt idx="198">
                  <c:v>106200</c:v>
                </c:pt>
                <c:pt idx="199">
                  <c:v>106650</c:v>
                </c:pt>
                <c:pt idx="200">
                  <c:v>106450</c:v>
                </c:pt>
                <c:pt idx="201">
                  <c:v>105000</c:v>
                </c:pt>
                <c:pt idx="202">
                  <c:v>106200</c:v>
                </c:pt>
                <c:pt idx="203">
                  <c:v>106300</c:v>
                </c:pt>
                <c:pt idx="204">
                  <c:v>105950</c:v>
                </c:pt>
                <c:pt idx="205">
                  <c:v>104150</c:v>
                </c:pt>
                <c:pt idx="206">
                  <c:v>105350</c:v>
                </c:pt>
                <c:pt idx="207">
                  <c:v>104700</c:v>
                </c:pt>
                <c:pt idx="208">
                  <c:v>101750</c:v>
                </c:pt>
                <c:pt idx="209">
                  <c:v>101600</c:v>
                </c:pt>
                <c:pt idx="210">
                  <c:v>100050</c:v>
                </c:pt>
                <c:pt idx="211">
                  <c:v>100250</c:v>
                </c:pt>
                <c:pt idx="212">
                  <c:v>100250</c:v>
                </c:pt>
                <c:pt idx="213">
                  <c:v>100250</c:v>
                </c:pt>
                <c:pt idx="214">
                  <c:v>96950</c:v>
                </c:pt>
                <c:pt idx="215">
                  <c:v>97450</c:v>
                </c:pt>
                <c:pt idx="216">
                  <c:v>97250</c:v>
                </c:pt>
                <c:pt idx="217">
                  <c:v>100050</c:v>
                </c:pt>
                <c:pt idx="218">
                  <c:v>94500</c:v>
                </c:pt>
                <c:pt idx="219">
                  <c:v>93500</c:v>
                </c:pt>
                <c:pt idx="220">
                  <c:v>94150</c:v>
                </c:pt>
                <c:pt idx="221">
                  <c:v>93650</c:v>
                </c:pt>
                <c:pt idx="222">
                  <c:v>89750</c:v>
                </c:pt>
                <c:pt idx="223">
                  <c:v>88050</c:v>
                </c:pt>
                <c:pt idx="224">
                  <c:v>91450</c:v>
                </c:pt>
                <c:pt idx="225">
                  <c:v>90700</c:v>
                </c:pt>
                <c:pt idx="226">
                  <c:v>88450</c:v>
                </c:pt>
                <c:pt idx="227">
                  <c:v>87000</c:v>
                </c:pt>
                <c:pt idx="228">
                  <c:v>88850</c:v>
                </c:pt>
                <c:pt idx="229">
                  <c:v>88900</c:v>
                </c:pt>
                <c:pt idx="230">
                  <c:v>89500</c:v>
                </c:pt>
                <c:pt idx="231">
                  <c:v>88750</c:v>
                </c:pt>
                <c:pt idx="232">
                  <c:v>89000</c:v>
                </c:pt>
                <c:pt idx="233">
                  <c:v>88250</c:v>
                </c:pt>
                <c:pt idx="234">
                  <c:v>87750</c:v>
                </c:pt>
                <c:pt idx="235">
                  <c:v>85500</c:v>
                </c:pt>
                <c:pt idx="236">
                  <c:v>87800</c:v>
                </c:pt>
                <c:pt idx="237">
                  <c:v>87750</c:v>
                </c:pt>
                <c:pt idx="238">
                  <c:v>86300</c:v>
                </c:pt>
                <c:pt idx="239">
                  <c:v>86300</c:v>
                </c:pt>
                <c:pt idx="240">
                  <c:v>85450</c:v>
                </c:pt>
                <c:pt idx="241">
                  <c:v>86850</c:v>
                </c:pt>
                <c:pt idx="242">
                  <c:v>87000</c:v>
                </c:pt>
                <c:pt idx="243">
                  <c:v>87050</c:v>
                </c:pt>
                <c:pt idx="244">
                  <c:v>85550</c:v>
                </c:pt>
                <c:pt idx="245">
                  <c:v>84700</c:v>
                </c:pt>
                <c:pt idx="246">
                  <c:v>85600</c:v>
                </c:pt>
                <c:pt idx="247">
                  <c:v>83500</c:v>
                </c:pt>
                <c:pt idx="248">
                  <c:v>80500</c:v>
                </c:pt>
                <c:pt idx="249">
                  <c:v>80800</c:v>
                </c:pt>
                <c:pt idx="250">
                  <c:v>80950</c:v>
                </c:pt>
                <c:pt idx="251">
                  <c:v>81050</c:v>
                </c:pt>
                <c:pt idx="252">
                  <c:v>79900</c:v>
                </c:pt>
                <c:pt idx="253">
                  <c:v>80000</c:v>
                </c:pt>
                <c:pt idx="254">
                  <c:v>79650</c:v>
                </c:pt>
                <c:pt idx="255">
                  <c:v>79300</c:v>
                </c:pt>
                <c:pt idx="256">
                  <c:v>78200</c:v>
                </c:pt>
                <c:pt idx="257">
                  <c:v>76300</c:v>
                </c:pt>
                <c:pt idx="258">
                  <c:v>75500</c:v>
                </c:pt>
                <c:pt idx="259">
                  <c:v>79600</c:v>
                </c:pt>
                <c:pt idx="260">
                  <c:v>71950</c:v>
                </c:pt>
                <c:pt idx="261">
                  <c:v>72450</c:v>
                </c:pt>
                <c:pt idx="262">
                  <c:v>72100</c:v>
                </c:pt>
                <c:pt idx="263">
                  <c:v>73100</c:v>
                </c:pt>
                <c:pt idx="264">
                  <c:v>75650</c:v>
                </c:pt>
                <c:pt idx="265">
                  <c:v>75650</c:v>
                </c:pt>
                <c:pt idx="266">
                  <c:v>73450</c:v>
                </c:pt>
                <c:pt idx="267">
                  <c:v>73400</c:v>
                </c:pt>
                <c:pt idx="268">
                  <c:v>74600</c:v>
                </c:pt>
                <c:pt idx="269">
                  <c:v>74700</c:v>
                </c:pt>
                <c:pt idx="270">
                  <c:v>75450</c:v>
                </c:pt>
                <c:pt idx="271">
                  <c:v>76700</c:v>
                </c:pt>
                <c:pt idx="272">
                  <c:v>76200</c:v>
                </c:pt>
                <c:pt idx="273">
                  <c:v>74000</c:v>
                </c:pt>
                <c:pt idx="274">
                  <c:v>73900</c:v>
                </c:pt>
                <c:pt idx="275">
                  <c:v>71500</c:v>
                </c:pt>
                <c:pt idx="276">
                  <c:v>70150</c:v>
                </c:pt>
                <c:pt idx="277">
                  <c:v>70450</c:v>
                </c:pt>
                <c:pt idx="278">
                  <c:v>71750</c:v>
                </c:pt>
                <c:pt idx="279">
                  <c:v>73000</c:v>
                </c:pt>
                <c:pt idx="280">
                  <c:v>76600</c:v>
                </c:pt>
                <c:pt idx="281">
                  <c:v>73100</c:v>
                </c:pt>
                <c:pt idx="282">
                  <c:v>75350</c:v>
                </c:pt>
                <c:pt idx="283">
                  <c:v>75100</c:v>
                </c:pt>
                <c:pt idx="284">
                  <c:v>75000</c:v>
                </c:pt>
                <c:pt idx="285">
                  <c:v>74950</c:v>
                </c:pt>
                <c:pt idx="286">
                  <c:v>75850</c:v>
                </c:pt>
                <c:pt idx="287">
                  <c:v>77500</c:v>
                </c:pt>
                <c:pt idx="288">
                  <c:v>76100</c:v>
                </c:pt>
                <c:pt idx="289">
                  <c:v>77650</c:v>
                </c:pt>
                <c:pt idx="290">
                  <c:v>78250</c:v>
                </c:pt>
                <c:pt idx="291">
                  <c:v>79700</c:v>
                </c:pt>
                <c:pt idx="292">
                  <c:v>76550</c:v>
                </c:pt>
                <c:pt idx="293">
                  <c:v>76250</c:v>
                </c:pt>
                <c:pt idx="294">
                  <c:v>74800</c:v>
                </c:pt>
                <c:pt idx="295">
                  <c:v>73800</c:v>
                </c:pt>
                <c:pt idx="296">
                  <c:v>73000</c:v>
                </c:pt>
                <c:pt idx="297">
                  <c:v>72350</c:v>
                </c:pt>
                <c:pt idx="298">
                  <c:v>70400</c:v>
                </c:pt>
                <c:pt idx="299">
                  <c:v>70450</c:v>
                </c:pt>
                <c:pt idx="300">
                  <c:v>75000</c:v>
                </c:pt>
                <c:pt idx="301">
                  <c:v>69500</c:v>
                </c:pt>
                <c:pt idx="302">
                  <c:v>70800</c:v>
                </c:pt>
                <c:pt idx="303">
                  <c:v>70650</c:v>
                </c:pt>
                <c:pt idx="304">
                  <c:v>71250</c:v>
                </c:pt>
                <c:pt idx="305">
                  <c:v>72550</c:v>
                </c:pt>
                <c:pt idx="306">
                  <c:v>72300</c:v>
                </c:pt>
                <c:pt idx="307">
                  <c:v>70300</c:v>
                </c:pt>
                <c:pt idx="308">
                  <c:v>71650</c:v>
                </c:pt>
                <c:pt idx="309">
                  <c:v>74150</c:v>
                </c:pt>
                <c:pt idx="310">
                  <c:v>75550</c:v>
                </c:pt>
                <c:pt idx="311">
                  <c:v>76350</c:v>
                </c:pt>
                <c:pt idx="312">
                  <c:v>75100</c:v>
                </c:pt>
                <c:pt idx="313">
                  <c:v>74550</c:v>
                </c:pt>
                <c:pt idx="314">
                  <c:v>76400</c:v>
                </c:pt>
                <c:pt idx="315">
                  <c:v>75300</c:v>
                </c:pt>
                <c:pt idx="316">
                  <c:v>78650</c:v>
                </c:pt>
                <c:pt idx="317">
                  <c:v>82500</c:v>
                </c:pt>
                <c:pt idx="318">
                  <c:v>75550</c:v>
                </c:pt>
                <c:pt idx="319">
                  <c:v>79300</c:v>
                </c:pt>
                <c:pt idx="320">
                  <c:v>79100</c:v>
                </c:pt>
                <c:pt idx="321">
                  <c:v>81400</c:v>
                </c:pt>
                <c:pt idx="322">
                  <c:v>82150</c:v>
                </c:pt>
                <c:pt idx="323">
                  <c:v>82400</c:v>
                </c:pt>
                <c:pt idx="324">
                  <c:v>79550</c:v>
                </c:pt>
                <c:pt idx="325">
                  <c:v>79900</c:v>
                </c:pt>
                <c:pt idx="326">
                  <c:v>78850</c:v>
                </c:pt>
                <c:pt idx="327">
                  <c:v>78250</c:v>
                </c:pt>
                <c:pt idx="328">
                  <c:v>77700</c:v>
                </c:pt>
                <c:pt idx="329">
                  <c:v>78200</c:v>
                </c:pt>
                <c:pt idx="330">
                  <c:v>78250</c:v>
                </c:pt>
                <c:pt idx="331">
                  <c:v>77900</c:v>
                </c:pt>
                <c:pt idx="332">
                  <c:v>77100</c:v>
                </c:pt>
                <c:pt idx="333">
                  <c:v>76100</c:v>
                </c:pt>
                <c:pt idx="334">
                  <c:v>76300</c:v>
                </c:pt>
                <c:pt idx="335">
                  <c:v>76300</c:v>
                </c:pt>
                <c:pt idx="336">
                  <c:v>78050</c:v>
                </c:pt>
                <c:pt idx="337">
                  <c:v>77600</c:v>
                </c:pt>
                <c:pt idx="338">
                  <c:v>76450</c:v>
                </c:pt>
                <c:pt idx="339">
                  <c:v>77450</c:v>
                </c:pt>
                <c:pt idx="340">
                  <c:v>75700</c:v>
                </c:pt>
                <c:pt idx="341">
                  <c:v>75340</c:v>
                </c:pt>
                <c:pt idx="342">
                  <c:v>75040</c:v>
                </c:pt>
                <c:pt idx="343">
                  <c:v>74080</c:v>
                </c:pt>
                <c:pt idx="344">
                  <c:v>74620</c:v>
                </c:pt>
                <c:pt idx="345">
                  <c:v>74760</c:v>
                </c:pt>
                <c:pt idx="346">
                  <c:v>74900</c:v>
                </c:pt>
                <c:pt idx="347">
                  <c:v>74720</c:v>
                </c:pt>
                <c:pt idx="348">
                  <c:v>74680</c:v>
                </c:pt>
                <c:pt idx="349">
                  <c:v>74400</c:v>
                </c:pt>
                <c:pt idx="350">
                  <c:v>74160</c:v>
                </c:pt>
                <c:pt idx="351">
                  <c:v>73600</c:v>
                </c:pt>
                <c:pt idx="352">
                  <c:v>73880</c:v>
                </c:pt>
                <c:pt idx="353">
                  <c:v>73240</c:v>
                </c:pt>
                <c:pt idx="354">
                  <c:v>74960</c:v>
                </c:pt>
                <c:pt idx="355">
                  <c:v>74820</c:v>
                </c:pt>
                <c:pt idx="356">
                  <c:v>74880</c:v>
                </c:pt>
                <c:pt idx="357">
                  <c:v>75020</c:v>
                </c:pt>
                <c:pt idx="358">
                  <c:v>74980</c:v>
                </c:pt>
                <c:pt idx="359">
                  <c:v>75780</c:v>
                </c:pt>
                <c:pt idx="360">
                  <c:v>75940</c:v>
                </c:pt>
                <c:pt idx="361">
                  <c:v>74240</c:v>
                </c:pt>
                <c:pt idx="362">
                  <c:v>77000</c:v>
                </c:pt>
                <c:pt idx="363">
                  <c:v>77580</c:v>
                </c:pt>
                <c:pt idx="364">
                  <c:v>77880</c:v>
                </c:pt>
                <c:pt idx="365">
                  <c:v>76940</c:v>
                </c:pt>
                <c:pt idx="366">
                  <c:v>76580</c:v>
                </c:pt>
                <c:pt idx="367">
                  <c:v>77240</c:v>
                </c:pt>
                <c:pt idx="368">
                  <c:v>77260</c:v>
                </c:pt>
                <c:pt idx="369">
                  <c:v>77340</c:v>
                </c:pt>
                <c:pt idx="370">
                  <c:v>76580</c:v>
                </c:pt>
                <c:pt idx="371">
                  <c:v>75900</c:v>
                </c:pt>
                <c:pt idx="372">
                  <c:v>75900</c:v>
                </c:pt>
                <c:pt idx="373">
                  <c:v>75860</c:v>
                </c:pt>
                <c:pt idx="374">
                  <c:v>75740</c:v>
                </c:pt>
                <c:pt idx="375">
                  <c:v>75740</c:v>
                </c:pt>
                <c:pt idx="376">
                  <c:v>75620</c:v>
                </c:pt>
                <c:pt idx="377">
                  <c:v>75620</c:v>
                </c:pt>
                <c:pt idx="378">
                  <c:v>75240</c:v>
                </c:pt>
                <c:pt idx="379">
                  <c:v>76020</c:v>
                </c:pt>
                <c:pt idx="380">
                  <c:v>75200</c:v>
                </c:pt>
                <c:pt idx="381">
                  <c:v>75160</c:v>
                </c:pt>
                <c:pt idx="382">
                  <c:v>74700</c:v>
                </c:pt>
                <c:pt idx="383">
                  <c:v>74560</c:v>
                </c:pt>
                <c:pt idx="384">
                  <c:v>74860</c:v>
                </c:pt>
                <c:pt idx="385">
                  <c:v>74280</c:v>
                </c:pt>
                <c:pt idx="386">
                  <c:v>74100</c:v>
                </c:pt>
                <c:pt idx="387">
                  <c:v>73840</c:v>
                </c:pt>
                <c:pt idx="388">
                  <c:v>74220</c:v>
                </c:pt>
                <c:pt idx="389">
                  <c:v>74080</c:v>
                </c:pt>
                <c:pt idx="390">
                  <c:v>73640</c:v>
                </c:pt>
                <c:pt idx="391">
                  <c:v>74140</c:v>
                </c:pt>
                <c:pt idx="392">
                  <c:v>74740</c:v>
                </c:pt>
                <c:pt idx="393">
                  <c:v>74220</c:v>
                </c:pt>
                <c:pt idx="394">
                  <c:v>73920</c:v>
                </c:pt>
                <c:pt idx="395">
                  <c:v>74080</c:v>
                </c:pt>
                <c:pt idx="396">
                  <c:v>73840</c:v>
                </c:pt>
                <c:pt idx="397">
                  <c:v>74100</c:v>
                </c:pt>
                <c:pt idx="398">
                  <c:v>75760</c:v>
                </c:pt>
                <c:pt idx="399">
                  <c:v>75520</c:v>
                </c:pt>
                <c:pt idx="400">
                  <c:v>75120</c:v>
                </c:pt>
                <c:pt idx="401">
                  <c:v>73540</c:v>
                </c:pt>
                <c:pt idx="402">
                  <c:v>73040</c:v>
                </c:pt>
                <c:pt idx="403">
                  <c:v>73360</c:v>
                </c:pt>
                <c:pt idx="404">
                  <c:v>73740</c:v>
                </c:pt>
                <c:pt idx="405">
                  <c:v>73860</c:v>
                </c:pt>
                <c:pt idx="406">
                  <c:v>74340</c:v>
                </c:pt>
                <c:pt idx="407">
                  <c:v>74120</c:v>
                </c:pt>
                <c:pt idx="408">
                  <c:v>73880</c:v>
                </c:pt>
                <c:pt idx="409">
                  <c:v>74260</c:v>
                </c:pt>
                <c:pt idx="410">
                  <c:v>73980</c:v>
                </c:pt>
                <c:pt idx="411">
                  <c:v>73140</c:v>
                </c:pt>
                <c:pt idx="412">
                  <c:v>71200</c:v>
                </c:pt>
                <c:pt idx="413">
                  <c:v>70940</c:v>
                </c:pt>
                <c:pt idx="414">
                  <c:v>69220</c:v>
                </c:pt>
                <c:pt idx="415">
                  <c:v>70340</c:v>
                </c:pt>
                <c:pt idx="416">
                  <c:v>70340</c:v>
                </c:pt>
                <c:pt idx="417">
                  <c:v>70880</c:v>
                </c:pt>
                <c:pt idx="418">
                  <c:v>72280</c:v>
                </c:pt>
                <c:pt idx="419">
                  <c:v>70780</c:v>
                </c:pt>
                <c:pt idx="420">
                  <c:v>70520</c:v>
                </c:pt>
                <c:pt idx="421">
                  <c:v>70360</c:v>
                </c:pt>
                <c:pt idx="422">
                  <c:v>69200</c:v>
                </c:pt>
                <c:pt idx="423">
                  <c:v>68400</c:v>
                </c:pt>
                <c:pt idx="424">
                  <c:v>68380</c:v>
                </c:pt>
                <c:pt idx="425">
                  <c:v>68580</c:v>
                </c:pt>
                <c:pt idx="426">
                  <c:v>68520</c:v>
                </c:pt>
                <c:pt idx="427">
                  <c:v>67660</c:v>
                </c:pt>
                <c:pt idx="428">
                  <c:v>66480</c:v>
                </c:pt>
                <c:pt idx="429">
                  <c:v>66060</c:v>
                </c:pt>
                <c:pt idx="430">
                  <c:v>65800</c:v>
                </c:pt>
                <c:pt idx="431">
                  <c:v>64780</c:v>
                </c:pt>
                <c:pt idx="432">
                  <c:v>63720</c:v>
                </c:pt>
                <c:pt idx="433">
                  <c:v>63820</c:v>
                </c:pt>
                <c:pt idx="434">
                  <c:v>63720</c:v>
                </c:pt>
                <c:pt idx="435">
                  <c:v>63200</c:v>
                </c:pt>
                <c:pt idx="436">
                  <c:v>64740</c:v>
                </c:pt>
                <c:pt idx="437">
                  <c:v>64360</c:v>
                </c:pt>
                <c:pt idx="438">
                  <c:v>62580</c:v>
                </c:pt>
                <c:pt idx="439">
                  <c:v>64600</c:v>
                </c:pt>
                <c:pt idx="440">
                  <c:v>60880</c:v>
                </c:pt>
                <c:pt idx="441">
                  <c:v>61200</c:v>
                </c:pt>
                <c:pt idx="442">
                  <c:v>61820</c:v>
                </c:pt>
                <c:pt idx="443">
                  <c:v>61480</c:v>
                </c:pt>
                <c:pt idx="444">
                  <c:v>60640</c:v>
                </c:pt>
                <c:pt idx="445">
                  <c:v>60760</c:v>
                </c:pt>
                <c:pt idx="446">
                  <c:v>60320</c:v>
                </c:pt>
                <c:pt idx="447">
                  <c:v>59020</c:v>
                </c:pt>
                <c:pt idx="448">
                  <c:v>59720</c:v>
                </c:pt>
                <c:pt idx="449">
                  <c:v>59740</c:v>
                </c:pt>
                <c:pt idx="450">
                  <c:v>60260</c:v>
                </c:pt>
                <c:pt idx="451">
                  <c:v>60480</c:v>
                </c:pt>
                <c:pt idx="452">
                  <c:v>60420</c:v>
                </c:pt>
                <c:pt idx="453">
                  <c:v>60540</c:v>
                </c:pt>
                <c:pt idx="454">
                  <c:v>60980</c:v>
                </c:pt>
                <c:pt idx="455">
                  <c:v>61300</c:v>
                </c:pt>
                <c:pt idx="456">
                  <c:v>60420</c:v>
                </c:pt>
                <c:pt idx="457">
                  <c:v>59980</c:v>
                </c:pt>
                <c:pt idx="458">
                  <c:v>60340</c:v>
                </c:pt>
                <c:pt idx="459">
                  <c:v>60260</c:v>
                </c:pt>
                <c:pt idx="460">
                  <c:v>60500</c:v>
                </c:pt>
                <c:pt idx="461">
                  <c:v>60380</c:v>
                </c:pt>
                <c:pt idx="462">
                  <c:v>60200</c:v>
                </c:pt>
                <c:pt idx="463">
                  <c:v>59820</c:v>
                </c:pt>
                <c:pt idx="464">
                  <c:v>60560</c:v>
                </c:pt>
                <c:pt idx="465">
                  <c:v>61180</c:v>
                </c:pt>
                <c:pt idx="466">
                  <c:v>61380</c:v>
                </c:pt>
                <c:pt idx="467">
                  <c:v>62620</c:v>
                </c:pt>
                <c:pt idx="468">
                  <c:v>62880</c:v>
                </c:pt>
                <c:pt idx="469">
                  <c:v>62120</c:v>
                </c:pt>
                <c:pt idx="470">
                  <c:v>63620</c:v>
                </c:pt>
                <c:pt idx="471">
                  <c:v>63920</c:v>
                </c:pt>
                <c:pt idx="472">
                  <c:v>63920</c:v>
                </c:pt>
                <c:pt idx="473">
                  <c:v>63820</c:v>
                </c:pt>
                <c:pt idx="474">
                  <c:v>64320</c:v>
                </c:pt>
                <c:pt idx="475">
                  <c:v>64400</c:v>
                </c:pt>
                <c:pt idx="476">
                  <c:v>64580</c:v>
                </c:pt>
                <c:pt idx="477">
                  <c:v>64020</c:v>
                </c:pt>
                <c:pt idx="478">
                  <c:v>63580</c:v>
                </c:pt>
                <c:pt idx="479">
                  <c:v>66360</c:v>
                </c:pt>
                <c:pt idx="480">
                  <c:v>66660</c:v>
                </c:pt>
                <c:pt idx="481">
                  <c:v>67940</c:v>
                </c:pt>
                <c:pt idx="482">
                  <c:v>69620</c:v>
                </c:pt>
                <c:pt idx="483">
                  <c:v>70900</c:v>
                </c:pt>
                <c:pt idx="484">
                  <c:v>71900</c:v>
                </c:pt>
                <c:pt idx="485">
                  <c:v>72280</c:v>
                </c:pt>
                <c:pt idx="486">
                  <c:v>73520</c:v>
                </c:pt>
                <c:pt idx="487">
                  <c:v>79120</c:v>
                </c:pt>
                <c:pt idx="488">
                  <c:v>74160</c:v>
                </c:pt>
                <c:pt idx="489">
                  <c:v>70040</c:v>
                </c:pt>
                <c:pt idx="490">
                  <c:v>71480</c:v>
                </c:pt>
                <c:pt idx="491">
                  <c:v>67900</c:v>
                </c:pt>
                <c:pt idx="492">
                  <c:v>68480</c:v>
                </c:pt>
                <c:pt idx="493">
                  <c:v>69520</c:v>
                </c:pt>
                <c:pt idx="494">
                  <c:v>68200</c:v>
                </c:pt>
                <c:pt idx="495">
                  <c:v>67800</c:v>
                </c:pt>
                <c:pt idx="496">
                  <c:v>70000</c:v>
                </c:pt>
                <c:pt idx="497">
                  <c:v>74160</c:v>
                </c:pt>
                <c:pt idx="498">
                  <c:v>77680</c:v>
                </c:pt>
                <c:pt idx="499">
                  <c:v>82100</c:v>
                </c:pt>
                <c:pt idx="500">
                  <c:v>86940</c:v>
                </c:pt>
                <c:pt idx="501">
                  <c:v>73480</c:v>
                </c:pt>
                <c:pt idx="502">
                  <c:v>85160</c:v>
                </c:pt>
                <c:pt idx="503">
                  <c:v>89040</c:v>
                </c:pt>
                <c:pt idx="504">
                  <c:v>88080</c:v>
                </c:pt>
                <c:pt idx="505">
                  <c:v>82540</c:v>
                </c:pt>
                <c:pt idx="506">
                  <c:v>82240</c:v>
                </c:pt>
                <c:pt idx="507">
                  <c:v>80160</c:v>
                </c:pt>
                <c:pt idx="508">
                  <c:v>80100</c:v>
                </c:pt>
                <c:pt idx="509">
                  <c:v>79080</c:v>
                </c:pt>
                <c:pt idx="510">
                  <c:v>79880</c:v>
                </c:pt>
                <c:pt idx="511">
                  <c:v>77120</c:v>
                </c:pt>
                <c:pt idx="512">
                  <c:v>77620</c:v>
                </c:pt>
                <c:pt idx="513">
                  <c:v>76320</c:v>
                </c:pt>
                <c:pt idx="514">
                  <c:v>74980</c:v>
                </c:pt>
                <c:pt idx="515">
                  <c:v>73200</c:v>
                </c:pt>
                <c:pt idx="516">
                  <c:v>73300</c:v>
                </c:pt>
                <c:pt idx="517">
                  <c:v>74640</c:v>
                </c:pt>
                <c:pt idx="518">
                  <c:v>74200</c:v>
                </c:pt>
                <c:pt idx="519">
                  <c:v>74260</c:v>
                </c:pt>
                <c:pt idx="520">
                  <c:v>69760</c:v>
                </c:pt>
                <c:pt idx="521">
                  <c:v>70800</c:v>
                </c:pt>
                <c:pt idx="522">
                  <c:v>74700</c:v>
                </c:pt>
                <c:pt idx="523">
                  <c:v>72160</c:v>
                </c:pt>
                <c:pt idx="524">
                  <c:v>73500</c:v>
                </c:pt>
                <c:pt idx="525">
                  <c:v>73280</c:v>
                </c:pt>
                <c:pt idx="526">
                  <c:v>72620</c:v>
                </c:pt>
                <c:pt idx="527">
                  <c:v>73320</c:v>
                </c:pt>
                <c:pt idx="528">
                  <c:v>73660</c:v>
                </c:pt>
                <c:pt idx="529">
                  <c:v>73160</c:v>
                </c:pt>
                <c:pt idx="530">
                  <c:v>73280</c:v>
                </c:pt>
                <c:pt idx="531">
                  <c:v>73100</c:v>
                </c:pt>
                <c:pt idx="532">
                  <c:v>72920</c:v>
                </c:pt>
                <c:pt idx="533">
                  <c:v>72720</c:v>
                </c:pt>
                <c:pt idx="534">
                  <c:v>73340</c:v>
                </c:pt>
              </c:numCache>
            </c:numRef>
          </c:val>
          <c:smooth val="0"/>
          <c:extLst>
            <c:ext xmlns:c16="http://schemas.microsoft.com/office/drawing/2014/chart" uri="{C3380CC4-5D6E-409C-BE32-E72D297353CC}">
              <c16:uniqueId val="{00000007-094D-4E29-B010-D717A2A1A293}"/>
            </c:ext>
          </c:extLst>
        </c:ser>
        <c:ser>
          <c:idx val="1"/>
          <c:order val="1"/>
          <c:tx>
            <c:strRef>
              <c:f>Daily!$C$1</c:f>
              <c:strCache>
                <c:ptCount val="1"/>
                <c:pt idx="0">
                  <c:v>M+1</c:v>
                </c:pt>
              </c:strCache>
            </c:strRef>
          </c:tx>
          <c:spPr>
            <a:ln w="28575" cap="rnd" cmpd="sng" algn="ctr">
              <a:solidFill>
                <a:schemeClr val="accent2">
                  <a:shade val="95000"/>
                  <a:satMod val="105000"/>
                </a:schemeClr>
              </a:solidFill>
              <a:prstDash val="solid"/>
              <a:round/>
            </a:ln>
            <a:effectLst/>
          </c:spPr>
          <c:marker>
            <c:symbol val="none"/>
          </c:marker>
          <c:cat>
            <c:numRef>
              <c:f>Daily!$A$2:$A$1000</c:f>
              <c:numCache>
                <c:formatCode>d\-mmm\-yy</c:formatCode>
                <c:ptCount val="999"/>
                <c:pt idx="0">
                  <c:v>45128</c:v>
                </c:pt>
                <c:pt idx="1">
                  <c:v>45131</c:v>
                </c:pt>
                <c:pt idx="2">
                  <c:v>45132</c:v>
                </c:pt>
                <c:pt idx="3">
                  <c:v>45133</c:v>
                </c:pt>
                <c:pt idx="4">
                  <c:v>45134</c:v>
                </c:pt>
                <c:pt idx="5">
                  <c:v>45135</c:v>
                </c:pt>
                <c:pt idx="6">
                  <c:v>45138</c:v>
                </c:pt>
                <c:pt idx="7">
                  <c:v>45139</c:v>
                </c:pt>
                <c:pt idx="8">
                  <c:v>45140</c:v>
                </c:pt>
                <c:pt idx="9">
                  <c:v>45141</c:v>
                </c:pt>
                <c:pt idx="10">
                  <c:v>45142</c:v>
                </c:pt>
                <c:pt idx="11">
                  <c:v>45145</c:v>
                </c:pt>
                <c:pt idx="12">
                  <c:v>45146</c:v>
                </c:pt>
                <c:pt idx="13">
                  <c:v>45147</c:v>
                </c:pt>
                <c:pt idx="14">
                  <c:v>45148</c:v>
                </c:pt>
                <c:pt idx="15">
                  <c:v>45149</c:v>
                </c:pt>
                <c:pt idx="16">
                  <c:v>45152</c:v>
                </c:pt>
                <c:pt idx="17">
                  <c:v>45153</c:v>
                </c:pt>
                <c:pt idx="18">
                  <c:v>45154</c:v>
                </c:pt>
                <c:pt idx="19">
                  <c:v>45155</c:v>
                </c:pt>
                <c:pt idx="20">
                  <c:v>45156</c:v>
                </c:pt>
                <c:pt idx="21">
                  <c:v>45159</c:v>
                </c:pt>
                <c:pt idx="22">
                  <c:v>45160</c:v>
                </c:pt>
                <c:pt idx="23">
                  <c:v>45161</c:v>
                </c:pt>
                <c:pt idx="24">
                  <c:v>45162</c:v>
                </c:pt>
                <c:pt idx="25">
                  <c:v>45163</c:v>
                </c:pt>
                <c:pt idx="26">
                  <c:v>45166</c:v>
                </c:pt>
                <c:pt idx="27">
                  <c:v>45167</c:v>
                </c:pt>
                <c:pt idx="28">
                  <c:v>45168</c:v>
                </c:pt>
                <c:pt idx="29">
                  <c:v>45169</c:v>
                </c:pt>
                <c:pt idx="30">
                  <c:v>45170</c:v>
                </c:pt>
                <c:pt idx="31">
                  <c:v>45173</c:v>
                </c:pt>
                <c:pt idx="32">
                  <c:v>45174</c:v>
                </c:pt>
                <c:pt idx="33">
                  <c:v>45175</c:v>
                </c:pt>
                <c:pt idx="34">
                  <c:v>45176</c:v>
                </c:pt>
                <c:pt idx="35">
                  <c:v>45177</c:v>
                </c:pt>
                <c:pt idx="36">
                  <c:v>45180</c:v>
                </c:pt>
                <c:pt idx="37">
                  <c:v>45181</c:v>
                </c:pt>
                <c:pt idx="38">
                  <c:v>45182</c:v>
                </c:pt>
                <c:pt idx="39">
                  <c:v>45183</c:v>
                </c:pt>
                <c:pt idx="40">
                  <c:v>45184</c:v>
                </c:pt>
                <c:pt idx="41">
                  <c:v>45187</c:v>
                </c:pt>
                <c:pt idx="42">
                  <c:v>45188</c:v>
                </c:pt>
                <c:pt idx="43">
                  <c:v>45189</c:v>
                </c:pt>
                <c:pt idx="44">
                  <c:v>45190</c:v>
                </c:pt>
                <c:pt idx="45">
                  <c:v>45191</c:v>
                </c:pt>
                <c:pt idx="46">
                  <c:v>45194</c:v>
                </c:pt>
                <c:pt idx="47">
                  <c:v>45195</c:v>
                </c:pt>
                <c:pt idx="48">
                  <c:v>45196</c:v>
                </c:pt>
                <c:pt idx="49">
                  <c:v>45197</c:v>
                </c:pt>
                <c:pt idx="50">
                  <c:v>45208</c:v>
                </c:pt>
                <c:pt idx="51">
                  <c:v>45209</c:v>
                </c:pt>
                <c:pt idx="52">
                  <c:v>45210</c:v>
                </c:pt>
                <c:pt idx="53">
                  <c:v>45211</c:v>
                </c:pt>
                <c:pt idx="54">
                  <c:v>45212</c:v>
                </c:pt>
                <c:pt idx="55">
                  <c:v>45215</c:v>
                </c:pt>
                <c:pt idx="56">
                  <c:v>45216</c:v>
                </c:pt>
                <c:pt idx="57">
                  <c:v>45217</c:v>
                </c:pt>
                <c:pt idx="58">
                  <c:v>45218</c:v>
                </c:pt>
                <c:pt idx="59">
                  <c:v>45219</c:v>
                </c:pt>
                <c:pt idx="60">
                  <c:v>45222</c:v>
                </c:pt>
                <c:pt idx="61">
                  <c:v>45223</c:v>
                </c:pt>
                <c:pt idx="62">
                  <c:v>45224</c:v>
                </c:pt>
                <c:pt idx="63">
                  <c:v>45225</c:v>
                </c:pt>
                <c:pt idx="64">
                  <c:v>45226</c:v>
                </c:pt>
                <c:pt idx="65">
                  <c:v>45229</c:v>
                </c:pt>
                <c:pt idx="66">
                  <c:v>45230</c:v>
                </c:pt>
                <c:pt idx="67">
                  <c:v>45231</c:v>
                </c:pt>
                <c:pt idx="68">
                  <c:v>45232</c:v>
                </c:pt>
                <c:pt idx="69">
                  <c:v>45233</c:v>
                </c:pt>
                <c:pt idx="70">
                  <c:v>45236</c:v>
                </c:pt>
                <c:pt idx="71">
                  <c:v>45237</c:v>
                </c:pt>
                <c:pt idx="72">
                  <c:v>45238</c:v>
                </c:pt>
                <c:pt idx="73">
                  <c:v>45239</c:v>
                </c:pt>
                <c:pt idx="74">
                  <c:v>45240</c:v>
                </c:pt>
                <c:pt idx="75">
                  <c:v>45243</c:v>
                </c:pt>
                <c:pt idx="76">
                  <c:v>45244</c:v>
                </c:pt>
                <c:pt idx="77">
                  <c:v>45245</c:v>
                </c:pt>
                <c:pt idx="78">
                  <c:v>45246</c:v>
                </c:pt>
                <c:pt idx="79">
                  <c:v>45247</c:v>
                </c:pt>
                <c:pt idx="80">
                  <c:v>45250</c:v>
                </c:pt>
                <c:pt idx="81">
                  <c:v>45251</c:v>
                </c:pt>
                <c:pt idx="82">
                  <c:v>45252</c:v>
                </c:pt>
                <c:pt idx="83">
                  <c:v>45253</c:v>
                </c:pt>
                <c:pt idx="84">
                  <c:v>45254</c:v>
                </c:pt>
                <c:pt idx="85">
                  <c:v>45257</c:v>
                </c:pt>
                <c:pt idx="86">
                  <c:v>45258</c:v>
                </c:pt>
                <c:pt idx="87">
                  <c:v>45259</c:v>
                </c:pt>
                <c:pt idx="88">
                  <c:v>45260</c:v>
                </c:pt>
                <c:pt idx="89">
                  <c:v>45261</c:v>
                </c:pt>
                <c:pt idx="90">
                  <c:v>45264</c:v>
                </c:pt>
                <c:pt idx="91">
                  <c:v>45265</c:v>
                </c:pt>
                <c:pt idx="92">
                  <c:v>45266</c:v>
                </c:pt>
                <c:pt idx="93">
                  <c:v>45267</c:v>
                </c:pt>
                <c:pt idx="94">
                  <c:v>45268</c:v>
                </c:pt>
                <c:pt idx="95">
                  <c:v>45271</c:v>
                </c:pt>
                <c:pt idx="96">
                  <c:v>45272</c:v>
                </c:pt>
                <c:pt idx="97">
                  <c:v>45273</c:v>
                </c:pt>
                <c:pt idx="98">
                  <c:v>45274</c:v>
                </c:pt>
                <c:pt idx="99">
                  <c:v>45275</c:v>
                </c:pt>
                <c:pt idx="100">
                  <c:v>45278</c:v>
                </c:pt>
                <c:pt idx="101">
                  <c:v>45279</c:v>
                </c:pt>
                <c:pt idx="102">
                  <c:v>45280</c:v>
                </c:pt>
                <c:pt idx="103">
                  <c:v>45281</c:v>
                </c:pt>
                <c:pt idx="104">
                  <c:v>45282</c:v>
                </c:pt>
                <c:pt idx="105">
                  <c:v>45285</c:v>
                </c:pt>
                <c:pt idx="106">
                  <c:v>45286</c:v>
                </c:pt>
                <c:pt idx="107">
                  <c:v>45287</c:v>
                </c:pt>
                <c:pt idx="108">
                  <c:v>45288</c:v>
                </c:pt>
                <c:pt idx="109">
                  <c:v>45289</c:v>
                </c:pt>
                <c:pt idx="110">
                  <c:v>45293</c:v>
                </c:pt>
                <c:pt idx="111">
                  <c:v>45294</c:v>
                </c:pt>
                <c:pt idx="112">
                  <c:v>45295</c:v>
                </c:pt>
                <c:pt idx="113">
                  <c:v>45296</c:v>
                </c:pt>
                <c:pt idx="114">
                  <c:v>45299</c:v>
                </c:pt>
                <c:pt idx="115">
                  <c:v>45300</c:v>
                </c:pt>
                <c:pt idx="116">
                  <c:v>45301</c:v>
                </c:pt>
                <c:pt idx="117">
                  <c:v>45302</c:v>
                </c:pt>
                <c:pt idx="118">
                  <c:v>45303</c:v>
                </c:pt>
                <c:pt idx="119">
                  <c:v>45306</c:v>
                </c:pt>
                <c:pt idx="120">
                  <c:v>45307</c:v>
                </c:pt>
                <c:pt idx="121">
                  <c:v>45308</c:v>
                </c:pt>
                <c:pt idx="122">
                  <c:v>45309</c:v>
                </c:pt>
                <c:pt idx="123">
                  <c:v>45310</c:v>
                </c:pt>
                <c:pt idx="124">
                  <c:v>45313</c:v>
                </c:pt>
                <c:pt idx="125">
                  <c:v>45314</c:v>
                </c:pt>
                <c:pt idx="126">
                  <c:v>45315</c:v>
                </c:pt>
                <c:pt idx="127">
                  <c:v>45316</c:v>
                </c:pt>
                <c:pt idx="128">
                  <c:v>45317</c:v>
                </c:pt>
                <c:pt idx="129">
                  <c:v>45320</c:v>
                </c:pt>
                <c:pt idx="130">
                  <c:v>45321</c:v>
                </c:pt>
                <c:pt idx="131">
                  <c:v>45322</c:v>
                </c:pt>
                <c:pt idx="132">
                  <c:v>45323</c:v>
                </c:pt>
                <c:pt idx="133">
                  <c:v>45324</c:v>
                </c:pt>
                <c:pt idx="134">
                  <c:v>45327</c:v>
                </c:pt>
                <c:pt idx="135">
                  <c:v>45328</c:v>
                </c:pt>
                <c:pt idx="136">
                  <c:v>45329</c:v>
                </c:pt>
                <c:pt idx="137">
                  <c:v>45330</c:v>
                </c:pt>
                <c:pt idx="138">
                  <c:v>45341</c:v>
                </c:pt>
                <c:pt idx="139">
                  <c:v>45342</c:v>
                </c:pt>
                <c:pt idx="140">
                  <c:v>45343</c:v>
                </c:pt>
                <c:pt idx="141">
                  <c:v>45344</c:v>
                </c:pt>
                <c:pt idx="142">
                  <c:v>45345</c:v>
                </c:pt>
                <c:pt idx="143">
                  <c:v>45348</c:v>
                </c:pt>
                <c:pt idx="144">
                  <c:v>45349</c:v>
                </c:pt>
                <c:pt idx="145">
                  <c:v>45350</c:v>
                </c:pt>
                <c:pt idx="146">
                  <c:v>45351</c:v>
                </c:pt>
                <c:pt idx="147">
                  <c:v>45352</c:v>
                </c:pt>
                <c:pt idx="148">
                  <c:v>45355</c:v>
                </c:pt>
                <c:pt idx="149">
                  <c:v>45356</c:v>
                </c:pt>
                <c:pt idx="150">
                  <c:v>45357</c:v>
                </c:pt>
                <c:pt idx="151">
                  <c:v>45358</c:v>
                </c:pt>
                <c:pt idx="152">
                  <c:v>45359</c:v>
                </c:pt>
                <c:pt idx="153">
                  <c:v>45362</c:v>
                </c:pt>
                <c:pt idx="154">
                  <c:v>45363</c:v>
                </c:pt>
                <c:pt idx="155">
                  <c:v>45364</c:v>
                </c:pt>
                <c:pt idx="156">
                  <c:v>45365</c:v>
                </c:pt>
                <c:pt idx="157">
                  <c:v>45366</c:v>
                </c:pt>
                <c:pt idx="158">
                  <c:v>45369</c:v>
                </c:pt>
                <c:pt idx="159">
                  <c:v>45370</c:v>
                </c:pt>
                <c:pt idx="160">
                  <c:v>45371</c:v>
                </c:pt>
                <c:pt idx="161">
                  <c:v>45372</c:v>
                </c:pt>
                <c:pt idx="162">
                  <c:v>45373</c:v>
                </c:pt>
                <c:pt idx="163">
                  <c:v>45376</c:v>
                </c:pt>
                <c:pt idx="164">
                  <c:v>45377</c:v>
                </c:pt>
                <c:pt idx="165">
                  <c:v>45378</c:v>
                </c:pt>
                <c:pt idx="166">
                  <c:v>45379</c:v>
                </c:pt>
                <c:pt idx="167">
                  <c:v>45380</c:v>
                </c:pt>
                <c:pt idx="168">
                  <c:v>45383</c:v>
                </c:pt>
                <c:pt idx="169">
                  <c:v>45384</c:v>
                </c:pt>
                <c:pt idx="170">
                  <c:v>45385</c:v>
                </c:pt>
                <c:pt idx="171">
                  <c:v>45390</c:v>
                </c:pt>
                <c:pt idx="172">
                  <c:v>45391</c:v>
                </c:pt>
                <c:pt idx="173">
                  <c:v>45392</c:v>
                </c:pt>
                <c:pt idx="174">
                  <c:v>45393</c:v>
                </c:pt>
                <c:pt idx="175">
                  <c:v>45394</c:v>
                </c:pt>
                <c:pt idx="176">
                  <c:v>45397</c:v>
                </c:pt>
                <c:pt idx="177">
                  <c:v>45398</c:v>
                </c:pt>
                <c:pt idx="178">
                  <c:v>45399</c:v>
                </c:pt>
                <c:pt idx="179">
                  <c:v>45400</c:v>
                </c:pt>
                <c:pt idx="180">
                  <c:v>45401</c:v>
                </c:pt>
                <c:pt idx="181">
                  <c:v>45404</c:v>
                </c:pt>
                <c:pt idx="182">
                  <c:v>45405</c:v>
                </c:pt>
                <c:pt idx="183">
                  <c:v>45406</c:v>
                </c:pt>
                <c:pt idx="184">
                  <c:v>45407</c:v>
                </c:pt>
                <c:pt idx="185">
                  <c:v>45408</c:v>
                </c:pt>
                <c:pt idx="186">
                  <c:v>45411</c:v>
                </c:pt>
                <c:pt idx="187">
                  <c:v>45412</c:v>
                </c:pt>
                <c:pt idx="188">
                  <c:v>45418</c:v>
                </c:pt>
                <c:pt idx="189">
                  <c:v>45419</c:v>
                </c:pt>
                <c:pt idx="190">
                  <c:v>45420</c:v>
                </c:pt>
                <c:pt idx="191">
                  <c:v>45421</c:v>
                </c:pt>
                <c:pt idx="192">
                  <c:v>45422</c:v>
                </c:pt>
                <c:pt idx="193">
                  <c:v>45425</c:v>
                </c:pt>
                <c:pt idx="194">
                  <c:v>45426</c:v>
                </c:pt>
                <c:pt idx="195">
                  <c:v>45427</c:v>
                </c:pt>
                <c:pt idx="196">
                  <c:v>45428</c:v>
                </c:pt>
                <c:pt idx="197">
                  <c:v>45429</c:v>
                </c:pt>
                <c:pt idx="198">
                  <c:v>45432</c:v>
                </c:pt>
                <c:pt idx="199">
                  <c:v>45433</c:v>
                </c:pt>
                <c:pt idx="200">
                  <c:v>45434</c:v>
                </c:pt>
                <c:pt idx="201">
                  <c:v>45435</c:v>
                </c:pt>
                <c:pt idx="202">
                  <c:v>45436</c:v>
                </c:pt>
                <c:pt idx="203">
                  <c:v>45439</c:v>
                </c:pt>
                <c:pt idx="204">
                  <c:v>45440</c:v>
                </c:pt>
                <c:pt idx="205">
                  <c:v>45441</c:v>
                </c:pt>
                <c:pt idx="206">
                  <c:v>45442</c:v>
                </c:pt>
                <c:pt idx="207">
                  <c:v>45443</c:v>
                </c:pt>
                <c:pt idx="208">
                  <c:v>45446</c:v>
                </c:pt>
                <c:pt idx="209">
                  <c:v>45447</c:v>
                </c:pt>
                <c:pt idx="210">
                  <c:v>45448</c:v>
                </c:pt>
                <c:pt idx="211">
                  <c:v>45449</c:v>
                </c:pt>
                <c:pt idx="212">
                  <c:v>45450</c:v>
                </c:pt>
                <c:pt idx="213">
                  <c:v>45454</c:v>
                </c:pt>
                <c:pt idx="214">
                  <c:v>45455</c:v>
                </c:pt>
                <c:pt idx="215">
                  <c:v>45456</c:v>
                </c:pt>
                <c:pt idx="216">
                  <c:v>45457</c:v>
                </c:pt>
                <c:pt idx="217">
                  <c:v>45460</c:v>
                </c:pt>
                <c:pt idx="218">
                  <c:v>45461</c:v>
                </c:pt>
                <c:pt idx="219">
                  <c:v>45462</c:v>
                </c:pt>
                <c:pt idx="220">
                  <c:v>45463</c:v>
                </c:pt>
                <c:pt idx="221">
                  <c:v>45464</c:v>
                </c:pt>
                <c:pt idx="222">
                  <c:v>45467</c:v>
                </c:pt>
                <c:pt idx="223">
                  <c:v>45468</c:v>
                </c:pt>
                <c:pt idx="224">
                  <c:v>45469</c:v>
                </c:pt>
                <c:pt idx="225">
                  <c:v>45470</c:v>
                </c:pt>
                <c:pt idx="226">
                  <c:v>45471</c:v>
                </c:pt>
                <c:pt idx="227">
                  <c:v>45474</c:v>
                </c:pt>
                <c:pt idx="228">
                  <c:v>45475</c:v>
                </c:pt>
                <c:pt idx="229">
                  <c:v>45476</c:v>
                </c:pt>
                <c:pt idx="230">
                  <c:v>45477</c:v>
                </c:pt>
                <c:pt idx="231">
                  <c:v>45478</c:v>
                </c:pt>
                <c:pt idx="232">
                  <c:v>45481</c:v>
                </c:pt>
                <c:pt idx="233">
                  <c:v>45482</c:v>
                </c:pt>
                <c:pt idx="234">
                  <c:v>45483</c:v>
                </c:pt>
                <c:pt idx="235">
                  <c:v>45484</c:v>
                </c:pt>
                <c:pt idx="236">
                  <c:v>45485</c:v>
                </c:pt>
                <c:pt idx="237">
                  <c:v>45488</c:v>
                </c:pt>
                <c:pt idx="238">
                  <c:v>45489</c:v>
                </c:pt>
                <c:pt idx="239">
                  <c:v>45490</c:v>
                </c:pt>
                <c:pt idx="240">
                  <c:v>45491</c:v>
                </c:pt>
                <c:pt idx="241">
                  <c:v>45492</c:v>
                </c:pt>
                <c:pt idx="242">
                  <c:v>45495</c:v>
                </c:pt>
                <c:pt idx="243">
                  <c:v>45496</c:v>
                </c:pt>
                <c:pt idx="244">
                  <c:v>45497</c:v>
                </c:pt>
                <c:pt idx="245">
                  <c:v>45498</c:v>
                </c:pt>
                <c:pt idx="246">
                  <c:v>45499</c:v>
                </c:pt>
                <c:pt idx="247">
                  <c:v>45502</c:v>
                </c:pt>
                <c:pt idx="248">
                  <c:v>45503</c:v>
                </c:pt>
                <c:pt idx="249">
                  <c:v>45504</c:v>
                </c:pt>
                <c:pt idx="250">
                  <c:v>45505</c:v>
                </c:pt>
                <c:pt idx="251">
                  <c:v>45506</c:v>
                </c:pt>
                <c:pt idx="252">
                  <c:v>45509</c:v>
                </c:pt>
                <c:pt idx="253">
                  <c:v>45510</c:v>
                </c:pt>
                <c:pt idx="254">
                  <c:v>45511</c:v>
                </c:pt>
                <c:pt idx="255">
                  <c:v>45512</c:v>
                </c:pt>
                <c:pt idx="256">
                  <c:v>45513</c:v>
                </c:pt>
                <c:pt idx="257">
                  <c:v>45516</c:v>
                </c:pt>
                <c:pt idx="258">
                  <c:v>45517</c:v>
                </c:pt>
                <c:pt idx="259">
                  <c:v>45518</c:v>
                </c:pt>
                <c:pt idx="260">
                  <c:v>45519</c:v>
                </c:pt>
                <c:pt idx="261">
                  <c:v>45520</c:v>
                </c:pt>
                <c:pt idx="262">
                  <c:v>45523</c:v>
                </c:pt>
                <c:pt idx="263">
                  <c:v>45524</c:v>
                </c:pt>
                <c:pt idx="264">
                  <c:v>45525</c:v>
                </c:pt>
                <c:pt idx="265">
                  <c:v>45526</c:v>
                </c:pt>
                <c:pt idx="266">
                  <c:v>45527</c:v>
                </c:pt>
                <c:pt idx="267">
                  <c:v>45530</c:v>
                </c:pt>
                <c:pt idx="268">
                  <c:v>45531</c:v>
                </c:pt>
                <c:pt idx="269">
                  <c:v>45532</c:v>
                </c:pt>
                <c:pt idx="270">
                  <c:v>45533</c:v>
                </c:pt>
                <c:pt idx="271">
                  <c:v>45534</c:v>
                </c:pt>
                <c:pt idx="272">
                  <c:v>45537</c:v>
                </c:pt>
                <c:pt idx="273">
                  <c:v>45538</c:v>
                </c:pt>
                <c:pt idx="274">
                  <c:v>45539</c:v>
                </c:pt>
                <c:pt idx="275">
                  <c:v>45540</c:v>
                </c:pt>
                <c:pt idx="276">
                  <c:v>45541</c:v>
                </c:pt>
                <c:pt idx="277">
                  <c:v>45544</c:v>
                </c:pt>
                <c:pt idx="278">
                  <c:v>45545</c:v>
                </c:pt>
                <c:pt idx="279">
                  <c:v>45546</c:v>
                </c:pt>
                <c:pt idx="280">
                  <c:v>45547</c:v>
                </c:pt>
                <c:pt idx="281">
                  <c:v>45548</c:v>
                </c:pt>
                <c:pt idx="282">
                  <c:v>45553</c:v>
                </c:pt>
                <c:pt idx="283">
                  <c:v>45554</c:v>
                </c:pt>
                <c:pt idx="284">
                  <c:v>45555</c:v>
                </c:pt>
                <c:pt idx="285">
                  <c:v>45558</c:v>
                </c:pt>
                <c:pt idx="286">
                  <c:v>45559</c:v>
                </c:pt>
                <c:pt idx="287">
                  <c:v>45560</c:v>
                </c:pt>
                <c:pt idx="288">
                  <c:v>45561</c:v>
                </c:pt>
                <c:pt idx="289">
                  <c:v>45562</c:v>
                </c:pt>
                <c:pt idx="290">
                  <c:v>45565</c:v>
                </c:pt>
                <c:pt idx="291">
                  <c:v>45573</c:v>
                </c:pt>
                <c:pt idx="292">
                  <c:v>45574</c:v>
                </c:pt>
                <c:pt idx="293">
                  <c:v>45575</c:v>
                </c:pt>
                <c:pt idx="294">
                  <c:v>45576</c:v>
                </c:pt>
                <c:pt idx="295">
                  <c:v>45579</c:v>
                </c:pt>
                <c:pt idx="296">
                  <c:v>45580</c:v>
                </c:pt>
                <c:pt idx="297">
                  <c:v>45581</c:v>
                </c:pt>
                <c:pt idx="298">
                  <c:v>45582</c:v>
                </c:pt>
                <c:pt idx="299">
                  <c:v>45583</c:v>
                </c:pt>
                <c:pt idx="300">
                  <c:v>45586</c:v>
                </c:pt>
                <c:pt idx="301">
                  <c:v>45587</c:v>
                </c:pt>
                <c:pt idx="302">
                  <c:v>45588</c:v>
                </c:pt>
                <c:pt idx="303">
                  <c:v>45589</c:v>
                </c:pt>
                <c:pt idx="304">
                  <c:v>45590</c:v>
                </c:pt>
                <c:pt idx="305">
                  <c:v>45593</c:v>
                </c:pt>
                <c:pt idx="306">
                  <c:v>45594</c:v>
                </c:pt>
                <c:pt idx="307">
                  <c:v>45595</c:v>
                </c:pt>
                <c:pt idx="308">
                  <c:v>45596</c:v>
                </c:pt>
                <c:pt idx="309">
                  <c:v>45597</c:v>
                </c:pt>
                <c:pt idx="310">
                  <c:v>45600</c:v>
                </c:pt>
                <c:pt idx="311">
                  <c:v>45601</c:v>
                </c:pt>
                <c:pt idx="312">
                  <c:v>45602</c:v>
                </c:pt>
                <c:pt idx="313">
                  <c:v>45603</c:v>
                </c:pt>
                <c:pt idx="314">
                  <c:v>45604</c:v>
                </c:pt>
                <c:pt idx="315">
                  <c:v>45607</c:v>
                </c:pt>
                <c:pt idx="316">
                  <c:v>45608</c:v>
                </c:pt>
                <c:pt idx="317">
                  <c:v>45609</c:v>
                </c:pt>
                <c:pt idx="318">
                  <c:v>45610</c:v>
                </c:pt>
                <c:pt idx="319">
                  <c:v>45611</c:v>
                </c:pt>
                <c:pt idx="320">
                  <c:v>45614</c:v>
                </c:pt>
                <c:pt idx="321">
                  <c:v>45615</c:v>
                </c:pt>
                <c:pt idx="322">
                  <c:v>45616</c:v>
                </c:pt>
                <c:pt idx="323">
                  <c:v>45617</c:v>
                </c:pt>
                <c:pt idx="324">
                  <c:v>45618</c:v>
                </c:pt>
                <c:pt idx="325">
                  <c:v>45621</c:v>
                </c:pt>
                <c:pt idx="326">
                  <c:v>45622</c:v>
                </c:pt>
                <c:pt idx="327">
                  <c:v>45623</c:v>
                </c:pt>
                <c:pt idx="328">
                  <c:v>45624</c:v>
                </c:pt>
                <c:pt idx="329">
                  <c:v>45625</c:v>
                </c:pt>
                <c:pt idx="330">
                  <c:v>45628</c:v>
                </c:pt>
                <c:pt idx="331">
                  <c:v>45629</c:v>
                </c:pt>
                <c:pt idx="332">
                  <c:v>45630</c:v>
                </c:pt>
                <c:pt idx="333">
                  <c:v>45631</c:v>
                </c:pt>
                <c:pt idx="334">
                  <c:v>45632</c:v>
                </c:pt>
                <c:pt idx="335">
                  <c:v>45635</c:v>
                </c:pt>
                <c:pt idx="336">
                  <c:v>45636</c:v>
                </c:pt>
                <c:pt idx="337">
                  <c:v>45637</c:v>
                </c:pt>
                <c:pt idx="338">
                  <c:v>45638</c:v>
                </c:pt>
                <c:pt idx="339">
                  <c:v>45639</c:v>
                </c:pt>
                <c:pt idx="340">
                  <c:v>45642</c:v>
                </c:pt>
                <c:pt idx="341">
                  <c:v>45643</c:v>
                </c:pt>
                <c:pt idx="342">
                  <c:v>45644</c:v>
                </c:pt>
                <c:pt idx="343">
                  <c:v>45645</c:v>
                </c:pt>
                <c:pt idx="344">
                  <c:v>45646</c:v>
                </c:pt>
                <c:pt idx="345">
                  <c:v>45649</c:v>
                </c:pt>
                <c:pt idx="346">
                  <c:v>45650</c:v>
                </c:pt>
                <c:pt idx="347">
                  <c:v>45651</c:v>
                </c:pt>
                <c:pt idx="348">
                  <c:v>45652</c:v>
                </c:pt>
                <c:pt idx="349">
                  <c:v>45653</c:v>
                </c:pt>
                <c:pt idx="350">
                  <c:v>45656</c:v>
                </c:pt>
                <c:pt idx="351">
                  <c:v>45657</c:v>
                </c:pt>
                <c:pt idx="352">
                  <c:v>45659</c:v>
                </c:pt>
                <c:pt idx="353">
                  <c:v>45660</c:v>
                </c:pt>
                <c:pt idx="354">
                  <c:v>45663</c:v>
                </c:pt>
                <c:pt idx="355">
                  <c:v>45664</c:v>
                </c:pt>
                <c:pt idx="356">
                  <c:v>45665</c:v>
                </c:pt>
                <c:pt idx="357">
                  <c:v>45666</c:v>
                </c:pt>
                <c:pt idx="358">
                  <c:v>45667</c:v>
                </c:pt>
                <c:pt idx="359">
                  <c:v>45670</c:v>
                </c:pt>
                <c:pt idx="360">
                  <c:v>45671</c:v>
                </c:pt>
                <c:pt idx="361">
                  <c:v>45672</c:v>
                </c:pt>
                <c:pt idx="362">
                  <c:v>45673</c:v>
                </c:pt>
                <c:pt idx="363">
                  <c:v>45674</c:v>
                </c:pt>
                <c:pt idx="364">
                  <c:v>45677</c:v>
                </c:pt>
                <c:pt idx="365">
                  <c:v>45678</c:v>
                </c:pt>
                <c:pt idx="366">
                  <c:v>45679</c:v>
                </c:pt>
                <c:pt idx="367">
                  <c:v>45680</c:v>
                </c:pt>
                <c:pt idx="368">
                  <c:v>45681</c:v>
                </c:pt>
                <c:pt idx="369">
                  <c:v>45684</c:v>
                </c:pt>
                <c:pt idx="370">
                  <c:v>45693</c:v>
                </c:pt>
                <c:pt idx="371">
                  <c:v>45694</c:v>
                </c:pt>
                <c:pt idx="372">
                  <c:v>45695</c:v>
                </c:pt>
                <c:pt idx="373">
                  <c:v>45698</c:v>
                </c:pt>
                <c:pt idx="374">
                  <c:v>45699</c:v>
                </c:pt>
                <c:pt idx="375">
                  <c:v>45700</c:v>
                </c:pt>
                <c:pt idx="376">
                  <c:v>45701</c:v>
                </c:pt>
                <c:pt idx="377">
                  <c:v>45702</c:v>
                </c:pt>
                <c:pt idx="378">
                  <c:v>45705</c:v>
                </c:pt>
                <c:pt idx="379">
                  <c:v>45706</c:v>
                </c:pt>
                <c:pt idx="380">
                  <c:v>45707</c:v>
                </c:pt>
                <c:pt idx="381">
                  <c:v>45708</c:v>
                </c:pt>
                <c:pt idx="382">
                  <c:v>45709</c:v>
                </c:pt>
                <c:pt idx="383">
                  <c:v>45712</c:v>
                </c:pt>
                <c:pt idx="384">
                  <c:v>45713</c:v>
                </c:pt>
                <c:pt idx="385">
                  <c:v>45714</c:v>
                </c:pt>
                <c:pt idx="386">
                  <c:v>45715</c:v>
                </c:pt>
                <c:pt idx="387">
                  <c:v>45716</c:v>
                </c:pt>
                <c:pt idx="388">
                  <c:v>45719</c:v>
                </c:pt>
                <c:pt idx="389">
                  <c:v>45720</c:v>
                </c:pt>
                <c:pt idx="390">
                  <c:v>45721</c:v>
                </c:pt>
                <c:pt idx="391">
                  <c:v>45722</c:v>
                </c:pt>
                <c:pt idx="392">
                  <c:v>45723</c:v>
                </c:pt>
                <c:pt idx="393">
                  <c:v>45726</c:v>
                </c:pt>
                <c:pt idx="394">
                  <c:v>45727</c:v>
                </c:pt>
                <c:pt idx="395">
                  <c:v>45728</c:v>
                </c:pt>
                <c:pt idx="396">
                  <c:v>45729</c:v>
                </c:pt>
                <c:pt idx="397">
                  <c:v>45730</c:v>
                </c:pt>
                <c:pt idx="398">
                  <c:v>45733</c:v>
                </c:pt>
                <c:pt idx="399">
                  <c:v>45734</c:v>
                </c:pt>
                <c:pt idx="400">
                  <c:v>45735</c:v>
                </c:pt>
                <c:pt idx="401">
                  <c:v>45736</c:v>
                </c:pt>
                <c:pt idx="402">
                  <c:v>45737</c:v>
                </c:pt>
                <c:pt idx="403">
                  <c:v>45740</c:v>
                </c:pt>
                <c:pt idx="404">
                  <c:v>45741</c:v>
                </c:pt>
                <c:pt idx="405">
                  <c:v>45742</c:v>
                </c:pt>
                <c:pt idx="406">
                  <c:v>45743</c:v>
                </c:pt>
                <c:pt idx="407">
                  <c:v>45744</c:v>
                </c:pt>
                <c:pt idx="408">
                  <c:v>45747</c:v>
                </c:pt>
                <c:pt idx="409">
                  <c:v>45748</c:v>
                </c:pt>
                <c:pt idx="410">
                  <c:v>45749</c:v>
                </c:pt>
                <c:pt idx="411">
                  <c:v>45750</c:v>
                </c:pt>
                <c:pt idx="412">
                  <c:v>45754</c:v>
                </c:pt>
                <c:pt idx="413">
                  <c:v>45755</c:v>
                </c:pt>
                <c:pt idx="414">
                  <c:v>45756</c:v>
                </c:pt>
                <c:pt idx="415">
                  <c:v>45757</c:v>
                </c:pt>
                <c:pt idx="416">
                  <c:v>45758</c:v>
                </c:pt>
                <c:pt idx="417">
                  <c:v>45761</c:v>
                </c:pt>
                <c:pt idx="418">
                  <c:v>45762</c:v>
                </c:pt>
                <c:pt idx="419">
                  <c:v>45763</c:v>
                </c:pt>
                <c:pt idx="420">
                  <c:v>45764</c:v>
                </c:pt>
                <c:pt idx="421">
                  <c:v>45765</c:v>
                </c:pt>
                <c:pt idx="422">
                  <c:v>45768</c:v>
                </c:pt>
                <c:pt idx="423">
                  <c:v>45769</c:v>
                </c:pt>
                <c:pt idx="424">
                  <c:v>45770</c:v>
                </c:pt>
                <c:pt idx="425">
                  <c:v>45771</c:v>
                </c:pt>
                <c:pt idx="426">
                  <c:v>45772</c:v>
                </c:pt>
                <c:pt idx="427">
                  <c:v>45775</c:v>
                </c:pt>
                <c:pt idx="428">
                  <c:v>45776</c:v>
                </c:pt>
                <c:pt idx="429">
                  <c:v>45777</c:v>
                </c:pt>
                <c:pt idx="430">
                  <c:v>45783</c:v>
                </c:pt>
                <c:pt idx="431">
                  <c:v>45784</c:v>
                </c:pt>
                <c:pt idx="432">
                  <c:v>45785</c:v>
                </c:pt>
                <c:pt idx="433">
                  <c:v>45786</c:v>
                </c:pt>
                <c:pt idx="434">
                  <c:v>45789</c:v>
                </c:pt>
                <c:pt idx="435">
                  <c:v>45790</c:v>
                </c:pt>
                <c:pt idx="436">
                  <c:v>45791</c:v>
                </c:pt>
                <c:pt idx="437">
                  <c:v>45792</c:v>
                </c:pt>
                <c:pt idx="438">
                  <c:v>45793</c:v>
                </c:pt>
                <c:pt idx="439">
                  <c:v>45796</c:v>
                </c:pt>
                <c:pt idx="440">
                  <c:v>45797</c:v>
                </c:pt>
                <c:pt idx="441">
                  <c:v>45798</c:v>
                </c:pt>
                <c:pt idx="442">
                  <c:v>45799</c:v>
                </c:pt>
                <c:pt idx="443">
                  <c:v>45800</c:v>
                </c:pt>
                <c:pt idx="444">
                  <c:v>45803</c:v>
                </c:pt>
                <c:pt idx="445">
                  <c:v>45804</c:v>
                </c:pt>
                <c:pt idx="446">
                  <c:v>45805</c:v>
                </c:pt>
                <c:pt idx="447">
                  <c:v>45806</c:v>
                </c:pt>
                <c:pt idx="448">
                  <c:v>45807</c:v>
                </c:pt>
                <c:pt idx="449">
                  <c:v>45811</c:v>
                </c:pt>
                <c:pt idx="450">
                  <c:v>45812</c:v>
                </c:pt>
                <c:pt idx="451">
                  <c:v>45813</c:v>
                </c:pt>
                <c:pt idx="452">
                  <c:v>45814</c:v>
                </c:pt>
                <c:pt idx="453">
                  <c:v>45817</c:v>
                </c:pt>
                <c:pt idx="454">
                  <c:v>45818</c:v>
                </c:pt>
                <c:pt idx="455">
                  <c:v>45819</c:v>
                </c:pt>
                <c:pt idx="456">
                  <c:v>45820</c:v>
                </c:pt>
                <c:pt idx="457">
                  <c:v>45821</c:v>
                </c:pt>
                <c:pt idx="458">
                  <c:v>45824</c:v>
                </c:pt>
                <c:pt idx="459">
                  <c:v>45825</c:v>
                </c:pt>
                <c:pt idx="460">
                  <c:v>45826</c:v>
                </c:pt>
                <c:pt idx="461">
                  <c:v>45827</c:v>
                </c:pt>
                <c:pt idx="462">
                  <c:v>45828</c:v>
                </c:pt>
                <c:pt idx="463">
                  <c:v>45831</c:v>
                </c:pt>
                <c:pt idx="464">
                  <c:v>45832</c:v>
                </c:pt>
                <c:pt idx="465">
                  <c:v>45833</c:v>
                </c:pt>
                <c:pt idx="466">
                  <c:v>45834</c:v>
                </c:pt>
                <c:pt idx="467">
                  <c:v>45835</c:v>
                </c:pt>
                <c:pt idx="468">
                  <c:v>45838</c:v>
                </c:pt>
                <c:pt idx="469">
                  <c:v>45839</c:v>
                </c:pt>
                <c:pt idx="470">
                  <c:v>45840</c:v>
                </c:pt>
                <c:pt idx="471">
                  <c:v>45841</c:v>
                </c:pt>
                <c:pt idx="472">
                  <c:v>45842</c:v>
                </c:pt>
                <c:pt idx="473">
                  <c:v>45845</c:v>
                </c:pt>
                <c:pt idx="474">
                  <c:v>45846</c:v>
                </c:pt>
                <c:pt idx="475">
                  <c:v>45847</c:v>
                </c:pt>
                <c:pt idx="476">
                  <c:v>45848</c:v>
                </c:pt>
                <c:pt idx="477">
                  <c:v>45849</c:v>
                </c:pt>
                <c:pt idx="478">
                  <c:v>45852</c:v>
                </c:pt>
                <c:pt idx="479">
                  <c:v>45853</c:v>
                </c:pt>
                <c:pt idx="480">
                  <c:v>45854</c:v>
                </c:pt>
                <c:pt idx="481">
                  <c:v>45855</c:v>
                </c:pt>
                <c:pt idx="482">
                  <c:v>45856</c:v>
                </c:pt>
                <c:pt idx="483">
                  <c:v>45859</c:v>
                </c:pt>
                <c:pt idx="484">
                  <c:v>45860</c:v>
                </c:pt>
                <c:pt idx="485">
                  <c:v>45861</c:v>
                </c:pt>
                <c:pt idx="486">
                  <c:v>45862</c:v>
                </c:pt>
                <c:pt idx="487">
                  <c:v>45863</c:v>
                </c:pt>
                <c:pt idx="488">
                  <c:v>45866</c:v>
                </c:pt>
                <c:pt idx="489">
                  <c:v>45867</c:v>
                </c:pt>
                <c:pt idx="490">
                  <c:v>45868</c:v>
                </c:pt>
                <c:pt idx="491">
                  <c:v>45869</c:v>
                </c:pt>
                <c:pt idx="492">
                  <c:v>45870</c:v>
                </c:pt>
                <c:pt idx="493">
                  <c:v>45873</c:v>
                </c:pt>
                <c:pt idx="494">
                  <c:v>45874</c:v>
                </c:pt>
                <c:pt idx="495">
                  <c:v>45875</c:v>
                </c:pt>
                <c:pt idx="496">
                  <c:v>45876</c:v>
                </c:pt>
                <c:pt idx="497">
                  <c:v>45877</c:v>
                </c:pt>
                <c:pt idx="498">
                  <c:v>45880</c:v>
                </c:pt>
                <c:pt idx="499">
                  <c:v>45881</c:v>
                </c:pt>
                <c:pt idx="500">
                  <c:v>45882</c:v>
                </c:pt>
                <c:pt idx="501">
                  <c:v>45883</c:v>
                </c:pt>
                <c:pt idx="502">
                  <c:v>45884</c:v>
                </c:pt>
                <c:pt idx="503">
                  <c:v>45887</c:v>
                </c:pt>
                <c:pt idx="504">
                  <c:v>45888</c:v>
                </c:pt>
                <c:pt idx="505">
                  <c:v>45889</c:v>
                </c:pt>
                <c:pt idx="506">
                  <c:v>45890</c:v>
                </c:pt>
                <c:pt idx="507">
                  <c:v>45891</c:v>
                </c:pt>
                <c:pt idx="508">
                  <c:v>45894</c:v>
                </c:pt>
                <c:pt idx="509">
                  <c:v>45895</c:v>
                </c:pt>
                <c:pt idx="510">
                  <c:v>45896</c:v>
                </c:pt>
                <c:pt idx="511">
                  <c:v>45897</c:v>
                </c:pt>
                <c:pt idx="512">
                  <c:v>45898</c:v>
                </c:pt>
                <c:pt idx="513">
                  <c:v>45901</c:v>
                </c:pt>
                <c:pt idx="514">
                  <c:v>45902</c:v>
                </c:pt>
                <c:pt idx="515">
                  <c:v>45903</c:v>
                </c:pt>
                <c:pt idx="516">
                  <c:v>45904</c:v>
                </c:pt>
                <c:pt idx="517">
                  <c:v>45905</c:v>
                </c:pt>
                <c:pt idx="518">
                  <c:v>45908</c:v>
                </c:pt>
                <c:pt idx="519">
                  <c:v>45909</c:v>
                </c:pt>
                <c:pt idx="520">
                  <c:v>45910</c:v>
                </c:pt>
                <c:pt idx="521">
                  <c:v>45911</c:v>
                </c:pt>
                <c:pt idx="522">
                  <c:v>45912</c:v>
                </c:pt>
                <c:pt idx="523">
                  <c:v>45915</c:v>
                </c:pt>
                <c:pt idx="524">
                  <c:v>45916</c:v>
                </c:pt>
                <c:pt idx="525">
                  <c:v>45917</c:v>
                </c:pt>
                <c:pt idx="526">
                  <c:v>45918</c:v>
                </c:pt>
                <c:pt idx="527">
                  <c:v>45919</c:v>
                </c:pt>
                <c:pt idx="528">
                  <c:v>45922</c:v>
                </c:pt>
                <c:pt idx="529">
                  <c:v>45923</c:v>
                </c:pt>
                <c:pt idx="530">
                  <c:v>45924</c:v>
                </c:pt>
                <c:pt idx="531">
                  <c:v>45925</c:v>
                </c:pt>
                <c:pt idx="532">
                  <c:v>45926</c:v>
                </c:pt>
                <c:pt idx="533">
                  <c:v>45929</c:v>
                </c:pt>
                <c:pt idx="534">
                  <c:v>45930</c:v>
                </c:pt>
                <c:pt idx="535">
                  <c:v>45931</c:v>
                </c:pt>
                <c:pt idx="536">
                  <c:v>45932</c:v>
                </c:pt>
                <c:pt idx="537">
                  <c:v>45933</c:v>
                </c:pt>
                <c:pt idx="538">
                  <c:v>45936</c:v>
                </c:pt>
                <c:pt idx="539">
                  <c:v>45937</c:v>
                </c:pt>
                <c:pt idx="540">
                  <c:v>45938</c:v>
                </c:pt>
                <c:pt idx="541">
                  <c:v>45939</c:v>
                </c:pt>
                <c:pt idx="542">
                  <c:v>45940</c:v>
                </c:pt>
                <c:pt idx="543">
                  <c:v>45943</c:v>
                </c:pt>
                <c:pt idx="544">
                  <c:v>45944</c:v>
                </c:pt>
                <c:pt idx="545">
                  <c:v>45945</c:v>
                </c:pt>
                <c:pt idx="546">
                  <c:v>45946</c:v>
                </c:pt>
                <c:pt idx="547">
                  <c:v>45947</c:v>
                </c:pt>
                <c:pt idx="548">
                  <c:v>45950</c:v>
                </c:pt>
                <c:pt idx="549">
                  <c:v>45951</c:v>
                </c:pt>
                <c:pt idx="550">
                  <c:v>45952</c:v>
                </c:pt>
                <c:pt idx="551">
                  <c:v>45953</c:v>
                </c:pt>
                <c:pt idx="552">
                  <c:v>45954</c:v>
                </c:pt>
                <c:pt idx="553">
                  <c:v>45957</c:v>
                </c:pt>
                <c:pt idx="554">
                  <c:v>45958</c:v>
                </c:pt>
                <c:pt idx="555">
                  <c:v>45959</c:v>
                </c:pt>
                <c:pt idx="556">
                  <c:v>45960</c:v>
                </c:pt>
                <c:pt idx="557">
                  <c:v>45961</c:v>
                </c:pt>
                <c:pt idx="558">
                  <c:v>45964</c:v>
                </c:pt>
                <c:pt idx="559">
                  <c:v>45965</c:v>
                </c:pt>
                <c:pt idx="560">
                  <c:v>45966</c:v>
                </c:pt>
                <c:pt idx="561">
                  <c:v>45967</c:v>
                </c:pt>
                <c:pt idx="562">
                  <c:v>45968</c:v>
                </c:pt>
                <c:pt idx="563">
                  <c:v>45971</c:v>
                </c:pt>
                <c:pt idx="564">
                  <c:v>45972</c:v>
                </c:pt>
                <c:pt idx="565">
                  <c:v>45973</c:v>
                </c:pt>
                <c:pt idx="566">
                  <c:v>45974</c:v>
                </c:pt>
                <c:pt idx="567">
                  <c:v>45975</c:v>
                </c:pt>
                <c:pt idx="568">
                  <c:v>45978</c:v>
                </c:pt>
                <c:pt idx="569">
                  <c:v>45979</c:v>
                </c:pt>
                <c:pt idx="570">
                  <c:v>45980</c:v>
                </c:pt>
                <c:pt idx="571">
                  <c:v>45981</c:v>
                </c:pt>
                <c:pt idx="572">
                  <c:v>45982</c:v>
                </c:pt>
                <c:pt idx="573">
                  <c:v>45985</c:v>
                </c:pt>
                <c:pt idx="574">
                  <c:v>45986</c:v>
                </c:pt>
                <c:pt idx="575">
                  <c:v>45987</c:v>
                </c:pt>
                <c:pt idx="576">
                  <c:v>45988</c:v>
                </c:pt>
                <c:pt idx="577">
                  <c:v>45989</c:v>
                </c:pt>
                <c:pt idx="578">
                  <c:v>45992</c:v>
                </c:pt>
                <c:pt idx="579">
                  <c:v>45993</c:v>
                </c:pt>
                <c:pt idx="580">
                  <c:v>45994</c:v>
                </c:pt>
                <c:pt idx="581">
                  <c:v>45995</c:v>
                </c:pt>
                <c:pt idx="582">
                  <c:v>45996</c:v>
                </c:pt>
                <c:pt idx="583">
                  <c:v>45999</c:v>
                </c:pt>
                <c:pt idx="584">
                  <c:v>46000</c:v>
                </c:pt>
                <c:pt idx="585">
                  <c:v>46001</c:v>
                </c:pt>
                <c:pt idx="586">
                  <c:v>46002</c:v>
                </c:pt>
                <c:pt idx="587">
                  <c:v>46003</c:v>
                </c:pt>
                <c:pt idx="588">
                  <c:v>46006</c:v>
                </c:pt>
                <c:pt idx="589">
                  <c:v>46007</c:v>
                </c:pt>
                <c:pt idx="590">
                  <c:v>46008</c:v>
                </c:pt>
                <c:pt idx="591">
                  <c:v>46009</c:v>
                </c:pt>
                <c:pt idx="592">
                  <c:v>46010</c:v>
                </c:pt>
                <c:pt idx="593">
                  <c:v>46013</c:v>
                </c:pt>
                <c:pt idx="594">
                  <c:v>46014</c:v>
                </c:pt>
                <c:pt idx="595">
                  <c:v>46015</c:v>
                </c:pt>
                <c:pt idx="596">
                  <c:v>46016</c:v>
                </c:pt>
                <c:pt idx="597">
                  <c:v>46017</c:v>
                </c:pt>
                <c:pt idx="598">
                  <c:v>46020</c:v>
                </c:pt>
                <c:pt idx="599">
                  <c:v>46021</c:v>
                </c:pt>
                <c:pt idx="600">
                  <c:v>46022</c:v>
                </c:pt>
                <c:pt idx="601">
                  <c:v>46023</c:v>
                </c:pt>
                <c:pt idx="602">
                  <c:v>46024</c:v>
                </c:pt>
                <c:pt idx="603">
                  <c:v>46027</c:v>
                </c:pt>
                <c:pt idx="604">
                  <c:v>46028</c:v>
                </c:pt>
                <c:pt idx="605">
                  <c:v>46029</c:v>
                </c:pt>
                <c:pt idx="606">
                  <c:v>46030</c:v>
                </c:pt>
                <c:pt idx="607">
                  <c:v>46031</c:v>
                </c:pt>
                <c:pt idx="608">
                  <c:v>46034</c:v>
                </c:pt>
                <c:pt idx="609">
                  <c:v>46035</c:v>
                </c:pt>
                <c:pt idx="610">
                  <c:v>46036</c:v>
                </c:pt>
                <c:pt idx="611">
                  <c:v>46037</c:v>
                </c:pt>
                <c:pt idx="612">
                  <c:v>46038</c:v>
                </c:pt>
                <c:pt idx="613">
                  <c:v>46041</c:v>
                </c:pt>
                <c:pt idx="614">
                  <c:v>46042</c:v>
                </c:pt>
                <c:pt idx="615">
                  <c:v>46043</c:v>
                </c:pt>
                <c:pt idx="616">
                  <c:v>46044</c:v>
                </c:pt>
                <c:pt idx="617">
                  <c:v>46045</c:v>
                </c:pt>
                <c:pt idx="618">
                  <c:v>46048</c:v>
                </c:pt>
                <c:pt idx="619">
                  <c:v>46049</c:v>
                </c:pt>
                <c:pt idx="620">
                  <c:v>46050</c:v>
                </c:pt>
                <c:pt idx="621">
                  <c:v>46051</c:v>
                </c:pt>
                <c:pt idx="622">
                  <c:v>46052</c:v>
                </c:pt>
                <c:pt idx="623">
                  <c:v>46055</c:v>
                </c:pt>
                <c:pt idx="624">
                  <c:v>46056</c:v>
                </c:pt>
                <c:pt idx="625">
                  <c:v>46057</c:v>
                </c:pt>
                <c:pt idx="626">
                  <c:v>46058</c:v>
                </c:pt>
                <c:pt idx="627">
                  <c:v>46059</c:v>
                </c:pt>
                <c:pt idx="628">
                  <c:v>46062</c:v>
                </c:pt>
                <c:pt idx="629">
                  <c:v>46063</c:v>
                </c:pt>
                <c:pt idx="630">
                  <c:v>46064</c:v>
                </c:pt>
                <c:pt idx="631">
                  <c:v>46065</c:v>
                </c:pt>
                <c:pt idx="632">
                  <c:v>46066</c:v>
                </c:pt>
                <c:pt idx="633">
                  <c:v>46069</c:v>
                </c:pt>
                <c:pt idx="634">
                  <c:v>46070</c:v>
                </c:pt>
                <c:pt idx="635">
                  <c:v>46071</c:v>
                </c:pt>
                <c:pt idx="636">
                  <c:v>46072</c:v>
                </c:pt>
                <c:pt idx="637">
                  <c:v>46073</c:v>
                </c:pt>
                <c:pt idx="638">
                  <c:v>46076</c:v>
                </c:pt>
                <c:pt idx="639">
                  <c:v>46077</c:v>
                </c:pt>
                <c:pt idx="640">
                  <c:v>46078</c:v>
                </c:pt>
                <c:pt idx="641">
                  <c:v>46079</c:v>
                </c:pt>
                <c:pt idx="642">
                  <c:v>46080</c:v>
                </c:pt>
                <c:pt idx="643">
                  <c:v>46083</c:v>
                </c:pt>
                <c:pt idx="644">
                  <c:v>46084</c:v>
                </c:pt>
                <c:pt idx="645">
                  <c:v>46085</c:v>
                </c:pt>
                <c:pt idx="646">
                  <c:v>46086</c:v>
                </c:pt>
                <c:pt idx="647">
                  <c:v>46087</c:v>
                </c:pt>
                <c:pt idx="648">
                  <c:v>46090</c:v>
                </c:pt>
                <c:pt idx="649">
                  <c:v>46091</c:v>
                </c:pt>
                <c:pt idx="650">
                  <c:v>46092</c:v>
                </c:pt>
                <c:pt idx="651">
                  <c:v>46093</c:v>
                </c:pt>
                <c:pt idx="652">
                  <c:v>46094</c:v>
                </c:pt>
                <c:pt idx="653">
                  <c:v>46097</c:v>
                </c:pt>
                <c:pt idx="654">
                  <c:v>46098</c:v>
                </c:pt>
                <c:pt idx="655">
                  <c:v>46099</c:v>
                </c:pt>
                <c:pt idx="656">
                  <c:v>46100</c:v>
                </c:pt>
                <c:pt idx="657">
                  <c:v>46101</c:v>
                </c:pt>
                <c:pt idx="658">
                  <c:v>46104</c:v>
                </c:pt>
                <c:pt idx="659">
                  <c:v>46105</c:v>
                </c:pt>
                <c:pt idx="660">
                  <c:v>46106</c:v>
                </c:pt>
                <c:pt idx="661">
                  <c:v>46107</c:v>
                </c:pt>
                <c:pt idx="662">
                  <c:v>46108</c:v>
                </c:pt>
                <c:pt idx="663">
                  <c:v>46111</c:v>
                </c:pt>
                <c:pt idx="664">
                  <c:v>46112</c:v>
                </c:pt>
                <c:pt idx="665">
                  <c:v>46113</c:v>
                </c:pt>
                <c:pt idx="666">
                  <c:v>46114</c:v>
                </c:pt>
                <c:pt idx="667">
                  <c:v>46115</c:v>
                </c:pt>
                <c:pt idx="668">
                  <c:v>46118</c:v>
                </c:pt>
                <c:pt idx="669">
                  <c:v>46119</c:v>
                </c:pt>
                <c:pt idx="670">
                  <c:v>46120</c:v>
                </c:pt>
                <c:pt idx="671">
                  <c:v>46121</c:v>
                </c:pt>
                <c:pt idx="672">
                  <c:v>46122</c:v>
                </c:pt>
                <c:pt idx="673">
                  <c:v>46125</c:v>
                </c:pt>
                <c:pt idx="674">
                  <c:v>46126</c:v>
                </c:pt>
                <c:pt idx="675">
                  <c:v>46127</c:v>
                </c:pt>
                <c:pt idx="676">
                  <c:v>46128</c:v>
                </c:pt>
                <c:pt idx="677">
                  <c:v>46129</c:v>
                </c:pt>
                <c:pt idx="678">
                  <c:v>46132</c:v>
                </c:pt>
                <c:pt idx="679">
                  <c:v>46133</c:v>
                </c:pt>
                <c:pt idx="680">
                  <c:v>46134</c:v>
                </c:pt>
                <c:pt idx="681">
                  <c:v>46135</c:v>
                </c:pt>
                <c:pt idx="682">
                  <c:v>46136</c:v>
                </c:pt>
                <c:pt idx="683">
                  <c:v>46139</c:v>
                </c:pt>
                <c:pt idx="684">
                  <c:v>46140</c:v>
                </c:pt>
                <c:pt idx="685">
                  <c:v>46141</c:v>
                </c:pt>
                <c:pt idx="686">
                  <c:v>46142</c:v>
                </c:pt>
                <c:pt idx="687">
                  <c:v>46143</c:v>
                </c:pt>
                <c:pt idx="688">
                  <c:v>46146</c:v>
                </c:pt>
                <c:pt idx="689">
                  <c:v>46147</c:v>
                </c:pt>
                <c:pt idx="690">
                  <c:v>46148</c:v>
                </c:pt>
                <c:pt idx="691">
                  <c:v>46149</c:v>
                </c:pt>
                <c:pt idx="692">
                  <c:v>46150</c:v>
                </c:pt>
                <c:pt idx="693">
                  <c:v>46153</c:v>
                </c:pt>
                <c:pt idx="694">
                  <c:v>46154</c:v>
                </c:pt>
                <c:pt idx="695">
                  <c:v>46155</c:v>
                </c:pt>
                <c:pt idx="696">
                  <c:v>46156</c:v>
                </c:pt>
                <c:pt idx="697">
                  <c:v>46157</c:v>
                </c:pt>
                <c:pt idx="698">
                  <c:v>46160</c:v>
                </c:pt>
                <c:pt idx="699">
                  <c:v>46161</c:v>
                </c:pt>
                <c:pt idx="700">
                  <c:v>46162</c:v>
                </c:pt>
                <c:pt idx="701">
                  <c:v>46163</c:v>
                </c:pt>
                <c:pt idx="702">
                  <c:v>46164</c:v>
                </c:pt>
                <c:pt idx="703">
                  <c:v>46167</c:v>
                </c:pt>
                <c:pt idx="704">
                  <c:v>46168</c:v>
                </c:pt>
                <c:pt idx="705">
                  <c:v>46169</c:v>
                </c:pt>
                <c:pt idx="706">
                  <c:v>46170</c:v>
                </c:pt>
                <c:pt idx="707">
                  <c:v>46171</c:v>
                </c:pt>
                <c:pt idx="708">
                  <c:v>46174</c:v>
                </c:pt>
                <c:pt idx="709">
                  <c:v>46175</c:v>
                </c:pt>
                <c:pt idx="710">
                  <c:v>46176</c:v>
                </c:pt>
                <c:pt idx="711">
                  <c:v>46177</c:v>
                </c:pt>
                <c:pt idx="712">
                  <c:v>46178</c:v>
                </c:pt>
                <c:pt idx="713">
                  <c:v>46181</c:v>
                </c:pt>
                <c:pt idx="714">
                  <c:v>46182</c:v>
                </c:pt>
                <c:pt idx="715">
                  <c:v>46183</c:v>
                </c:pt>
                <c:pt idx="716">
                  <c:v>46184</c:v>
                </c:pt>
                <c:pt idx="717">
                  <c:v>46185</c:v>
                </c:pt>
                <c:pt idx="718">
                  <c:v>46188</c:v>
                </c:pt>
                <c:pt idx="719">
                  <c:v>46189</c:v>
                </c:pt>
                <c:pt idx="720">
                  <c:v>46190</c:v>
                </c:pt>
                <c:pt idx="721">
                  <c:v>46191</c:v>
                </c:pt>
                <c:pt idx="722">
                  <c:v>46192</c:v>
                </c:pt>
                <c:pt idx="723">
                  <c:v>46195</c:v>
                </c:pt>
                <c:pt idx="724">
                  <c:v>46196</c:v>
                </c:pt>
                <c:pt idx="725">
                  <c:v>46197</c:v>
                </c:pt>
                <c:pt idx="726">
                  <c:v>46198</c:v>
                </c:pt>
                <c:pt idx="727">
                  <c:v>46199</c:v>
                </c:pt>
                <c:pt idx="728">
                  <c:v>46202</c:v>
                </c:pt>
                <c:pt idx="729">
                  <c:v>46203</c:v>
                </c:pt>
                <c:pt idx="730">
                  <c:v>46204</c:v>
                </c:pt>
                <c:pt idx="731">
                  <c:v>46205</c:v>
                </c:pt>
                <c:pt idx="732">
                  <c:v>46206</c:v>
                </c:pt>
                <c:pt idx="733">
                  <c:v>46209</c:v>
                </c:pt>
                <c:pt idx="734">
                  <c:v>46210</c:v>
                </c:pt>
                <c:pt idx="735">
                  <c:v>46211</c:v>
                </c:pt>
                <c:pt idx="736">
                  <c:v>46212</c:v>
                </c:pt>
                <c:pt idx="737">
                  <c:v>46213</c:v>
                </c:pt>
                <c:pt idx="738">
                  <c:v>46216</c:v>
                </c:pt>
                <c:pt idx="739">
                  <c:v>46217</c:v>
                </c:pt>
                <c:pt idx="740">
                  <c:v>46218</c:v>
                </c:pt>
                <c:pt idx="741">
                  <c:v>46219</c:v>
                </c:pt>
                <c:pt idx="742">
                  <c:v>46220</c:v>
                </c:pt>
                <c:pt idx="743">
                  <c:v>46223</c:v>
                </c:pt>
                <c:pt idx="744">
                  <c:v>46224</c:v>
                </c:pt>
                <c:pt idx="745">
                  <c:v>46225</c:v>
                </c:pt>
                <c:pt idx="746">
                  <c:v>46226</c:v>
                </c:pt>
                <c:pt idx="747">
                  <c:v>46227</c:v>
                </c:pt>
                <c:pt idx="748">
                  <c:v>46230</c:v>
                </c:pt>
                <c:pt idx="749">
                  <c:v>46231</c:v>
                </c:pt>
                <c:pt idx="750">
                  <c:v>46232</c:v>
                </c:pt>
                <c:pt idx="751">
                  <c:v>46233</c:v>
                </c:pt>
                <c:pt idx="752">
                  <c:v>46234</c:v>
                </c:pt>
                <c:pt idx="753">
                  <c:v>46237</c:v>
                </c:pt>
                <c:pt idx="754">
                  <c:v>46238</c:v>
                </c:pt>
                <c:pt idx="755">
                  <c:v>46239</c:v>
                </c:pt>
                <c:pt idx="756">
                  <c:v>46240</c:v>
                </c:pt>
                <c:pt idx="757">
                  <c:v>46241</c:v>
                </c:pt>
                <c:pt idx="758">
                  <c:v>46244</c:v>
                </c:pt>
                <c:pt idx="759">
                  <c:v>46245</c:v>
                </c:pt>
                <c:pt idx="760">
                  <c:v>46246</c:v>
                </c:pt>
                <c:pt idx="761">
                  <c:v>46247</c:v>
                </c:pt>
                <c:pt idx="762">
                  <c:v>46248</c:v>
                </c:pt>
                <c:pt idx="763">
                  <c:v>46251</c:v>
                </c:pt>
                <c:pt idx="764">
                  <c:v>46252</c:v>
                </c:pt>
                <c:pt idx="765">
                  <c:v>46253</c:v>
                </c:pt>
                <c:pt idx="766">
                  <c:v>46254</c:v>
                </c:pt>
                <c:pt idx="767">
                  <c:v>46255</c:v>
                </c:pt>
                <c:pt idx="768">
                  <c:v>46258</c:v>
                </c:pt>
                <c:pt idx="769">
                  <c:v>46259</c:v>
                </c:pt>
                <c:pt idx="770">
                  <c:v>46260</c:v>
                </c:pt>
                <c:pt idx="771">
                  <c:v>46261</c:v>
                </c:pt>
                <c:pt idx="772">
                  <c:v>46262</c:v>
                </c:pt>
                <c:pt idx="773">
                  <c:v>46265</c:v>
                </c:pt>
                <c:pt idx="774">
                  <c:v>46266</c:v>
                </c:pt>
                <c:pt idx="775">
                  <c:v>46267</c:v>
                </c:pt>
                <c:pt idx="776">
                  <c:v>46268</c:v>
                </c:pt>
                <c:pt idx="777">
                  <c:v>46269</c:v>
                </c:pt>
                <c:pt idx="778">
                  <c:v>46272</c:v>
                </c:pt>
                <c:pt idx="779">
                  <c:v>46273</c:v>
                </c:pt>
                <c:pt idx="780">
                  <c:v>46274</c:v>
                </c:pt>
                <c:pt idx="781">
                  <c:v>46275</c:v>
                </c:pt>
                <c:pt idx="782">
                  <c:v>46276</c:v>
                </c:pt>
                <c:pt idx="783">
                  <c:v>46279</c:v>
                </c:pt>
                <c:pt idx="784">
                  <c:v>46280</c:v>
                </c:pt>
                <c:pt idx="785">
                  <c:v>46281</c:v>
                </c:pt>
                <c:pt idx="786">
                  <c:v>46282</c:v>
                </c:pt>
                <c:pt idx="787">
                  <c:v>46283</c:v>
                </c:pt>
                <c:pt idx="788">
                  <c:v>46286</c:v>
                </c:pt>
                <c:pt idx="789">
                  <c:v>46287</c:v>
                </c:pt>
                <c:pt idx="790">
                  <c:v>46288</c:v>
                </c:pt>
                <c:pt idx="791">
                  <c:v>46289</c:v>
                </c:pt>
                <c:pt idx="792">
                  <c:v>46290</c:v>
                </c:pt>
                <c:pt idx="793">
                  <c:v>46293</c:v>
                </c:pt>
                <c:pt idx="794">
                  <c:v>46294</c:v>
                </c:pt>
                <c:pt idx="795">
                  <c:v>46295</c:v>
                </c:pt>
                <c:pt idx="796">
                  <c:v>46296</c:v>
                </c:pt>
                <c:pt idx="797">
                  <c:v>46297</c:v>
                </c:pt>
                <c:pt idx="798">
                  <c:v>46300</c:v>
                </c:pt>
                <c:pt idx="799">
                  <c:v>46301</c:v>
                </c:pt>
                <c:pt idx="800">
                  <c:v>46302</c:v>
                </c:pt>
                <c:pt idx="801">
                  <c:v>46303</c:v>
                </c:pt>
                <c:pt idx="802">
                  <c:v>46304</c:v>
                </c:pt>
                <c:pt idx="803">
                  <c:v>46307</c:v>
                </c:pt>
                <c:pt idx="804">
                  <c:v>46308</c:v>
                </c:pt>
                <c:pt idx="805">
                  <c:v>46309</c:v>
                </c:pt>
                <c:pt idx="806">
                  <c:v>46310</c:v>
                </c:pt>
                <c:pt idx="807">
                  <c:v>46311</c:v>
                </c:pt>
                <c:pt idx="808">
                  <c:v>46314</c:v>
                </c:pt>
                <c:pt idx="809">
                  <c:v>46315</c:v>
                </c:pt>
                <c:pt idx="810">
                  <c:v>46316</c:v>
                </c:pt>
                <c:pt idx="811">
                  <c:v>46317</c:v>
                </c:pt>
                <c:pt idx="812">
                  <c:v>46318</c:v>
                </c:pt>
                <c:pt idx="813">
                  <c:v>46321</c:v>
                </c:pt>
                <c:pt idx="814">
                  <c:v>46322</c:v>
                </c:pt>
                <c:pt idx="815">
                  <c:v>46323</c:v>
                </c:pt>
                <c:pt idx="816">
                  <c:v>46324</c:v>
                </c:pt>
                <c:pt idx="817">
                  <c:v>46325</c:v>
                </c:pt>
                <c:pt idx="818">
                  <c:v>46328</c:v>
                </c:pt>
                <c:pt idx="819">
                  <c:v>46329</c:v>
                </c:pt>
                <c:pt idx="820">
                  <c:v>46330</c:v>
                </c:pt>
                <c:pt idx="821">
                  <c:v>46331</c:v>
                </c:pt>
                <c:pt idx="822">
                  <c:v>46332</c:v>
                </c:pt>
                <c:pt idx="823">
                  <c:v>46335</c:v>
                </c:pt>
                <c:pt idx="824">
                  <c:v>46336</c:v>
                </c:pt>
                <c:pt idx="825">
                  <c:v>46337</c:v>
                </c:pt>
                <c:pt idx="826">
                  <c:v>46338</c:v>
                </c:pt>
                <c:pt idx="827">
                  <c:v>46339</c:v>
                </c:pt>
                <c:pt idx="828">
                  <c:v>46342</c:v>
                </c:pt>
                <c:pt idx="829">
                  <c:v>46343</c:v>
                </c:pt>
                <c:pt idx="830">
                  <c:v>46344</c:v>
                </c:pt>
                <c:pt idx="831">
                  <c:v>46345</c:v>
                </c:pt>
                <c:pt idx="832">
                  <c:v>46346</c:v>
                </c:pt>
                <c:pt idx="833">
                  <c:v>46349</c:v>
                </c:pt>
                <c:pt idx="834">
                  <c:v>46350</c:v>
                </c:pt>
                <c:pt idx="835">
                  <c:v>46351</c:v>
                </c:pt>
                <c:pt idx="836">
                  <c:v>46352</c:v>
                </c:pt>
                <c:pt idx="837">
                  <c:v>46353</c:v>
                </c:pt>
                <c:pt idx="838">
                  <c:v>46356</c:v>
                </c:pt>
                <c:pt idx="839">
                  <c:v>46357</c:v>
                </c:pt>
                <c:pt idx="840">
                  <c:v>46358</c:v>
                </c:pt>
                <c:pt idx="841">
                  <c:v>46359</c:v>
                </c:pt>
                <c:pt idx="842">
                  <c:v>46360</c:v>
                </c:pt>
                <c:pt idx="843">
                  <c:v>46363</c:v>
                </c:pt>
                <c:pt idx="844">
                  <c:v>46364</c:v>
                </c:pt>
                <c:pt idx="845">
                  <c:v>46365</c:v>
                </c:pt>
                <c:pt idx="846">
                  <c:v>46366</c:v>
                </c:pt>
                <c:pt idx="847">
                  <c:v>46367</c:v>
                </c:pt>
                <c:pt idx="848">
                  <c:v>46370</c:v>
                </c:pt>
                <c:pt idx="849">
                  <c:v>46371</c:v>
                </c:pt>
                <c:pt idx="850">
                  <c:v>46372</c:v>
                </c:pt>
                <c:pt idx="851">
                  <c:v>46373</c:v>
                </c:pt>
                <c:pt idx="852">
                  <c:v>46374</c:v>
                </c:pt>
                <c:pt idx="853">
                  <c:v>46377</c:v>
                </c:pt>
                <c:pt idx="854">
                  <c:v>46378</c:v>
                </c:pt>
                <c:pt idx="855">
                  <c:v>46379</c:v>
                </c:pt>
                <c:pt idx="856">
                  <c:v>46380</c:v>
                </c:pt>
                <c:pt idx="857">
                  <c:v>46381</c:v>
                </c:pt>
                <c:pt idx="858">
                  <c:v>46384</c:v>
                </c:pt>
                <c:pt idx="859">
                  <c:v>46385</c:v>
                </c:pt>
                <c:pt idx="860">
                  <c:v>46386</c:v>
                </c:pt>
                <c:pt idx="861">
                  <c:v>46387</c:v>
                </c:pt>
                <c:pt idx="862">
                  <c:v>46388</c:v>
                </c:pt>
                <c:pt idx="863">
                  <c:v>46391</c:v>
                </c:pt>
                <c:pt idx="864">
                  <c:v>46392</c:v>
                </c:pt>
                <c:pt idx="865">
                  <c:v>46393</c:v>
                </c:pt>
                <c:pt idx="866">
                  <c:v>46394</c:v>
                </c:pt>
                <c:pt idx="867">
                  <c:v>46395</c:v>
                </c:pt>
                <c:pt idx="868">
                  <c:v>46398</c:v>
                </c:pt>
                <c:pt idx="869">
                  <c:v>46399</c:v>
                </c:pt>
                <c:pt idx="870">
                  <c:v>46400</c:v>
                </c:pt>
                <c:pt idx="871">
                  <c:v>46401</c:v>
                </c:pt>
                <c:pt idx="872">
                  <c:v>46402</c:v>
                </c:pt>
                <c:pt idx="873">
                  <c:v>46405</c:v>
                </c:pt>
                <c:pt idx="874">
                  <c:v>46406</c:v>
                </c:pt>
                <c:pt idx="875">
                  <c:v>46407</c:v>
                </c:pt>
                <c:pt idx="876">
                  <c:v>46408</c:v>
                </c:pt>
                <c:pt idx="877">
                  <c:v>46409</c:v>
                </c:pt>
                <c:pt idx="878">
                  <c:v>46412</c:v>
                </c:pt>
                <c:pt idx="879">
                  <c:v>46413</c:v>
                </c:pt>
                <c:pt idx="880">
                  <c:v>46414</c:v>
                </c:pt>
                <c:pt idx="881">
                  <c:v>46415</c:v>
                </c:pt>
                <c:pt idx="882">
                  <c:v>46416</c:v>
                </c:pt>
                <c:pt idx="883">
                  <c:v>46419</c:v>
                </c:pt>
                <c:pt idx="884">
                  <c:v>46420</c:v>
                </c:pt>
                <c:pt idx="885">
                  <c:v>46421</c:v>
                </c:pt>
                <c:pt idx="886">
                  <c:v>46422</c:v>
                </c:pt>
                <c:pt idx="887">
                  <c:v>46423</c:v>
                </c:pt>
                <c:pt idx="888">
                  <c:v>46426</c:v>
                </c:pt>
                <c:pt idx="889">
                  <c:v>46427</c:v>
                </c:pt>
                <c:pt idx="890">
                  <c:v>46428</c:v>
                </c:pt>
                <c:pt idx="891">
                  <c:v>46429</c:v>
                </c:pt>
                <c:pt idx="892">
                  <c:v>46430</c:v>
                </c:pt>
                <c:pt idx="893">
                  <c:v>46433</c:v>
                </c:pt>
                <c:pt idx="894">
                  <c:v>46434</c:v>
                </c:pt>
                <c:pt idx="895">
                  <c:v>46435</c:v>
                </c:pt>
                <c:pt idx="896">
                  <c:v>46436</c:v>
                </c:pt>
                <c:pt idx="897">
                  <c:v>46437</c:v>
                </c:pt>
                <c:pt idx="898">
                  <c:v>46440</c:v>
                </c:pt>
                <c:pt idx="899">
                  <c:v>46441</c:v>
                </c:pt>
                <c:pt idx="900">
                  <c:v>46442</c:v>
                </c:pt>
                <c:pt idx="901">
                  <c:v>46443</c:v>
                </c:pt>
                <c:pt idx="902">
                  <c:v>46444</c:v>
                </c:pt>
                <c:pt idx="903">
                  <c:v>46447</c:v>
                </c:pt>
                <c:pt idx="904">
                  <c:v>46448</c:v>
                </c:pt>
                <c:pt idx="905">
                  <c:v>46449</c:v>
                </c:pt>
                <c:pt idx="906">
                  <c:v>46450</c:v>
                </c:pt>
                <c:pt idx="907">
                  <c:v>46451</c:v>
                </c:pt>
                <c:pt idx="908">
                  <c:v>46454</c:v>
                </c:pt>
                <c:pt idx="909">
                  <c:v>46455</c:v>
                </c:pt>
                <c:pt idx="910">
                  <c:v>46456</c:v>
                </c:pt>
                <c:pt idx="911">
                  <c:v>46457</c:v>
                </c:pt>
                <c:pt idx="912">
                  <c:v>46458</c:v>
                </c:pt>
                <c:pt idx="913">
                  <c:v>46461</c:v>
                </c:pt>
                <c:pt idx="914">
                  <c:v>46462</c:v>
                </c:pt>
                <c:pt idx="915">
                  <c:v>46463</c:v>
                </c:pt>
                <c:pt idx="916">
                  <c:v>46464</c:v>
                </c:pt>
                <c:pt idx="917">
                  <c:v>46465</c:v>
                </c:pt>
                <c:pt idx="918">
                  <c:v>46468</c:v>
                </c:pt>
                <c:pt idx="919">
                  <c:v>46469</c:v>
                </c:pt>
                <c:pt idx="920">
                  <c:v>46470</c:v>
                </c:pt>
                <c:pt idx="921">
                  <c:v>46471</c:v>
                </c:pt>
                <c:pt idx="922">
                  <c:v>46472</c:v>
                </c:pt>
                <c:pt idx="923">
                  <c:v>46475</c:v>
                </c:pt>
                <c:pt idx="924">
                  <c:v>46476</c:v>
                </c:pt>
                <c:pt idx="925">
                  <c:v>46477</c:v>
                </c:pt>
                <c:pt idx="926">
                  <c:v>46478</c:v>
                </c:pt>
                <c:pt idx="927">
                  <c:v>46479</c:v>
                </c:pt>
                <c:pt idx="928">
                  <c:v>46482</c:v>
                </c:pt>
                <c:pt idx="929">
                  <c:v>46483</c:v>
                </c:pt>
                <c:pt idx="930">
                  <c:v>46484</c:v>
                </c:pt>
                <c:pt idx="931">
                  <c:v>46485</c:v>
                </c:pt>
                <c:pt idx="932">
                  <c:v>46486</c:v>
                </c:pt>
                <c:pt idx="933">
                  <c:v>46489</c:v>
                </c:pt>
                <c:pt idx="934">
                  <c:v>46490</c:v>
                </c:pt>
                <c:pt idx="935">
                  <c:v>46491</c:v>
                </c:pt>
                <c:pt idx="936">
                  <c:v>46492</c:v>
                </c:pt>
                <c:pt idx="937">
                  <c:v>46493</c:v>
                </c:pt>
                <c:pt idx="938">
                  <c:v>46496</c:v>
                </c:pt>
                <c:pt idx="939">
                  <c:v>46497</c:v>
                </c:pt>
                <c:pt idx="940">
                  <c:v>46498</c:v>
                </c:pt>
                <c:pt idx="941">
                  <c:v>46499</c:v>
                </c:pt>
                <c:pt idx="942">
                  <c:v>46500</c:v>
                </c:pt>
                <c:pt idx="943">
                  <c:v>46503</c:v>
                </c:pt>
                <c:pt idx="944">
                  <c:v>46504</c:v>
                </c:pt>
                <c:pt idx="945">
                  <c:v>46505</c:v>
                </c:pt>
                <c:pt idx="946">
                  <c:v>46506</c:v>
                </c:pt>
                <c:pt idx="947">
                  <c:v>46507</c:v>
                </c:pt>
                <c:pt idx="948">
                  <c:v>46510</c:v>
                </c:pt>
                <c:pt idx="949">
                  <c:v>46511</c:v>
                </c:pt>
                <c:pt idx="950">
                  <c:v>46512</c:v>
                </c:pt>
                <c:pt idx="951">
                  <c:v>46513</c:v>
                </c:pt>
                <c:pt idx="952">
                  <c:v>46514</c:v>
                </c:pt>
                <c:pt idx="953">
                  <c:v>46517</c:v>
                </c:pt>
                <c:pt idx="954">
                  <c:v>46518</c:v>
                </c:pt>
                <c:pt idx="955">
                  <c:v>46519</c:v>
                </c:pt>
                <c:pt idx="956">
                  <c:v>46520</c:v>
                </c:pt>
                <c:pt idx="957">
                  <c:v>46521</c:v>
                </c:pt>
                <c:pt idx="958">
                  <c:v>46524</c:v>
                </c:pt>
                <c:pt idx="959">
                  <c:v>46525</c:v>
                </c:pt>
                <c:pt idx="960">
                  <c:v>46526</c:v>
                </c:pt>
                <c:pt idx="961">
                  <c:v>46527</c:v>
                </c:pt>
                <c:pt idx="962">
                  <c:v>46528</c:v>
                </c:pt>
                <c:pt idx="963">
                  <c:v>46531</c:v>
                </c:pt>
                <c:pt idx="964">
                  <c:v>46532</c:v>
                </c:pt>
                <c:pt idx="965">
                  <c:v>46533</c:v>
                </c:pt>
                <c:pt idx="966">
                  <c:v>46534</c:v>
                </c:pt>
                <c:pt idx="967">
                  <c:v>46535</c:v>
                </c:pt>
                <c:pt idx="968">
                  <c:v>46538</c:v>
                </c:pt>
                <c:pt idx="969">
                  <c:v>46539</c:v>
                </c:pt>
                <c:pt idx="970">
                  <c:v>46540</c:v>
                </c:pt>
                <c:pt idx="971">
                  <c:v>46541</c:v>
                </c:pt>
                <c:pt idx="972">
                  <c:v>46542</c:v>
                </c:pt>
                <c:pt idx="973">
                  <c:v>46545</c:v>
                </c:pt>
                <c:pt idx="974">
                  <c:v>46546</c:v>
                </c:pt>
                <c:pt idx="975">
                  <c:v>46547</c:v>
                </c:pt>
                <c:pt idx="976">
                  <c:v>46548</c:v>
                </c:pt>
                <c:pt idx="977">
                  <c:v>46549</c:v>
                </c:pt>
                <c:pt idx="978">
                  <c:v>46552</c:v>
                </c:pt>
                <c:pt idx="979">
                  <c:v>46553</c:v>
                </c:pt>
                <c:pt idx="980">
                  <c:v>46554</c:v>
                </c:pt>
                <c:pt idx="981">
                  <c:v>46555</c:v>
                </c:pt>
                <c:pt idx="982">
                  <c:v>46556</c:v>
                </c:pt>
                <c:pt idx="983">
                  <c:v>46559</c:v>
                </c:pt>
                <c:pt idx="984">
                  <c:v>46560</c:v>
                </c:pt>
                <c:pt idx="985">
                  <c:v>46561</c:v>
                </c:pt>
                <c:pt idx="986">
                  <c:v>46562</c:v>
                </c:pt>
                <c:pt idx="987">
                  <c:v>46563</c:v>
                </c:pt>
                <c:pt idx="988">
                  <c:v>46566</c:v>
                </c:pt>
                <c:pt idx="989">
                  <c:v>46567</c:v>
                </c:pt>
                <c:pt idx="990">
                  <c:v>46568</c:v>
                </c:pt>
                <c:pt idx="991">
                  <c:v>46569</c:v>
                </c:pt>
                <c:pt idx="992">
                  <c:v>46570</c:v>
                </c:pt>
                <c:pt idx="993">
                  <c:v>46573</c:v>
                </c:pt>
                <c:pt idx="994">
                  <c:v>46574</c:v>
                </c:pt>
                <c:pt idx="995">
                  <c:v>46575</c:v>
                </c:pt>
                <c:pt idx="996">
                  <c:v>46576</c:v>
                </c:pt>
                <c:pt idx="997">
                  <c:v>46577</c:v>
                </c:pt>
                <c:pt idx="998">
                  <c:v>46580</c:v>
                </c:pt>
              </c:numCache>
            </c:numRef>
          </c:cat>
          <c:val>
            <c:numRef>
              <c:f>Daily!$C$2:$C$1057</c:f>
            </c:numRef>
          </c:val>
          <c:smooth val="1"/>
          <c:extLst>
            <c:ext xmlns:c16="http://schemas.microsoft.com/office/drawing/2014/chart" uri="{C3380CC4-5D6E-409C-BE32-E72D297353CC}">
              <c16:uniqueId val="{00000008-094D-4E29-B010-D717A2A1A293}"/>
            </c:ext>
          </c:extLst>
        </c:ser>
        <c:ser>
          <c:idx val="2"/>
          <c:order val="2"/>
          <c:tx>
            <c:strRef>
              <c:f>Daily!$D$1</c:f>
              <c:strCache>
                <c:ptCount val="1"/>
                <c:pt idx="0">
                  <c:v>M+2</c:v>
                </c:pt>
              </c:strCache>
            </c:strRef>
          </c:tx>
          <c:spPr>
            <a:ln w="28575" cap="rnd" cmpd="sng" algn="ctr">
              <a:solidFill>
                <a:schemeClr val="accent3">
                  <a:shade val="95000"/>
                  <a:satMod val="105000"/>
                </a:schemeClr>
              </a:solidFill>
              <a:prstDash val="solid"/>
              <a:round/>
            </a:ln>
            <a:effectLst/>
          </c:spPr>
          <c:marker>
            <c:symbol val="none"/>
          </c:marker>
          <c:cat>
            <c:numRef>
              <c:f>Daily!$A$2:$A$1000</c:f>
              <c:numCache>
                <c:formatCode>d\-mmm\-yy</c:formatCode>
                <c:ptCount val="999"/>
                <c:pt idx="0">
                  <c:v>45128</c:v>
                </c:pt>
                <c:pt idx="1">
                  <c:v>45131</c:v>
                </c:pt>
                <c:pt idx="2">
                  <c:v>45132</c:v>
                </c:pt>
                <c:pt idx="3">
                  <c:v>45133</c:v>
                </c:pt>
                <c:pt idx="4">
                  <c:v>45134</c:v>
                </c:pt>
                <c:pt idx="5">
                  <c:v>45135</c:v>
                </c:pt>
                <c:pt idx="6">
                  <c:v>45138</c:v>
                </c:pt>
                <c:pt idx="7">
                  <c:v>45139</c:v>
                </c:pt>
                <c:pt idx="8">
                  <c:v>45140</c:v>
                </c:pt>
                <c:pt idx="9">
                  <c:v>45141</c:v>
                </c:pt>
                <c:pt idx="10">
                  <c:v>45142</c:v>
                </c:pt>
                <c:pt idx="11">
                  <c:v>45145</c:v>
                </c:pt>
                <c:pt idx="12">
                  <c:v>45146</c:v>
                </c:pt>
                <c:pt idx="13">
                  <c:v>45147</c:v>
                </c:pt>
                <c:pt idx="14">
                  <c:v>45148</c:v>
                </c:pt>
                <c:pt idx="15">
                  <c:v>45149</c:v>
                </c:pt>
                <c:pt idx="16">
                  <c:v>45152</c:v>
                </c:pt>
                <c:pt idx="17">
                  <c:v>45153</c:v>
                </c:pt>
                <c:pt idx="18">
                  <c:v>45154</c:v>
                </c:pt>
                <c:pt idx="19">
                  <c:v>45155</c:v>
                </c:pt>
                <c:pt idx="20">
                  <c:v>45156</c:v>
                </c:pt>
                <c:pt idx="21">
                  <c:v>45159</c:v>
                </c:pt>
                <c:pt idx="22">
                  <c:v>45160</c:v>
                </c:pt>
                <c:pt idx="23">
                  <c:v>45161</c:v>
                </c:pt>
                <c:pt idx="24">
                  <c:v>45162</c:v>
                </c:pt>
                <c:pt idx="25">
                  <c:v>45163</c:v>
                </c:pt>
                <c:pt idx="26">
                  <c:v>45166</c:v>
                </c:pt>
                <c:pt idx="27">
                  <c:v>45167</c:v>
                </c:pt>
                <c:pt idx="28">
                  <c:v>45168</c:v>
                </c:pt>
                <c:pt idx="29">
                  <c:v>45169</c:v>
                </c:pt>
                <c:pt idx="30">
                  <c:v>45170</c:v>
                </c:pt>
                <c:pt idx="31">
                  <c:v>45173</c:v>
                </c:pt>
                <c:pt idx="32">
                  <c:v>45174</c:v>
                </c:pt>
                <c:pt idx="33">
                  <c:v>45175</c:v>
                </c:pt>
                <c:pt idx="34">
                  <c:v>45176</c:v>
                </c:pt>
                <c:pt idx="35">
                  <c:v>45177</c:v>
                </c:pt>
                <c:pt idx="36">
                  <c:v>45180</c:v>
                </c:pt>
                <c:pt idx="37">
                  <c:v>45181</c:v>
                </c:pt>
                <c:pt idx="38">
                  <c:v>45182</c:v>
                </c:pt>
                <c:pt idx="39">
                  <c:v>45183</c:v>
                </c:pt>
                <c:pt idx="40">
                  <c:v>45184</c:v>
                </c:pt>
                <c:pt idx="41">
                  <c:v>45187</c:v>
                </c:pt>
                <c:pt idx="42">
                  <c:v>45188</c:v>
                </c:pt>
                <c:pt idx="43">
                  <c:v>45189</c:v>
                </c:pt>
                <c:pt idx="44">
                  <c:v>45190</c:v>
                </c:pt>
                <c:pt idx="45">
                  <c:v>45191</c:v>
                </c:pt>
                <c:pt idx="46">
                  <c:v>45194</c:v>
                </c:pt>
                <c:pt idx="47">
                  <c:v>45195</c:v>
                </c:pt>
                <c:pt idx="48">
                  <c:v>45196</c:v>
                </c:pt>
                <c:pt idx="49">
                  <c:v>45197</c:v>
                </c:pt>
                <c:pt idx="50">
                  <c:v>45208</c:v>
                </c:pt>
                <c:pt idx="51">
                  <c:v>45209</c:v>
                </c:pt>
                <c:pt idx="52">
                  <c:v>45210</c:v>
                </c:pt>
                <c:pt idx="53">
                  <c:v>45211</c:v>
                </c:pt>
                <c:pt idx="54">
                  <c:v>45212</c:v>
                </c:pt>
                <c:pt idx="55">
                  <c:v>45215</c:v>
                </c:pt>
                <c:pt idx="56">
                  <c:v>45216</c:v>
                </c:pt>
                <c:pt idx="57">
                  <c:v>45217</c:v>
                </c:pt>
                <c:pt idx="58">
                  <c:v>45218</c:v>
                </c:pt>
                <c:pt idx="59">
                  <c:v>45219</c:v>
                </c:pt>
                <c:pt idx="60">
                  <c:v>45222</c:v>
                </c:pt>
                <c:pt idx="61">
                  <c:v>45223</c:v>
                </c:pt>
                <c:pt idx="62">
                  <c:v>45224</c:v>
                </c:pt>
                <c:pt idx="63">
                  <c:v>45225</c:v>
                </c:pt>
                <c:pt idx="64">
                  <c:v>45226</c:v>
                </c:pt>
                <c:pt idx="65">
                  <c:v>45229</c:v>
                </c:pt>
                <c:pt idx="66">
                  <c:v>45230</c:v>
                </c:pt>
                <c:pt idx="67">
                  <c:v>45231</c:v>
                </c:pt>
                <c:pt idx="68">
                  <c:v>45232</c:v>
                </c:pt>
                <c:pt idx="69">
                  <c:v>45233</c:v>
                </c:pt>
                <c:pt idx="70">
                  <c:v>45236</c:v>
                </c:pt>
                <c:pt idx="71">
                  <c:v>45237</c:v>
                </c:pt>
                <c:pt idx="72">
                  <c:v>45238</c:v>
                </c:pt>
                <c:pt idx="73">
                  <c:v>45239</c:v>
                </c:pt>
                <c:pt idx="74">
                  <c:v>45240</c:v>
                </c:pt>
                <c:pt idx="75">
                  <c:v>45243</c:v>
                </c:pt>
                <c:pt idx="76">
                  <c:v>45244</c:v>
                </c:pt>
                <c:pt idx="77">
                  <c:v>45245</c:v>
                </c:pt>
                <c:pt idx="78">
                  <c:v>45246</c:v>
                </c:pt>
                <c:pt idx="79">
                  <c:v>45247</c:v>
                </c:pt>
                <c:pt idx="80">
                  <c:v>45250</c:v>
                </c:pt>
                <c:pt idx="81">
                  <c:v>45251</c:v>
                </c:pt>
                <c:pt idx="82">
                  <c:v>45252</c:v>
                </c:pt>
                <c:pt idx="83">
                  <c:v>45253</c:v>
                </c:pt>
                <c:pt idx="84">
                  <c:v>45254</c:v>
                </c:pt>
                <c:pt idx="85">
                  <c:v>45257</c:v>
                </c:pt>
                <c:pt idx="86">
                  <c:v>45258</c:v>
                </c:pt>
                <c:pt idx="87">
                  <c:v>45259</c:v>
                </c:pt>
                <c:pt idx="88">
                  <c:v>45260</c:v>
                </c:pt>
                <c:pt idx="89">
                  <c:v>45261</c:v>
                </c:pt>
                <c:pt idx="90">
                  <c:v>45264</c:v>
                </c:pt>
                <c:pt idx="91">
                  <c:v>45265</c:v>
                </c:pt>
                <c:pt idx="92">
                  <c:v>45266</c:v>
                </c:pt>
                <c:pt idx="93">
                  <c:v>45267</c:v>
                </c:pt>
                <c:pt idx="94">
                  <c:v>45268</c:v>
                </c:pt>
                <c:pt idx="95">
                  <c:v>45271</c:v>
                </c:pt>
                <c:pt idx="96">
                  <c:v>45272</c:v>
                </c:pt>
                <c:pt idx="97">
                  <c:v>45273</c:v>
                </c:pt>
                <c:pt idx="98">
                  <c:v>45274</c:v>
                </c:pt>
                <c:pt idx="99">
                  <c:v>45275</c:v>
                </c:pt>
                <c:pt idx="100">
                  <c:v>45278</c:v>
                </c:pt>
                <c:pt idx="101">
                  <c:v>45279</c:v>
                </c:pt>
                <c:pt idx="102">
                  <c:v>45280</c:v>
                </c:pt>
                <c:pt idx="103">
                  <c:v>45281</c:v>
                </c:pt>
                <c:pt idx="104">
                  <c:v>45282</c:v>
                </c:pt>
                <c:pt idx="105">
                  <c:v>45285</c:v>
                </c:pt>
                <c:pt idx="106">
                  <c:v>45286</c:v>
                </c:pt>
                <c:pt idx="107">
                  <c:v>45287</c:v>
                </c:pt>
                <c:pt idx="108">
                  <c:v>45288</c:v>
                </c:pt>
                <c:pt idx="109">
                  <c:v>45289</c:v>
                </c:pt>
                <c:pt idx="110">
                  <c:v>45293</c:v>
                </c:pt>
                <c:pt idx="111">
                  <c:v>45294</c:v>
                </c:pt>
                <c:pt idx="112">
                  <c:v>45295</c:v>
                </c:pt>
                <c:pt idx="113">
                  <c:v>45296</c:v>
                </c:pt>
                <c:pt idx="114">
                  <c:v>45299</c:v>
                </c:pt>
                <c:pt idx="115">
                  <c:v>45300</c:v>
                </c:pt>
                <c:pt idx="116">
                  <c:v>45301</c:v>
                </c:pt>
                <c:pt idx="117">
                  <c:v>45302</c:v>
                </c:pt>
                <c:pt idx="118">
                  <c:v>45303</c:v>
                </c:pt>
                <c:pt idx="119">
                  <c:v>45306</c:v>
                </c:pt>
                <c:pt idx="120">
                  <c:v>45307</c:v>
                </c:pt>
                <c:pt idx="121">
                  <c:v>45308</c:v>
                </c:pt>
                <c:pt idx="122">
                  <c:v>45309</c:v>
                </c:pt>
                <c:pt idx="123">
                  <c:v>45310</c:v>
                </c:pt>
                <c:pt idx="124">
                  <c:v>45313</c:v>
                </c:pt>
                <c:pt idx="125">
                  <c:v>45314</c:v>
                </c:pt>
                <c:pt idx="126">
                  <c:v>45315</c:v>
                </c:pt>
                <c:pt idx="127">
                  <c:v>45316</c:v>
                </c:pt>
                <c:pt idx="128">
                  <c:v>45317</c:v>
                </c:pt>
                <c:pt idx="129">
                  <c:v>45320</c:v>
                </c:pt>
                <c:pt idx="130">
                  <c:v>45321</c:v>
                </c:pt>
                <c:pt idx="131">
                  <c:v>45322</c:v>
                </c:pt>
                <c:pt idx="132">
                  <c:v>45323</c:v>
                </c:pt>
                <c:pt idx="133">
                  <c:v>45324</c:v>
                </c:pt>
                <c:pt idx="134">
                  <c:v>45327</c:v>
                </c:pt>
                <c:pt idx="135">
                  <c:v>45328</c:v>
                </c:pt>
                <c:pt idx="136">
                  <c:v>45329</c:v>
                </c:pt>
                <c:pt idx="137">
                  <c:v>45330</c:v>
                </c:pt>
                <c:pt idx="138">
                  <c:v>45341</c:v>
                </c:pt>
                <c:pt idx="139">
                  <c:v>45342</c:v>
                </c:pt>
                <c:pt idx="140">
                  <c:v>45343</c:v>
                </c:pt>
                <c:pt idx="141">
                  <c:v>45344</c:v>
                </c:pt>
                <c:pt idx="142">
                  <c:v>45345</c:v>
                </c:pt>
                <c:pt idx="143">
                  <c:v>45348</c:v>
                </c:pt>
                <c:pt idx="144">
                  <c:v>45349</c:v>
                </c:pt>
                <c:pt idx="145">
                  <c:v>45350</c:v>
                </c:pt>
                <c:pt idx="146">
                  <c:v>45351</c:v>
                </c:pt>
                <c:pt idx="147">
                  <c:v>45352</c:v>
                </c:pt>
                <c:pt idx="148">
                  <c:v>45355</c:v>
                </c:pt>
                <c:pt idx="149">
                  <c:v>45356</c:v>
                </c:pt>
                <c:pt idx="150">
                  <c:v>45357</c:v>
                </c:pt>
                <c:pt idx="151">
                  <c:v>45358</c:v>
                </c:pt>
                <c:pt idx="152">
                  <c:v>45359</c:v>
                </c:pt>
                <c:pt idx="153">
                  <c:v>45362</c:v>
                </c:pt>
                <c:pt idx="154">
                  <c:v>45363</c:v>
                </c:pt>
                <c:pt idx="155">
                  <c:v>45364</c:v>
                </c:pt>
                <c:pt idx="156">
                  <c:v>45365</c:v>
                </c:pt>
                <c:pt idx="157">
                  <c:v>45366</c:v>
                </c:pt>
                <c:pt idx="158">
                  <c:v>45369</c:v>
                </c:pt>
                <c:pt idx="159">
                  <c:v>45370</c:v>
                </c:pt>
                <c:pt idx="160">
                  <c:v>45371</c:v>
                </c:pt>
                <c:pt idx="161">
                  <c:v>45372</c:v>
                </c:pt>
                <c:pt idx="162">
                  <c:v>45373</c:v>
                </c:pt>
                <c:pt idx="163">
                  <c:v>45376</c:v>
                </c:pt>
                <c:pt idx="164">
                  <c:v>45377</c:v>
                </c:pt>
                <c:pt idx="165">
                  <c:v>45378</c:v>
                </c:pt>
                <c:pt idx="166">
                  <c:v>45379</c:v>
                </c:pt>
                <c:pt idx="167">
                  <c:v>45380</c:v>
                </c:pt>
                <c:pt idx="168">
                  <c:v>45383</c:v>
                </c:pt>
                <c:pt idx="169">
                  <c:v>45384</c:v>
                </c:pt>
                <c:pt idx="170">
                  <c:v>45385</c:v>
                </c:pt>
                <c:pt idx="171">
                  <c:v>45390</c:v>
                </c:pt>
                <c:pt idx="172">
                  <c:v>45391</c:v>
                </c:pt>
                <c:pt idx="173">
                  <c:v>45392</c:v>
                </c:pt>
                <c:pt idx="174">
                  <c:v>45393</c:v>
                </c:pt>
                <c:pt idx="175">
                  <c:v>45394</c:v>
                </c:pt>
                <c:pt idx="176">
                  <c:v>45397</c:v>
                </c:pt>
                <c:pt idx="177">
                  <c:v>45398</c:v>
                </c:pt>
                <c:pt idx="178">
                  <c:v>45399</c:v>
                </c:pt>
                <c:pt idx="179">
                  <c:v>45400</c:v>
                </c:pt>
                <c:pt idx="180">
                  <c:v>45401</c:v>
                </c:pt>
                <c:pt idx="181">
                  <c:v>45404</c:v>
                </c:pt>
                <c:pt idx="182">
                  <c:v>45405</c:v>
                </c:pt>
                <c:pt idx="183">
                  <c:v>45406</c:v>
                </c:pt>
                <c:pt idx="184">
                  <c:v>45407</c:v>
                </c:pt>
                <c:pt idx="185">
                  <c:v>45408</c:v>
                </c:pt>
                <c:pt idx="186">
                  <c:v>45411</c:v>
                </c:pt>
                <c:pt idx="187">
                  <c:v>45412</c:v>
                </c:pt>
                <c:pt idx="188">
                  <c:v>45418</c:v>
                </c:pt>
                <c:pt idx="189">
                  <c:v>45419</c:v>
                </c:pt>
                <c:pt idx="190">
                  <c:v>45420</c:v>
                </c:pt>
                <c:pt idx="191">
                  <c:v>45421</c:v>
                </c:pt>
                <c:pt idx="192">
                  <c:v>45422</c:v>
                </c:pt>
                <c:pt idx="193">
                  <c:v>45425</c:v>
                </c:pt>
                <c:pt idx="194">
                  <c:v>45426</c:v>
                </c:pt>
                <c:pt idx="195">
                  <c:v>45427</c:v>
                </c:pt>
                <c:pt idx="196">
                  <c:v>45428</c:v>
                </c:pt>
                <c:pt idx="197">
                  <c:v>45429</c:v>
                </c:pt>
                <c:pt idx="198">
                  <c:v>45432</c:v>
                </c:pt>
                <c:pt idx="199">
                  <c:v>45433</c:v>
                </c:pt>
                <c:pt idx="200">
                  <c:v>45434</c:v>
                </c:pt>
                <c:pt idx="201">
                  <c:v>45435</c:v>
                </c:pt>
                <c:pt idx="202">
                  <c:v>45436</c:v>
                </c:pt>
                <c:pt idx="203">
                  <c:v>45439</c:v>
                </c:pt>
                <c:pt idx="204">
                  <c:v>45440</c:v>
                </c:pt>
                <c:pt idx="205">
                  <c:v>45441</c:v>
                </c:pt>
                <c:pt idx="206">
                  <c:v>45442</c:v>
                </c:pt>
                <c:pt idx="207">
                  <c:v>45443</c:v>
                </c:pt>
                <c:pt idx="208">
                  <c:v>45446</c:v>
                </c:pt>
                <c:pt idx="209">
                  <c:v>45447</c:v>
                </c:pt>
                <c:pt idx="210">
                  <c:v>45448</c:v>
                </c:pt>
                <c:pt idx="211">
                  <c:v>45449</c:v>
                </c:pt>
                <c:pt idx="212">
                  <c:v>45450</c:v>
                </c:pt>
                <c:pt idx="213">
                  <c:v>45454</c:v>
                </c:pt>
                <c:pt idx="214">
                  <c:v>45455</c:v>
                </c:pt>
                <c:pt idx="215">
                  <c:v>45456</c:v>
                </c:pt>
                <c:pt idx="216">
                  <c:v>45457</c:v>
                </c:pt>
                <c:pt idx="217">
                  <c:v>45460</c:v>
                </c:pt>
                <c:pt idx="218">
                  <c:v>45461</c:v>
                </c:pt>
                <c:pt idx="219">
                  <c:v>45462</c:v>
                </c:pt>
                <c:pt idx="220">
                  <c:v>45463</c:v>
                </c:pt>
                <c:pt idx="221">
                  <c:v>45464</c:v>
                </c:pt>
                <c:pt idx="222">
                  <c:v>45467</c:v>
                </c:pt>
                <c:pt idx="223">
                  <c:v>45468</c:v>
                </c:pt>
                <c:pt idx="224">
                  <c:v>45469</c:v>
                </c:pt>
                <c:pt idx="225">
                  <c:v>45470</c:v>
                </c:pt>
                <c:pt idx="226">
                  <c:v>45471</c:v>
                </c:pt>
                <c:pt idx="227">
                  <c:v>45474</c:v>
                </c:pt>
                <c:pt idx="228">
                  <c:v>45475</c:v>
                </c:pt>
                <c:pt idx="229">
                  <c:v>45476</c:v>
                </c:pt>
                <c:pt idx="230">
                  <c:v>45477</c:v>
                </c:pt>
                <c:pt idx="231">
                  <c:v>45478</c:v>
                </c:pt>
                <c:pt idx="232">
                  <c:v>45481</c:v>
                </c:pt>
                <c:pt idx="233">
                  <c:v>45482</c:v>
                </c:pt>
                <c:pt idx="234">
                  <c:v>45483</c:v>
                </c:pt>
                <c:pt idx="235">
                  <c:v>45484</c:v>
                </c:pt>
                <c:pt idx="236">
                  <c:v>45485</c:v>
                </c:pt>
                <c:pt idx="237">
                  <c:v>45488</c:v>
                </c:pt>
                <c:pt idx="238">
                  <c:v>45489</c:v>
                </c:pt>
                <c:pt idx="239">
                  <c:v>45490</c:v>
                </c:pt>
                <c:pt idx="240">
                  <c:v>45491</c:v>
                </c:pt>
                <c:pt idx="241">
                  <c:v>45492</c:v>
                </c:pt>
                <c:pt idx="242">
                  <c:v>45495</c:v>
                </c:pt>
                <c:pt idx="243">
                  <c:v>45496</c:v>
                </c:pt>
                <c:pt idx="244">
                  <c:v>45497</c:v>
                </c:pt>
                <c:pt idx="245">
                  <c:v>45498</c:v>
                </c:pt>
                <c:pt idx="246">
                  <c:v>45499</c:v>
                </c:pt>
                <c:pt idx="247">
                  <c:v>45502</c:v>
                </c:pt>
                <c:pt idx="248">
                  <c:v>45503</c:v>
                </c:pt>
                <c:pt idx="249">
                  <c:v>45504</c:v>
                </c:pt>
                <c:pt idx="250">
                  <c:v>45505</c:v>
                </c:pt>
                <c:pt idx="251">
                  <c:v>45506</c:v>
                </c:pt>
                <c:pt idx="252">
                  <c:v>45509</c:v>
                </c:pt>
                <c:pt idx="253">
                  <c:v>45510</c:v>
                </c:pt>
                <c:pt idx="254">
                  <c:v>45511</c:v>
                </c:pt>
                <c:pt idx="255">
                  <c:v>45512</c:v>
                </c:pt>
                <c:pt idx="256">
                  <c:v>45513</c:v>
                </c:pt>
                <c:pt idx="257">
                  <c:v>45516</c:v>
                </c:pt>
                <c:pt idx="258">
                  <c:v>45517</c:v>
                </c:pt>
                <c:pt idx="259">
                  <c:v>45518</c:v>
                </c:pt>
                <c:pt idx="260">
                  <c:v>45519</c:v>
                </c:pt>
                <c:pt idx="261">
                  <c:v>45520</c:v>
                </c:pt>
                <c:pt idx="262">
                  <c:v>45523</c:v>
                </c:pt>
                <c:pt idx="263">
                  <c:v>45524</c:v>
                </c:pt>
                <c:pt idx="264">
                  <c:v>45525</c:v>
                </c:pt>
                <c:pt idx="265">
                  <c:v>45526</c:v>
                </c:pt>
                <c:pt idx="266">
                  <c:v>45527</c:v>
                </c:pt>
                <c:pt idx="267">
                  <c:v>45530</c:v>
                </c:pt>
                <c:pt idx="268">
                  <c:v>45531</c:v>
                </c:pt>
                <c:pt idx="269">
                  <c:v>45532</c:v>
                </c:pt>
                <c:pt idx="270">
                  <c:v>45533</c:v>
                </c:pt>
                <c:pt idx="271">
                  <c:v>45534</c:v>
                </c:pt>
                <c:pt idx="272">
                  <c:v>45537</c:v>
                </c:pt>
                <c:pt idx="273">
                  <c:v>45538</c:v>
                </c:pt>
                <c:pt idx="274">
                  <c:v>45539</c:v>
                </c:pt>
                <c:pt idx="275">
                  <c:v>45540</c:v>
                </c:pt>
                <c:pt idx="276">
                  <c:v>45541</c:v>
                </c:pt>
                <c:pt idx="277">
                  <c:v>45544</c:v>
                </c:pt>
                <c:pt idx="278">
                  <c:v>45545</c:v>
                </c:pt>
                <c:pt idx="279">
                  <c:v>45546</c:v>
                </c:pt>
                <c:pt idx="280">
                  <c:v>45547</c:v>
                </c:pt>
                <c:pt idx="281">
                  <c:v>45548</c:v>
                </c:pt>
                <c:pt idx="282">
                  <c:v>45553</c:v>
                </c:pt>
                <c:pt idx="283">
                  <c:v>45554</c:v>
                </c:pt>
                <c:pt idx="284">
                  <c:v>45555</c:v>
                </c:pt>
                <c:pt idx="285">
                  <c:v>45558</c:v>
                </c:pt>
                <c:pt idx="286">
                  <c:v>45559</c:v>
                </c:pt>
                <c:pt idx="287">
                  <c:v>45560</c:v>
                </c:pt>
                <c:pt idx="288">
                  <c:v>45561</c:v>
                </c:pt>
                <c:pt idx="289">
                  <c:v>45562</c:v>
                </c:pt>
                <c:pt idx="290">
                  <c:v>45565</c:v>
                </c:pt>
                <c:pt idx="291">
                  <c:v>45573</c:v>
                </c:pt>
                <c:pt idx="292">
                  <c:v>45574</c:v>
                </c:pt>
                <c:pt idx="293">
                  <c:v>45575</c:v>
                </c:pt>
                <c:pt idx="294">
                  <c:v>45576</c:v>
                </c:pt>
                <c:pt idx="295">
                  <c:v>45579</c:v>
                </c:pt>
                <c:pt idx="296">
                  <c:v>45580</c:v>
                </c:pt>
                <c:pt idx="297">
                  <c:v>45581</c:v>
                </c:pt>
                <c:pt idx="298">
                  <c:v>45582</c:v>
                </c:pt>
                <c:pt idx="299">
                  <c:v>45583</c:v>
                </c:pt>
                <c:pt idx="300">
                  <c:v>45586</c:v>
                </c:pt>
                <c:pt idx="301">
                  <c:v>45587</c:v>
                </c:pt>
                <c:pt idx="302">
                  <c:v>45588</c:v>
                </c:pt>
                <c:pt idx="303">
                  <c:v>45589</c:v>
                </c:pt>
                <c:pt idx="304">
                  <c:v>45590</c:v>
                </c:pt>
                <c:pt idx="305">
                  <c:v>45593</c:v>
                </c:pt>
                <c:pt idx="306">
                  <c:v>45594</c:v>
                </c:pt>
                <c:pt idx="307">
                  <c:v>45595</c:v>
                </c:pt>
                <c:pt idx="308">
                  <c:v>45596</c:v>
                </c:pt>
                <c:pt idx="309">
                  <c:v>45597</c:v>
                </c:pt>
                <c:pt idx="310">
                  <c:v>45600</c:v>
                </c:pt>
                <c:pt idx="311">
                  <c:v>45601</c:v>
                </c:pt>
                <c:pt idx="312">
                  <c:v>45602</c:v>
                </c:pt>
                <c:pt idx="313">
                  <c:v>45603</c:v>
                </c:pt>
                <c:pt idx="314">
                  <c:v>45604</c:v>
                </c:pt>
                <c:pt idx="315">
                  <c:v>45607</c:v>
                </c:pt>
                <c:pt idx="316">
                  <c:v>45608</c:v>
                </c:pt>
                <c:pt idx="317">
                  <c:v>45609</c:v>
                </c:pt>
                <c:pt idx="318">
                  <c:v>45610</c:v>
                </c:pt>
                <c:pt idx="319">
                  <c:v>45611</c:v>
                </c:pt>
                <c:pt idx="320">
                  <c:v>45614</c:v>
                </c:pt>
                <c:pt idx="321">
                  <c:v>45615</c:v>
                </c:pt>
                <c:pt idx="322">
                  <c:v>45616</c:v>
                </c:pt>
                <c:pt idx="323">
                  <c:v>45617</c:v>
                </c:pt>
                <c:pt idx="324">
                  <c:v>45618</c:v>
                </c:pt>
                <c:pt idx="325">
                  <c:v>45621</c:v>
                </c:pt>
                <c:pt idx="326">
                  <c:v>45622</c:v>
                </c:pt>
                <c:pt idx="327">
                  <c:v>45623</c:v>
                </c:pt>
                <c:pt idx="328">
                  <c:v>45624</c:v>
                </c:pt>
                <c:pt idx="329">
                  <c:v>45625</c:v>
                </c:pt>
                <c:pt idx="330">
                  <c:v>45628</c:v>
                </c:pt>
                <c:pt idx="331">
                  <c:v>45629</c:v>
                </c:pt>
                <c:pt idx="332">
                  <c:v>45630</c:v>
                </c:pt>
                <c:pt idx="333">
                  <c:v>45631</c:v>
                </c:pt>
                <c:pt idx="334">
                  <c:v>45632</c:v>
                </c:pt>
                <c:pt idx="335">
                  <c:v>45635</c:v>
                </c:pt>
                <c:pt idx="336">
                  <c:v>45636</c:v>
                </c:pt>
                <c:pt idx="337">
                  <c:v>45637</c:v>
                </c:pt>
                <c:pt idx="338">
                  <c:v>45638</c:v>
                </c:pt>
                <c:pt idx="339">
                  <c:v>45639</c:v>
                </c:pt>
                <c:pt idx="340">
                  <c:v>45642</c:v>
                </c:pt>
                <c:pt idx="341">
                  <c:v>45643</c:v>
                </c:pt>
                <c:pt idx="342">
                  <c:v>45644</c:v>
                </c:pt>
                <c:pt idx="343">
                  <c:v>45645</c:v>
                </c:pt>
                <c:pt idx="344">
                  <c:v>45646</c:v>
                </c:pt>
                <c:pt idx="345">
                  <c:v>45649</c:v>
                </c:pt>
                <c:pt idx="346">
                  <c:v>45650</c:v>
                </c:pt>
                <c:pt idx="347">
                  <c:v>45651</c:v>
                </c:pt>
                <c:pt idx="348">
                  <c:v>45652</c:v>
                </c:pt>
                <c:pt idx="349">
                  <c:v>45653</c:v>
                </c:pt>
                <c:pt idx="350">
                  <c:v>45656</c:v>
                </c:pt>
                <c:pt idx="351">
                  <c:v>45657</c:v>
                </c:pt>
                <c:pt idx="352">
                  <c:v>45659</c:v>
                </c:pt>
                <c:pt idx="353">
                  <c:v>45660</c:v>
                </c:pt>
                <c:pt idx="354">
                  <c:v>45663</c:v>
                </c:pt>
                <c:pt idx="355">
                  <c:v>45664</c:v>
                </c:pt>
                <c:pt idx="356">
                  <c:v>45665</c:v>
                </c:pt>
                <c:pt idx="357">
                  <c:v>45666</c:v>
                </c:pt>
                <c:pt idx="358">
                  <c:v>45667</c:v>
                </c:pt>
                <c:pt idx="359">
                  <c:v>45670</c:v>
                </c:pt>
                <c:pt idx="360">
                  <c:v>45671</c:v>
                </c:pt>
                <c:pt idx="361">
                  <c:v>45672</c:v>
                </c:pt>
                <c:pt idx="362">
                  <c:v>45673</c:v>
                </c:pt>
                <c:pt idx="363">
                  <c:v>45674</c:v>
                </c:pt>
                <c:pt idx="364">
                  <c:v>45677</c:v>
                </c:pt>
                <c:pt idx="365">
                  <c:v>45678</c:v>
                </c:pt>
                <c:pt idx="366">
                  <c:v>45679</c:v>
                </c:pt>
                <c:pt idx="367">
                  <c:v>45680</c:v>
                </c:pt>
                <c:pt idx="368">
                  <c:v>45681</c:v>
                </c:pt>
                <c:pt idx="369">
                  <c:v>45684</c:v>
                </c:pt>
                <c:pt idx="370">
                  <c:v>45693</c:v>
                </c:pt>
                <c:pt idx="371">
                  <c:v>45694</c:v>
                </c:pt>
                <c:pt idx="372">
                  <c:v>45695</c:v>
                </c:pt>
                <c:pt idx="373">
                  <c:v>45698</c:v>
                </c:pt>
                <c:pt idx="374">
                  <c:v>45699</c:v>
                </c:pt>
                <c:pt idx="375">
                  <c:v>45700</c:v>
                </c:pt>
                <c:pt idx="376">
                  <c:v>45701</c:v>
                </c:pt>
                <c:pt idx="377">
                  <c:v>45702</c:v>
                </c:pt>
                <c:pt idx="378">
                  <c:v>45705</c:v>
                </c:pt>
                <c:pt idx="379">
                  <c:v>45706</c:v>
                </c:pt>
                <c:pt idx="380">
                  <c:v>45707</c:v>
                </c:pt>
                <c:pt idx="381">
                  <c:v>45708</c:v>
                </c:pt>
                <c:pt idx="382">
                  <c:v>45709</c:v>
                </c:pt>
                <c:pt idx="383">
                  <c:v>45712</c:v>
                </c:pt>
                <c:pt idx="384">
                  <c:v>45713</c:v>
                </c:pt>
                <c:pt idx="385">
                  <c:v>45714</c:v>
                </c:pt>
                <c:pt idx="386">
                  <c:v>45715</c:v>
                </c:pt>
                <c:pt idx="387">
                  <c:v>45716</c:v>
                </c:pt>
                <c:pt idx="388">
                  <c:v>45719</c:v>
                </c:pt>
                <c:pt idx="389">
                  <c:v>45720</c:v>
                </c:pt>
                <c:pt idx="390">
                  <c:v>45721</c:v>
                </c:pt>
                <c:pt idx="391">
                  <c:v>45722</c:v>
                </c:pt>
                <c:pt idx="392">
                  <c:v>45723</c:v>
                </c:pt>
                <c:pt idx="393">
                  <c:v>45726</c:v>
                </c:pt>
                <c:pt idx="394">
                  <c:v>45727</c:v>
                </c:pt>
                <c:pt idx="395">
                  <c:v>45728</c:v>
                </c:pt>
                <c:pt idx="396">
                  <c:v>45729</c:v>
                </c:pt>
                <c:pt idx="397">
                  <c:v>45730</c:v>
                </c:pt>
                <c:pt idx="398">
                  <c:v>45733</c:v>
                </c:pt>
                <c:pt idx="399">
                  <c:v>45734</c:v>
                </c:pt>
                <c:pt idx="400">
                  <c:v>45735</c:v>
                </c:pt>
                <c:pt idx="401">
                  <c:v>45736</c:v>
                </c:pt>
                <c:pt idx="402">
                  <c:v>45737</c:v>
                </c:pt>
                <c:pt idx="403">
                  <c:v>45740</c:v>
                </c:pt>
                <c:pt idx="404">
                  <c:v>45741</c:v>
                </c:pt>
                <c:pt idx="405">
                  <c:v>45742</c:v>
                </c:pt>
                <c:pt idx="406">
                  <c:v>45743</c:v>
                </c:pt>
                <c:pt idx="407">
                  <c:v>45744</c:v>
                </c:pt>
                <c:pt idx="408">
                  <c:v>45747</c:v>
                </c:pt>
                <c:pt idx="409">
                  <c:v>45748</c:v>
                </c:pt>
                <c:pt idx="410">
                  <c:v>45749</c:v>
                </c:pt>
                <c:pt idx="411">
                  <c:v>45750</c:v>
                </c:pt>
                <c:pt idx="412">
                  <c:v>45754</c:v>
                </c:pt>
                <c:pt idx="413">
                  <c:v>45755</c:v>
                </c:pt>
                <c:pt idx="414">
                  <c:v>45756</c:v>
                </c:pt>
                <c:pt idx="415">
                  <c:v>45757</c:v>
                </c:pt>
                <c:pt idx="416">
                  <c:v>45758</c:v>
                </c:pt>
                <c:pt idx="417">
                  <c:v>45761</c:v>
                </c:pt>
                <c:pt idx="418">
                  <c:v>45762</c:v>
                </c:pt>
                <c:pt idx="419">
                  <c:v>45763</c:v>
                </c:pt>
                <c:pt idx="420">
                  <c:v>45764</c:v>
                </c:pt>
                <c:pt idx="421">
                  <c:v>45765</c:v>
                </c:pt>
                <c:pt idx="422">
                  <c:v>45768</c:v>
                </c:pt>
                <c:pt idx="423">
                  <c:v>45769</c:v>
                </c:pt>
                <c:pt idx="424">
                  <c:v>45770</c:v>
                </c:pt>
                <c:pt idx="425">
                  <c:v>45771</c:v>
                </c:pt>
                <c:pt idx="426">
                  <c:v>45772</c:v>
                </c:pt>
                <c:pt idx="427">
                  <c:v>45775</c:v>
                </c:pt>
                <c:pt idx="428">
                  <c:v>45776</c:v>
                </c:pt>
                <c:pt idx="429">
                  <c:v>45777</c:v>
                </c:pt>
                <c:pt idx="430">
                  <c:v>45783</c:v>
                </c:pt>
                <c:pt idx="431">
                  <c:v>45784</c:v>
                </c:pt>
                <c:pt idx="432">
                  <c:v>45785</c:v>
                </c:pt>
                <c:pt idx="433">
                  <c:v>45786</c:v>
                </c:pt>
                <c:pt idx="434">
                  <c:v>45789</c:v>
                </c:pt>
                <c:pt idx="435">
                  <c:v>45790</c:v>
                </c:pt>
                <c:pt idx="436">
                  <c:v>45791</c:v>
                </c:pt>
                <c:pt idx="437">
                  <c:v>45792</c:v>
                </c:pt>
                <c:pt idx="438">
                  <c:v>45793</c:v>
                </c:pt>
                <c:pt idx="439">
                  <c:v>45796</c:v>
                </c:pt>
                <c:pt idx="440">
                  <c:v>45797</c:v>
                </c:pt>
                <c:pt idx="441">
                  <c:v>45798</c:v>
                </c:pt>
                <c:pt idx="442">
                  <c:v>45799</c:v>
                </c:pt>
                <c:pt idx="443">
                  <c:v>45800</c:v>
                </c:pt>
                <c:pt idx="444">
                  <c:v>45803</c:v>
                </c:pt>
                <c:pt idx="445">
                  <c:v>45804</c:v>
                </c:pt>
                <c:pt idx="446">
                  <c:v>45805</c:v>
                </c:pt>
                <c:pt idx="447">
                  <c:v>45806</c:v>
                </c:pt>
                <c:pt idx="448">
                  <c:v>45807</c:v>
                </c:pt>
                <c:pt idx="449">
                  <c:v>45811</c:v>
                </c:pt>
                <c:pt idx="450">
                  <c:v>45812</c:v>
                </c:pt>
                <c:pt idx="451">
                  <c:v>45813</c:v>
                </c:pt>
                <c:pt idx="452">
                  <c:v>45814</c:v>
                </c:pt>
                <c:pt idx="453">
                  <c:v>45817</c:v>
                </c:pt>
                <c:pt idx="454">
                  <c:v>45818</c:v>
                </c:pt>
                <c:pt idx="455">
                  <c:v>45819</c:v>
                </c:pt>
                <c:pt idx="456">
                  <c:v>45820</c:v>
                </c:pt>
                <c:pt idx="457">
                  <c:v>45821</c:v>
                </c:pt>
                <c:pt idx="458">
                  <c:v>45824</c:v>
                </c:pt>
                <c:pt idx="459">
                  <c:v>45825</c:v>
                </c:pt>
                <c:pt idx="460">
                  <c:v>45826</c:v>
                </c:pt>
                <c:pt idx="461">
                  <c:v>45827</c:v>
                </c:pt>
                <c:pt idx="462">
                  <c:v>45828</c:v>
                </c:pt>
                <c:pt idx="463">
                  <c:v>45831</c:v>
                </c:pt>
                <c:pt idx="464">
                  <c:v>45832</c:v>
                </c:pt>
                <c:pt idx="465">
                  <c:v>45833</c:v>
                </c:pt>
                <c:pt idx="466">
                  <c:v>45834</c:v>
                </c:pt>
                <c:pt idx="467">
                  <c:v>45835</c:v>
                </c:pt>
                <c:pt idx="468">
                  <c:v>45838</c:v>
                </c:pt>
                <c:pt idx="469">
                  <c:v>45839</c:v>
                </c:pt>
                <c:pt idx="470">
                  <c:v>45840</c:v>
                </c:pt>
                <c:pt idx="471">
                  <c:v>45841</c:v>
                </c:pt>
                <c:pt idx="472">
                  <c:v>45842</c:v>
                </c:pt>
                <c:pt idx="473">
                  <c:v>45845</c:v>
                </c:pt>
                <c:pt idx="474">
                  <c:v>45846</c:v>
                </c:pt>
                <c:pt idx="475">
                  <c:v>45847</c:v>
                </c:pt>
                <c:pt idx="476">
                  <c:v>45848</c:v>
                </c:pt>
                <c:pt idx="477">
                  <c:v>45849</c:v>
                </c:pt>
                <c:pt idx="478">
                  <c:v>45852</c:v>
                </c:pt>
                <c:pt idx="479">
                  <c:v>45853</c:v>
                </c:pt>
                <c:pt idx="480">
                  <c:v>45854</c:v>
                </c:pt>
                <c:pt idx="481">
                  <c:v>45855</c:v>
                </c:pt>
                <c:pt idx="482">
                  <c:v>45856</c:v>
                </c:pt>
                <c:pt idx="483">
                  <c:v>45859</c:v>
                </c:pt>
                <c:pt idx="484">
                  <c:v>45860</c:v>
                </c:pt>
                <c:pt idx="485">
                  <c:v>45861</c:v>
                </c:pt>
                <c:pt idx="486">
                  <c:v>45862</c:v>
                </c:pt>
                <c:pt idx="487">
                  <c:v>45863</c:v>
                </c:pt>
                <c:pt idx="488">
                  <c:v>45866</c:v>
                </c:pt>
                <c:pt idx="489">
                  <c:v>45867</c:v>
                </c:pt>
                <c:pt idx="490">
                  <c:v>45868</c:v>
                </c:pt>
                <c:pt idx="491">
                  <c:v>45869</c:v>
                </c:pt>
                <c:pt idx="492">
                  <c:v>45870</c:v>
                </c:pt>
                <c:pt idx="493">
                  <c:v>45873</c:v>
                </c:pt>
                <c:pt idx="494">
                  <c:v>45874</c:v>
                </c:pt>
                <c:pt idx="495">
                  <c:v>45875</c:v>
                </c:pt>
                <c:pt idx="496">
                  <c:v>45876</c:v>
                </c:pt>
                <c:pt idx="497">
                  <c:v>45877</c:v>
                </c:pt>
                <c:pt idx="498">
                  <c:v>45880</c:v>
                </c:pt>
                <c:pt idx="499">
                  <c:v>45881</c:v>
                </c:pt>
                <c:pt idx="500">
                  <c:v>45882</c:v>
                </c:pt>
                <c:pt idx="501">
                  <c:v>45883</c:v>
                </c:pt>
                <c:pt idx="502">
                  <c:v>45884</c:v>
                </c:pt>
                <c:pt idx="503">
                  <c:v>45887</c:v>
                </c:pt>
                <c:pt idx="504">
                  <c:v>45888</c:v>
                </c:pt>
                <c:pt idx="505">
                  <c:v>45889</c:v>
                </c:pt>
                <c:pt idx="506">
                  <c:v>45890</c:v>
                </c:pt>
                <c:pt idx="507">
                  <c:v>45891</c:v>
                </c:pt>
                <c:pt idx="508">
                  <c:v>45894</c:v>
                </c:pt>
                <c:pt idx="509">
                  <c:v>45895</c:v>
                </c:pt>
                <c:pt idx="510">
                  <c:v>45896</c:v>
                </c:pt>
                <c:pt idx="511">
                  <c:v>45897</c:v>
                </c:pt>
                <c:pt idx="512">
                  <c:v>45898</c:v>
                </c:pt>
                <c:pt idx="513">
                  <c:v>45901</c:v>
                </c:pt>
                <c:pt idx="514">
                  <c:v>45902</c:v>
                </c:pt>
                <c:pt idx="515">
                  <c:v>45903</c:v>
                </c:pt>
                <c:pt idx="516">
                  <c:v>45904</c:v>
                </c:pt>
                <c:pt idx="517">
                  <c:v>45905</c:v>
                </c:pt>
                <c:pt idx="518">
                  <c:v>45908</c:v>
                </c:pt>
                <c:pt idx="519">
                  <c:v>45909</c:v>
                </c:pt>
                <c:pt idx="520">
                  <c:v>45910</c:v>
                </c:pt>
                <c:pt idx="521">
                  <c:v>45911</c:v>
                </c:pt>
                <c:pt idx="522">
                  <c:v>45912</c:v>
                </c:pt>
                <c:pt idx="523">
                  <c:v>45915</c:v>
                </c:pt>
                <c:pt idx="524">
                  <c:v>45916</c:v>
                </c:pt>
                <c:pt idx="525">
                  <c:v>45917</c:v>
                </c:pt>
                <c:pt idx="526">
                  <c:v>45918</c:v>
                </c:pt>
                <c:pt idx="527">
                  <c:v>45919</c:v>
                </c:pt>
                <c:pt idx="528">
                  <c:v>45922</c:v>
                </c:pt>
                <c:pt idx="529">
                  <c:v>45923</c:v>
                </c:pt>
                <c:pt idx="530">
                  <c:v>45924</c:v>
                </c:pt>
                <c:pt idx="531">
                  <c:v>45925</c:v>
                </c:pt>
                <c:pt idx="532">
                  <c:v>45926</c:v>
                </c:pt>
                <c:pt idx="533">
                  <c:v>45929</c:v>
                </c:pt>
                <c:pt idx="534">
                  <c:v>45930</c:v>
                </c:pt>
                <c:pt idx="535">
                  <c:v>45931</c:v>
                </c:pt>
                <c:pt idx="536">
                  <c:v>45932</c:v>
                </c:pt>
                <c:pt idx="537">
                  <c:v>45933</c:v>
                </c:pt>
                <c:pt idx="538">
                  <c:v>45936</c:v>
                </c:pt>
                <c:pt idx="539">
                  <c:v>45937</c:v>
                </c:pt>
                <c:pt idx="540">
                  <c:v>45938</c:v>
                </c:pt>
                <c:pt idx="541">
                  <c:v>45939</c:v>
                </c:pt>
                <c:pt idx="542">
                  <c:v>45940</c:v>
                </c:pt>
                <c:pt idx="543">
                  <c:v>45943</c:v>
                </c:pt>
                <c:pt idx="544">
                  <c:v>45944</c:v>
                </c:pt>
                <c:pt idx="545">
                  <c:v>45945</c:v>
                </c:pt>
                <c:pt idx="546">
                  <c:v>45946</c:v>
                </c:pt>
                <c:pt idx="547">
                  <c:v>45947</c:v>
                </c:pt>
                <c:pt idx="548">
                  <c:v>45950</c:v>
                </c:pt>
                <c:pt idx="549">
                  <c:v>45951</c:v>
                </c:pt>
                <c:pt idx="550">
                  <c:v>45952</c:v>
                </c:pt>
                <c:pt idx="551">
                  <c:v>45953</c:v>
                </c:pt>
                <c:pt idx="552">
                  <c:v>45954</c:v>
                </c:pt>
                <c:pt idx="553">
                  <c:v>45957</c:v>
                </c:pt>
                <c:pt idx="554">
                  <c:v>45958</c:v>
                </c:pt>
                <c:pt idx="555">
                  <c:v>45959</c:v>
                </c:pt>
                <c:pt idx="556">
                  <c:v>45960</c:v>
                </c:pt>
                <c:pt idx="557">
                  <c:v>45961</c:v>
                </c:pt>
                <c:pt idx="558">
                  <c:v>45964</c:v>
                </c:pt>
                <c:pt idx="559">
                  <c:v>45965</c:v>
                </c:pt>
                <c:pt idx="560">
                  <c:v>45966</c:v>
                </c:pt>
                <c:pt idx="561">
                  <c:v>45967</c:v>
                </c:pt>
                <c:pt idx="562">
                  <c:v>45968</c:v>
                </c:pt>
                <c:pt idx="563">
                  <c:v>45971</c:v>
                </c:pt>
                <c:pt idx="564">
                  <c:v>45972</c:v>
                </c:pt>
                <c:pt idx="565">
                  <c:v>45973</c:v>
                </c:pt>
                <c:pt idx="566">
                  <c:v>45974</c:v>
                </c:pt>
                <c:pt idx="567">
                  <c:v>45975</c:v>
                </c:pt>
                <c:pt idx="568">
                  <c:v>45978</c:v>
                </c:pt>
                <c:pt idx="569">
                  <c:v>45979</c:v>
                </c:pt>
                <c:pt idx="570">
                  <c:v>45980</c:v>
                </c:pt>
                <c:pt idx="571">
                  <c:v>45981</c:v>
                </c:pt>
                <c:pt idx="572">
                  <c:v>45982</c:v>
                </c:pt>
                <c:pt idx="573">
                  <c:v>45985</c:v>
                </c:pt>
                <c:pt idx="574">
                  <c:v>45986</c:v>
                </c:pt>
                <c:pt idx="575">
                  <c:v>45987</c:v>
                </c:pt>
                <c:pt idx="576">
                  <c:v>45988</c:v>
                </c:pt>
                <c:pt idx="577">
                  <c:v>45989</c:v>
                </c:pt>
                <c:pt idx="578">
                  <c:v>45992</c:v>
                </c:pt>
                <c:pt idx="579">
                  <c:v>45993</c:v>
                </c:pt>
                <c:pt idx="580">
                  <c:v>45994</c:v>
                </c:pt>
                <c:pt idx="581">
                  <c:v>45995</c:v>
                </c:pt>
                <c:pt idx="582">
                  <c:v>45996</c:v>
                </c:pt>
                <c:pt idx="583">
                  <c:v>45999</c:v>
                </c:pt>
                <c:pt idx="584">
                  <c:v>46000</c:v>
                </c:pt>
                <c:pt idx="585">
                  <c:v>46001</c:v>
                </c:pt>
                <c:pt idx="586">
                  <c:v>46002</c:v>
                </c:pt>
                <c:pt idx="587">
                  <c:v>46003</c:v>
                </c:pt>
                <c:pt idx="588">
                  <c:v>46006</c:v>
                </c:pt>
                <c:pt idx="589">
                  <c:v>46007</c:v>
                </c:pt>
                <c:pt idx="590">
                  <c:v>46008</c:v>
                </c:pt>
                <c:pt idx="591">
                  <c:v>46009</c:v>
                </c:pt>
                <c:pt idx="592">
                  <c:v>46010</c:v>
                </c:pt>
                <c:pt idx="593">
                  <c:v>46013</c:v>
                </c:pt>
                <c:pt idx="594">
                  <c:v>46014</c:v>
                </c:pt>
                <c:pt idx="595">
                  <c:v>46015</c:v>
                </c:pt>
                <c:pt idx="596">
                  <c:v>46016</c:v>
                </c:pt>
                <c:pt idx="597">
                  <c:v>46017</c:v>
                </c:pt>
                <c:pt idx="598">
                  <c:v>46020</c:v>
                </c:pt>
                <c:pt idx="599">
                  <c:v>46021</c:v>
                </c:pt>
                <c:pt idx="600">
                  <c:v>46022</c:v>
                </c:pt>
                <c:pt idx="601">
                  <c:v>46023</c:v>
                </c:pt>
                <c:pt idx="602">
                  <c:v>46024</c:v>
                </c:pt>
                <c:pt idx="603">
                  <c:v>46027</c:v>
                </c:pt>
                <c:pt idx="604">
                  <c:v>46028</c:v>
                </c:pt>
                <c:pt idx="605">
                  <c:v>46029</c:v>
                </c:pt>
                <c:pt idx="606">
                  <c:v>46030</c:v>
                </c:pt>
                <c:pt idx="607">
                  <c:v>46031</c:v>
                </c:pt>
                <c:pt idx="608">
                  <c:v>46034</c:v>
                </c:pt>
                <c:pt idx="609">
                  <c:v>46035</c:v>
                </c:pt>
                <c:pt idx="610">
                  <c:v>46036</c:v>
                </c:pt>
                <c:pt idx="611">
                  <c:v>46037</c:v>
                </c:pt>
                <c:pt idx="612">
                  <c:v>46038</c:v>
                </c:pt>
                <c:pt idx="613">
                  <c:v>46041</c:v>
                </c:pt>
                <c:pt idx="614">
                  <c:v>46042</c:v>
                </c:pt>
                <c:pt idx="615">
                  <c:v>46043</c:v>
                </c:pt>
                <c:pt idx="616">
                  <c:v>46044</c:v>
                </c:pt>
                <c:pt idx="617">
                  <c:v>46045</c:v>
                </c:pt>
                <c:pt idx="618">
                  <c:v>46048</c:v>
                </c:pt>
                <c:pt idx="619">
                  <c:v>46049</c:v>
                </c:pt>
                <c:pt idx="620">
                  <c:v>46050</c:v>
                </c:pt>
                <c:pt idx="621">
                  <c:v>46051</c:v>
                </c:pt>
                <c:pt idx="622">
                  <c:v>46052</c:v>
                </c:pt>
                <c:pt idx="623">
                  <c:v>46055</c:v>
                </c:pt>
                <c:pt idx="624">
                  <c:v>46056</c:v>
                </c:pt>
                <c:pt idx="625">
                  <c:v>46057</c:v>
                </c:pt>
                <c:pt idx="626">
                  <c:v>46058</c:v>
                </c:pt>
                <c:pt idx="627">
                  <c:v>46059</c:v>
                </c:pt>
                <c:pt idx="628">
                  <c:v>46062</c:v>
                </c:pt>
                <c:pt idx="629">
                  <c:v>46063</c:v>
                </c:pt>
                <c:pt idx="630">
                  <c:v>46064</c:v>
                </c:pt>
                <c:pt idx="631">
                  <c:v>46065</c:v>
                </c:pt>
                <c:pt idx="632">
                  <c:v>46066</c:v>
                </c:pt>
                <c:pt idx="633">
                  <c:v>46069</c:v>
                </c:pt>
                <c:pt idx="634">
                  <c:v>46070</c:v>
                </c:pt>
                <c:pt idx="635">
                  <c:v>46071</c:v>
                </c:pt>
                <c:pt idx="636">
                  <c:v>46072</c:v>
                </c:pt>
                <c:pt idx="637">
                  <c:v>46073</c:v>
                </c:pt>
                <c:pt idx="638">
                  <c:v>46076</c:v>
                </c:pt>
                <c:pt idx="639">
                  <c:v>46077</c:v>
                </c:pt>
                <c:pt idx="640">
                  <c:v>46078</c:v>
                </c:pt>
                <c:pt idx="641">
                  <c:v>46079</c:v>
                </c:pt>
                <c:pt idx="642">
                  <c:v>46080</c:v>
                </c:pt>
                <c:pt idx="643">
                  <c:v>46083</c:v>
                </c:pt>
                <c:pt idx="644">
                  <c:v>46084</c:v>
                </c:pt>
                <c:pt idx="645">
                  <c:v>46085</c:v>
                </c:pt>
                <c:pt idx="646">
                  <c:v>46086</c:v>
                </c:pt>
                <c:pt idx="647">
                  <c:v>46087</c:v>
                </c:pt>
                <c:pt idx="648">
                  <c:v>46090</c:v>
                </c:pt>
                <c:pt idx="649">
                  <c:v>46091</c:v>
                </c:pt>
                <c:pt idx="650">
                  <c:v>46092</c:v>
                </c:pt>
                <c:pt idx="651">
                  <c:v>46093</c:v>
                </c:pt>
                <c:pt idx="652">
                  <c:v>46094</c:v>
                </c:pt>
                <c:pt idx="653">
                  <c:v>46097</c:v>
                </c:pt>
                <c:pt idx="654">
                  <c:v>46098</c:v>
                </c:pt>
                <c:pt idx="655">
                  <c:v>46099</c:v>
                </c:pt>
                <c:pt idx="656">
                  <c:v>46100</c:v>
                </c:pt>
                <c:pt idx="657">
                  <c:v>46101</c:v>
                </c:pt>
                <c:pt idx="658">
                  <c:v>46104</c:v>
                </c:pt>
                <c:pt idx="659">
                  <c:v>46105</c:v>
                </c:pt>
                <c:pt idx="660">
                  <c:v>46106</c:v>
                </c:pt>
                <c:pt idx="661">
                  <c:v>46107</c:v>
                </c:pt>
                <c:pt idx="662">
                  <c:v>46108</c:v>
                </c:pt>
                <c:pt idx="663">
                  <c:v>46111</c:v>
                </c:pt>
                <c:pt idx="664">
                  <c:v>46112</c:v>
                </c:pt>
                <c:pt idx="665">
                  <c:v>46113</c:v>
                </c:pt>
                <c:pt idx="666">
                  <c:v>46114</c:v>
                </c:pt>
                <c:pt idx="667">
                  <c:v>46115</c:v>
                </c:pt>
                <c:pt idx="668">
                  <c:v>46118</c:v>
                </c:pt>
                <c:pt idx="669">
                  <c:v>46119</c:v>
                </c:pt>
                <c:pt idx="670">
                  <c:v>46120</c:v>
                </c:pt>
                <c:pt idx="671">
                  <c:v>46121</c:v>
                </c:pt>
                <c:pt idx="672">
                  <c:v>46122</c:v>
                </c:pt>
                <c:pt idx="673">
                  <c:v>46125</c:v>
                </c:pt>
                <c:pt idx="674">
                  <c:v>46126</c:v>
                </c:pt>
                <c:pt idx="675">
                  <c:v>46127</c:v>
                </c:pt>
                <c:pt idx="676">
                  <c:v>46128</c:v>
                </c:pt>
                <c:pt idx="677">
                  <c:v>46129</c:v>
                </c:pt>
                <c:pt idx="678">
                  <c:v>46132</c:v>
                </c:pt>
                <c:pt idx="679">
                  <c:v>46133</c:v>
                </c:pt>
                <c:pt idx="680">
                  <c:v>46134</c:v>
                </c:pt>
                <c:pt idx="681">
                  <c:v>46135</c:v>
                </c:pt>
                <c:pt idx="682">
                  <c:v>46136</c:v>
                </c:pt>
                <c:pt idx="683">
                  <c:v>46139</c:v>
                </c:pt>
                <c:pt idx="684">
                  <c:v>46140</c:v>
                </c:pt>
                <c:pt idx="685">
                  <c:v>46141</c:v>
                </c:pt>
                <c:pt idx="686">
                  <c:v>46142</c:v>
                </c:pt>
                <c:pt idx="687">
                  <c:v>46143</c:v>
                </c:pt>
                <c:pt idx="688">
                  <c:v>46146</c:v>
                </c:pt>
                <c:pt idx="689">
                  <c:v>46147</c:v>
                </c:pt>
                <c:pt idx="690">
                  <c:v>46148</c:v>
                </c:pt>
                <c:pt idx="691">
                  <c:v>46149</c:v>
                </c:pt>
                <c:pt idx="692">
                  <c:v>46150</c:v>
                </c:pt>
                <c:pt idx="693">
                  <c:v>46153</c:v>
                </c:pt>
                <c:pt idx="694">
                  <c:v>46154</c:v>
                </c:pt>
                <c:pt idx="695">
                  <c:v>46155</c:v>
                </c:pt>
                <c:pt idx="696">
                  <c:v>46156</c:v>
                </c:pt>
                <c:pt idx="697">
                  <c:v>46157</c:v>
                </c:pt>
                <c:pt idx="698">
                  <c:v>46160</c:v>
                </c:pt>
                <c:pt idx="699">
                  <c:v>46161</c:v>
                </c:pt>
                <c:pt idx="700">
                  <c:v>46162</c:v>
                </c:pt>
                <c:pt idx="701">
                  <c:v>46163</c:v>
                </c:pt>
                <c:pt idx="702">
                  <c:v>46164</c:v>
                </c:pt>
                <c:pt idx="703">
                  <c:v>46167</c:v>
                </c:pt>
                <c:pt idx="704">
                  <c:v>46168</c:v>
                </c:pt>
                <c:pt idx="705">
                  <c:v>46169</c:v>
                </c:pt>
                <c:pt idx="706">
                  <c:v>46170</c:v>
                </c:pt>
                <c:pt idx="707">
                  <c:v>46171</c:v>
                </c:pt>
                <c:pt idx="708">
                  <c:v>46174</c:v>
                </c:pt>
                <c:pt idx="709">
                  <c:v>46175</c:v>
                </c:pt>
                <c:pt idx="710">
                  <c:v>46176</c:v>
                </c:pt>
                <c:pt idx="711">
                  <c:v>46177</c:v>
                </c:pt>
                <c:pt idx="712">
                  <c:v>46178</c:v>
                </c:pt>
                <c:pt idx="713">
                  <c:v>46181</c:v>
                </c:pt>
                <c:pt idx="714">
                  <c:v>46182</c:v>
                </c:pt>
                <c:pt idx="715">
                  <c:v>46183</c:v>
                </c:pt>
                <c:pt idx="716">
                  <c:v>46184</c:v>
                </c:pt>
                <c:pt idx="717">
                  <c:v>46185</c:v>
                </c:pt>
                <c:pt idx="718">
                  <c:v>46188</c:v>
                </c:pt>
                <c:pt idx="719">
                  <c:v>46189</c:v>
                </c:pt>
                <c:pt idx="720">
                  <c:v>46190</c:v>
                </c:pt>
                <c:pt idx="721">
                  <c:v>46191</c:v>
                </c:pt>
                <c:pt idx="722">
                  <c:v>46192</c:v>
                </c:pt>
                <c:pt idx="723">
                  <c:v>46195</c:v>
                </c:pt>
                <c:pt idx="724">
                  <c:v>46196</c:v>
                </c:pt>
                <c:pt idx="725">
                  <c:v>46197</c:v>
                </c:pt>
                <c:pt idx="726">
                  <c:v>46198</c:v>
                </c:pt>
                <c:pt idx="727">
                  <c:v>46199</c:v>
                </c:pt>
                <c:pt idx="728">
                  <c:v>46202</c:v>
                </c:pt>
                <c:pt idx="729">
                  <c:v>46203</c:v>
                </c:pt>
                <c:pt idx="730">
                  <c:v>46204</c:v>
                </c:pt>
                <c:pt idx="731">
                  <c:v>46205</c:v>
                </c:pt>
                <c:pt idx="732">
                  <c:v>46206</c:v>
                </c:pt>
                <c:pt idx="733">
                  <c:v>46209</c:v>
                </c:pt>
                <c:pt idx="734">
                  <c:v>46210</c:v>
                </c:pt>
                <c:pt idx="735">
                  <c:v>46211</c:v>
                </c:pt>
                <c:pt idx="736">
                  <c:v>46212</c:v>
                </c:pt>
                <c:pt idx="737">
                  <c:v>46213</c:v>
                </c:pt>
                <c:pt idx="738">
                  <c:v>46216</c:v>
                </c:pt>
                <c:pt idx="739">
                  <c:v>46217</c:v>
                </c:pt>
                <c:pt idx="740">
                  <c:v>46218</c:v>
                </c:pt>
                <c:pt idx="741">
                  <c:v>46219</c:v>
                </c:pt>
                <c:pt idx="742">
                  <c:v>46220</c:v>
                </c:pt>
                <c:pt idx="743">
                  <c:v>46223</c:v>
                </c:pt>
                <c:pt idx="744">
                  <c:v>46224</c:v>
                </c:pt>
                <c:pt idx="745">
                  <c:v>46225</c:v>
                </c:pt>
                <c:pt idx="746">
                  <c:v>46226</c:v>
                </c:pt>
                <c:pt idx="747">
                  <c:v>46227</c:v>
                </c:pt>
                <c:pt idx="748">
                  <c:v>46230</c:v>
                </c:pt>
                <c:pt idx="749">
                  <c:v>46231</c:v>
                </c:pt>
                <c:pt idx="750">
                  <c:v>46232</c:v>
                </c:pt>
                <c:pt idx="751">
                  <c:v>46233</c:v>
                </c:pt>
                <c:pt idx="752">
                  <c:v>46234</c:v>
                </c:pt>
                <c:pt idx="753">
                  <c:v>46237</c:v>
                </c:pt>
                <c:pt idx="754">
                  <c:v>46238</c:v>
                </c:pt>
                <c:pt idx="755">
                  <c:v>46239</c:v>
                </c:pt>
                <c:pt idx="756">
                  <c:v>46240</c:v>
                </c:pt>
                <c:pt idx="757">
                  <c:v>46241</c:v>
                </c:pt>
                <c:pt idx="758">
                  <c:v>46244</c:v>
                </c:pt>
                <c:pt idx="759">
                  <c:v>46245</c:v>
                </c:pt>
                <c:pt idx="760">
                  <c:v>46246</c:v>
                </c:pt>
                <c:pt idx="761">
                  <c:v>46247</c:v>
                </c:pt>
                <c:pt idx="762">
                  <c:v>46248</c:v>
                </c:pt>
                <c:pt idx="763">
                  <c:v>46251</c:v>
                </c:pt>
                <c:pt idx="764">
                  <c:v>46252</c:v>
                </c:pt>
                <c:pt idx="765">
                  <c:v>46253</c:v>
                </c:pt>
                <c:pt idx="766">
                  <c:v>46254</c:v>
                </c:pt>
                <c:pt idx="767">
                  <c:v>46255</c:v>
                </c:pt>
                <c:pt idx="768">
                  <c:v>46258</c:v>
                </c:pt>
                <c:pt idx="769">
                  <c:v>46259</c:v>
                </c:pt>
                <c:pt idx="770">
                  <c:v>46260</c:v>
                </c:pt>
                <c:pt idx="771">
                  <c:v>46261</c:v>
                </c:pt>
                <c:pt idx="772">
                  <c:v>46262</c:v>
                </c:pt>
                <c:pt idx="773">
                  <c:v>46265</c:v>
                </c:pt>
                <c:pt idx="774">
                  <c:v>46266</c:v>
                </c:pt>
                <c:pt idx="775">
                  <c:v>46267</c:v>
                </c:pt>
                <c:pt idx="776">
                  <c:v>46268</c:v>
                </c:pt>
                <c:pt idx="777">
                  <c:v>46269</c:v>
                </c:pt>
                <c:pt idx="778">
                  <c:v>46272</c:v>
                </c:pt>
                <c:pt idx="779">
                  <c:v>46273</c:v>
                </c:pt>
                <c:pt idx="780">
                  <c:v>46274</c:v>
                </c:pt>
                <c:pt idx="781">
                  <c:v>46275</c:v>
                </c:pt>
                <c:pt idx="782">
                  <c:v>46276</c:v>
                </c:pt>
                <c:pt idx="783">
                  <c:v>46279</c:v>
                </c:pt>
                <c:pt idx="784">
                  <c:v>46280</c:v>
                </c:pt>
                <c:pt idx="785">
                  <c:v>46281</c:v>
                </c:pt>
                <c:pt idx="786">
                  <c:v>46282</c:v>
                </c:pt>
                <c:pt idx="787">
                  <c:v>46283</c:v>
                </c:pt>
                <c:pt idx="788">
                  <c:v>46286</c:v>
                </c:pt>
                <c:pt idx="789">
                  <c:v>46287</c:v>
                </c:pt>
                <c:pt idx="790">
                  <c:v>46288</c:v>
                </c:pt>
                <c:pt idx="791">
                  <c:v>46289</c:v>
                </c:pt>
                <c:pt idx="792">
                  <c:v>46290</c:v>
                </c:pt>
                <c:pt idx="793">
                  <c:v>46293</c:v>
                </c:pt>
                <c:pt idx="794">
                  <c:v>46294</c:v>
                </c:pt>
                <c:pt idx="795">
                  <c:v>46295</c:v>
                </c:pt>
                <c:pt idx="796">
                  <c:v>46296</c:v>
                </c:pt>
                <c:pt idx="797">
                  <c:v>46297</c:v>
                </c:pt>
                <c:pt idx="798">
                  <c:v>46300</c:v>
                </c:pt>
                <c:pt idx="799">
                  <c:v>46301</c:v>
                </c:pt>
                <c:pt idx="800">
                  <c:v>46302</c:v>
                </c:pt>
                <c:pt idx="801">
                  <c:v>46303</c:v>
                </c:pt>
                <c:pt idx="802">
                  <c:v>46304</c:v>
                </c:pt>
                <c:pt idx="803">
                  <c:v>46307</c:v>
                </c:pt>
                <c:pt idx="804">
                  <c:v>46308</c:v>
                </c:pt>
                <c:pt idx="805">
                  <c:v>46309</c:v>
                </c:pt>
                <c:pt idx="806">
                  <c:v>46310</c:v>
                </c:pt>
                <c:pt idx="807">
                  <c:v>46311</c:v>
                </c:pt>
                <c:pt idx="808">
                  <c:v>46314</c:v>
                </c:pt>
                <c:pt idx="809">
                  <c:v>46315</c:v>
                </c:pt>
                <c:pt idx="810">
                  <c:v>46316</c:v>
                </c:pt>
                <c:pt idx="811">
                  <c:v>46317</c:v>
                </c:pt>
                <c:pt idx="812">
                  <c:v>46318</c:v>
                </c:pt>
                <c:pt idx="813">
                  <c:v>46321</c:v>
                </c:pt>
                <c:pt idx="814">
                  <c:v>46322</c:v>
                </c:pt>
                <c:pt idx="815">
                  <c:v>46323</c:v>
                </c:pt>
                <c:pt idx="816">
                  <c:v>46324</c:v>
                </c:pt>
                <c:pt idx="817">
                  <c:v>46325</c:v>
                </c:pt>
                <c:pt idx="818">
                  <c:v>46328</c:v>
                </c:pt>
                <c:pt idx="819">
                  <c:v>46329</c:v>
                </c:pt>
                <c:pt idx="820">
                  <c:v>46330</c:v>
                </c:pt>
                <c:pt idx="821">
                  <c:v>46331</c:v>
                </c:pt>
                <c:pt idx="822">
                  <c:v>46332</c:v>
                </c:pt>
                <c:pt idx="823">
                  <c:v>46335</c:v>
                </c:pt>
                <c:pt idx="824">
                  <c:v>46336</c:v>
                </c:pt>
                <c:pt idx="825">
                  <c:v>46337</c:v>
                </c:pt>
                <c:pt idx="826">
                  <c:v>46338</c:v>
                </c:pt>
                <c:pt idx="827">
                  <c:v>46339</c:v>
                </c:pt>
                <c:pt idx="828">
                  <c:v>46342</c:v>
                </c:pt>
                <c:pt idx="829">
                  <c:v>46343</c:v>
                </c:pt>
                <c:pt idx="830">
                  <c:v>46344</c:v>
                </c:pt>
                <c:pt idx="831">
                  <c:v>46345</c:v>
                </c:pt>
                <c:pt idx="832">
                  <c:v>46346</c:v>
                </c:pt>
                <c:pt idx="833">
                  <c:v>46349</c:v>
                </c:pt>
                <c:pt idx="834">
                  <c:v>46350</c:v>
                </c:pt>
                <c:pt idx="835">
                  <c:v>46351</c:v>
                </c:pt>
                <c:pt idx="836">
                  <c:v>46352</c:v>
                </c:pt>
                <c:pt idx="837">
                  <c:v>46353</c:v>
                </c:pt>
                <c:pt idx="838">
                  <c:v>46356</c:v>
                </c:pt>
                <c:pt idx="839">
                  <c:v>46357</c:v>
                </c:pt>
                <c:pt idx="840">
                  <c:v>46358</c:v>
                </c:pt>
                <c:pt idx="841">
                  <c:v>46359</c:v>
                </c:pt>
                <c:pt idx="842">
                  <c:v>46360</c:v>
                </c:pt>
                <c:pt idx="843">
                  <c:v>46363</c:v>
                </c:pt>
                <c:pt idx="844">
                  <c:v>46364</c:v>
                </c:pt>
                <c:pt idx="845">
                  <c:v>46365</c:v>
                </c:pt>
                <c:pt idx="846">
                  <c:v>46366</c:v>
                </c:pt>
                <c:pt idx="847">
                  <c:v>46367</c:v>
                </c:pt>
                <c:pt idx="848">
                  <c:v>46370</c:v>
                </c:pt>
                <c:pt idx="849">
                  <c:v>46371</c:v>
                </c:pt>
                <c:pt idx="850">
                  <c:v>46372</c:v>
                </c:pt>
                <c:pt idx="851">
                  <c:v>46373</c:v>
                </c:pt>
                <c:pt idx="852">
                  <c:v>46374</c:v>
                </c:pt>
                <c:pt idx="853">
                  <c:v>46377</c:v>
                </c:pt>
                <c:pt idx="854">
                  <c:v>46378</c:v>
                </c:pt>
                <c:pt idx="855">
                  <c:v>46379</c:v>
                </c:pt>
                <c:pt idx="856">
                  <c:v>46380</c:v>
                </c:pt>
                <c:pt idx="857">
                  <c:v>46381</c:v>
                </c:pt>
                <c:pt idx="858">
                  <c:v>46384</c:v>
                </c:pt>
                <c:pt idx="859">
                  <c:v>46385</c:v>
                </c:pt>
                <c:pt idx="860">
                  <c:v>46386</c:v>
                </c:pt>
                <c:pt idx="861">
                  <c:v>46387</c:v>
                </c:pt>
                <c:pt idx="862">
                  <c:v>46388</c:v>
                </c:pt>
                <c:pt idx="863">
                  <c:v>46391</c:v>
                </c:pt>
                <c:pt idx="864">
                  <c:v>46392</c:v>
                </c:pt>
                <c:pt idx="865">
                  <c:v>46393</c:v>
                </c:pt>
                <c:pt idx="866">
                  <c:v>46394</c:v>
                </c:pt>
                <c:pt idx="867">
                  <c:v>46395</c:v>
                </c:pt>
                <c:pt idx="868">
                  <c:v>46398</c:v>
                </c:pt>
                <c:pt idx="869">
                  <c:v>46399</c:v>
                </c:pt>
                <c:pt idx="870">
                  <c:v>46400</c:v>
                </c:pt>
                <c:pt idx="871">
                  <c:v>46401</c:v>
                </c:pt>
                <c:pt idx="872">
                  <c:v>46402</c:v>
                </c:pt>
                <c:pt idx="873">
                  <c:v>46405</c:v>
                </c:pt>
                <c:pt idx="874">
                  <c:v>46406</c:v>
                </c:pt>
                <c:pt idx="875">
                  <c:v>46407</c:v>
                </c:pt>
                <c:pt idx="876">
                  <c:v>46408</c:v>
                </c:pt>
                <c:pt idx="877">
                  <c:v>46409</c:v>
                </c:pt>
                <c:pt idx="878">
                  <c:v>46412</c:v>
                </c:pt>
                <c:pt idx="879">
                  <c:v>46413</c:v>
                </c:pt>
                <c:pt idx="880">
                  <c:v>46414</c:v>
                </c:pt>
                <c:pt idx="881">
                  <c:v>46415</c:v>
                </c:pt>
                <c:pt idx="882">
                  <c:v>46416</c:v>
                </c:pt>
                <c:pt idx="883">
                  <c:v>46419</c:v>
                </c:pt>
                <c:pt idx="884">
                  <c:v>46420</c:v>
                </c:pt>
                <c:pt idx="885">
                  <c:v>46421</c:v>
                </c:pt>
                <c:pt idx="886">
                  <c:v>46422</c:v>
                </c:pt>
                <c:pt idx="887">
                  <c:v>46423</c:v>
                </c:pt>
                <c:pt idx="888">
                  <c:v>46426</c:v>
                </c:pt>
                <c:pt idx="889">
                  <c:v>46427</c:v>
                </c:pt>
                <c:pt idx="890">
                  <c:v>46428</c:v>
                </c:pt>
                <c:pt idx="891">
                  <c:v>46429</c:v>
                </c:pt>
                <c:pt idx="892">
                  <c:v>46430</c:v>
                </c:pt>
                <c:pt idx="893">
                  <c:v>46433</c:v>
                </c:pt>
                <c:pt idx="894">
                  <c:v>46434</c:v>
                </c:pt>
                <c:pt idx="895">
                  <c:v>46435</c:v>
                </c:pt>
                <c:pt idx="896">
                  <c:v>46436</c:v>
                </c:pt>
                <c:pt idx="897">
                  <c:v>46437</c:v>
                </c:pt>
                <c:pt idx="898">
                  <c:v>46440</c:v>
                </c:pt>
                <c:pt idx="899">
                  <c:v>46441</c:v>
                </c:pt>
                <c:pt idx="900">
                  <c:v>46442</c:v>
                </c:pt>
                <c:pt idx="901">
                  <c:v>46443</c:v>
                </c:pt>
                <c:pt idx="902">
                  <c:v>46444</c:v>
                </c:pt>
                <c:pt idx="903">
                  <c:v>46447</c:v>
                </c:pt>
                <c:pt idx="904">
                  <c:v>46448</c:v>
                </c:pt>
                <c:pt idx="905">
                  <c:v>46449</c:v>
                </c:pt>
                <c:pt idx="906">
                  <c:v>46450</c:v>
                </c:pt>
                <c:pt idx="907">
                  <c:v>46451</c:v>
                </c:pt>
                <c:pt idx="908">
                  <c:v>46454</c:v>
                </c:pt>
                <c:pt idx="909">
                  <c:v>46455</c:v>
                </c:pt>
                <c:pt idx="910">
                  <c:v>46456</c:v>
                </c:pt>
                <c:pt idx="911">
                  <c:v>46457</c:v>
                </c:pt>
                <c:pt idx="912">
                  <c:v>46458</c:v>
                </c:pt>
                <c:pt idx="913">
                  <c:v>46461</c:v>
                </c:pt>
                <c:pt idx="914">
                  <c:v>46462</c:v>
                </c:pt>
                <c:pt idx="915">
                  <c:v>46463</c:v>
                </c:pt>
                <c:pt idx="916">
                  <c:v>46464</c:v>
                </c:pt>
                <c:pt idx="917">
                  <c:v>46465</c:v>
                </c:pt>
                <c:pt idx="918">
                  <c:v>46468</c:v>
                </c:pt>
                <c:pt idx="919">
                  <c:v>46469</c:v>
                </c:pt>
                <c:pt idx="920">
                  <c:v>46470</c:v>
                </c:pt>
                <c:pt idx="921">
                  <c:v>46471</c:v>
                </c:pt>
                <c:pt idx="922">
                  <c:v>46472</c:v>
                </c:pt>
                <c:pt idx="923">
                  <c:v>46475</c:v>
                </c:pt>
                <c:pt idx="924">
                  <c:v>46476</c:v>
                </c:pt>
                <c:pt idx="925">
                  <c:v>46477</c:v>
                </c:pt>
                <c:pt idx="926">
                  <c:v>46478</c:v>
                </c:pt>
                <c:pt idx="927">
                  <c:v>46479</c:v>
                </c:pt>
                <c:pt idx="928">
                  <c:v>46482</c:v>
                </c:pt>
                <c:pt idx="929">
                  <c:v>46483</c:v>
                </c:pt>
                <c:pt idx="930">
                  <c:v>46484</c:v>
                </c:pt>
                <c:pt idx="931">
                  <c:v>46485</c:v>
                </c:pt>
                <c:pt idx="932">
                  <c:v>46486</c:v>
                </c:pt>
                <c:pt idx="933">
                  <c:v>46489</c:v>
                </c:pt>
                <c:pt idx="934">
                  <c:v>46490</c:v>
                </c:pt>
                <c:pt idx="935">
                  <c:v>46491</c:v>
                </c:pt>
                <c:pt idx="936">
                  <c:v>46492</c:v>
                </c:pt>
                <c:pt idx="937">
                  <c:v>46493</c:v>
                </c:pt>
                <c:pt idx="938">
                  <c:v>46496</c:v>
                </c:pt>
                <c:pt idx="939">
                  <c:v>46497</c:v>
                </c:pt>
                <c:pt idx="940">
                  <c:v>46498</c:v>
                </c:pt>
                <c:pt idx="941">
                  <c:v>46499</c:v>
                </c:pt>
                <c:pt idx="942">
                  <c:v>46500</c:v>
                </c:pt>
                <c:pt idx="943">
                  <c:v>46503</c:v>
                </c:pt>
                <c:pt idx="944">
                  <c:v>46504</c:v>
                </c:pt>
                <c:pt idx="945">
                  <c:v>46505</c:v>
                </c:pt>
                <c:pt idx="946">
                  <c:v>46506</c:v>
                </c:pt>
                <c:pt idx="947">
                  <c:v>46507</c:v>
                </c:pt>
                <c:pt idx="948">
                  <c:v>46510</c:v>
                </c:pt>
                <c:pt idx="949">
                  <c:v>46511</c:v>
                </c:pt>
                <c:pt idx="950">
                  <c:v>46512</c:v>
                </c:pt>
                <c:pt idx="951">
                  <c:v>46513</c:v>
                </c:pt>
                <c:pt idx="952">
                  <c:v>46514</c:v>
                </c:pt>
                <c:pt idx="953">
                  <c:v>46517</c:v>
                </c:pt>
                <c:pt idx="954">
                  <c:v>46518</c:v>
                </c:pt>
                <c:pt idx="955">
                  <c:v>46519</c:v>
                </c:pt>
                <c:pt idx="956">
                  <c:v>46520</c:v>
                </c:pt>
                <c:pt idx="957">
                  <c:v>46521</c:v>
                </c:pt>
                <c:pt idx="958">
                  <c:v>46524</c:v>
                </c:pt>
                <c:pt idx="959">
                  <c:v>46525</c:v>
                </c:pt>
                <c:pt idx="960">
                  <c:v>46526</c:v>
                </c:pt>
                <c:pt idx="961">
                  <c:v>46527</c:v>
                </c:pt>
                <c:pt idx="962">
                  <c:v>46528</c:v>
                </c:pt>
                <c:pt idx="963">
                  <c:v>46531</c:v>
                </c:pt>
                <c:pt idx="964">
                  <c:v>46532</c:v>
                </c:pt>
                <c:pt idx="965">
                  <c:v>46533</c:v>
                </c:pt>
                <c:pt idx="966">
                  <c:v>46534</c:v>
                </c:pt>
                <c:pt idx="967">
                  <c:v>46535</c:v>
                </c:pt>
                <c:pt idx="968">
                  <c:v>46538</c:v>
                </c:pt>
                <c:pt idx="969">
                  <c:v>46539</c:v>
                </c:pt>
                <c:pt idx="970">
                  <c:v>46540</c:v>
                </c:pt>
                <c:pt idx="971">
                  <c:v>46541</c:v>
                </c:pt>
                <c:pt idx="972">
                  <c:v>46542</c:v>
                </c:pt>
                <c:pt idx="973">
                  <c:v>46545</c:v>
                </c:pt>
                <c:pt idx="974">
                  <c:v>46546</c:v>
                </c:pt>
                <c:pt idx="975">
                  <c:v>46547</c:v>
                </c:pt>
                <c:pt idx="976">
                  <c:v>46548</c:v>
                </c:pt>
                <c:pt idx="977">
                  <c:v>46549</c:v>
                </c:pt>
                <c:pt idx="978">
                  <c:v>46552</c:v>
                </c:pt>
                <c:pt idx="979">
                  <c:v>46553</c:v>
                </c:pt>
                <c:pt idx="980">
                  <c:v>46554</c:v>
                </c:pt>
                <c:pt idx="981">
                  <c:v>46555</c:v>
                </c:pt>
                <c:pt idx="982">
                  <c:v>46556</c:v>
                </c:pt>
                <c:pt idx="983">
                  <c:v>46559</c:v>
                </c:pt>
                <c:pt idx="984">
                  <c:v>46560</c:v>
                </c:pt>
                <c:pt idx="985">
                  <c:v>46561</c:v>
                </c:pt>
                <c:pt idx="986">
                  <c:v>46562</c:v>
                </c:pt>
                <c:pt idx="987">
                  <c:v>46563</c:v>
                </c:pt>
                <c:pt idx="988">
                  <c:v>46566</c:v>
                </c:pt>
                <c:pt idx="989">
                  <c:v>46567</c:v>
                </c:pt>
                <c:pt idx="990">
                  <c:v>46568</c:v>
                </c:pt>
                <c:pt idx="991">
                  <c:v>46569</c:v>
                </c:pt>
                <c:pt idx="992">
                  <c:v>46570</c:v>
                </c:pt>
                <c:pt idx="993">
                  <c:v>46573</c:v>
                </c:pt>
                <c:pt idx="994">
                  <c:v>46574</c:v>
                </c:pt>
                <c:pt idx="995">
                  <c:v>46575</c:v>
                </c:pt>
                <c:pt idx="996">
                  <c:v>46576</c:v>
                </c:pt>
                <c:pt idx="997">
                  <c:v>46577</c:v>
                </c:pt>
                <c:pt idx="998">
                  <c:v>46580</c:v>
                </c:pt>
              </c:numCache>
            </c:numRef>
          </c:cat>
          <c:val>
            <c:numRef>
              <c:f>Daily!$D$2:$D$1057</c:f>
            </c:numRef>
          </c:val>
          <c:smooth val="1"/>
          <c:extLst>
            <c:ext xmlns:c16="http://schemas.microsoft.com/office/drawing/2014/chart" uri="{C3380CC4-5D6E-409C-BE32-E72D297353CC}">
              <c16:uniqueId val="{00000009-094D-4E29-B010-D717A2A1A293}"/>
            </c:ext>
          </c:extLst>
        </c:ser>
        <c:ser>
          <c:idx val="3"/>
          <c:order val="3"/>
          <c:tx>
            <c:strRef>
              <c:f>Daily!$E$1</c:f>
              <c:strCache>
                <c:ptCount val="1"/>
                <c:pt idx="0">
                  <c:v>M+3</c:v>
                </c:pt>
              </c:strCache>
            </c:strRef>
          </c:tx>
          <c:spPr>
            <a:ln w="28575" cap="rnd" cmpd="sng" algn="ctr">
              <a:solidFill>
                <a:schemeClr val="accent4">
                  <a:shade val="95000"/>
                  <a:satMod val="105000"/>
                </a:schemeClr>
              </a:solidFill>
              <a:prstDash val="solid"/>
              <a:round/>
            </a:ln>
            <a:effectLst/>
          </c:spPr>
          <c:marker>
            <c:symbol val="none"/>
          </c:marker>
          <c:cat>
            <c:numRef>
              <c:f>Daily!$A$2:$A$1000</c:f>
              <c:numCache>
                <c:formatCode>d\-mmm\-yy</c:formatCode>
                <c:ptCount val="999"/>
                <c:pt idx="0">
                  <c:v>45128</c:v>
                </c:pt>
                <c:pt idx="1">
                  <c:v>45131</c:v>
                </c:pt>
                <c:pt idx="2">
                  <c:v>45132</c:v>
                </c:pt>
                <c:pt idx="3">
                  <c:v>45133</c:v>
                </c:pt>
                <c:pt idx="4">
                  <c:v>45134</c:v>
                </c:pt>
                <c:pt idx="5">
                  <c:v>45135</c:v>
                </c:pt>
                <c:pt idx="6">
                  <c:v>45138</c:v>
                </c:pt>
                <c:pt idx="7">
                  <c:v>45139</c:v>
                </c:pt>
                <c:pt idx="8">
                  <c:v>45140</c:v>
                </c:pt>
                <c:pt idx="9">
                  <c:v>45141</c:v>
                </c:pt>
                <c:pt idx="10">
                  <c:v>45142</c:v>
                </c:pt>
                <c:pt idx="11">
                  <c:v>45145</c:v>
                </c:pt>
                <c:pt idx="12">
                  <c:v>45146</c:v>
                </c:pt>
                <c:pt idx="13">
                  <c:v>45147</c:v>
                </c:pt>
                <c:pt idx="14">
                  <c:v>45148</c:v>
                </c:pt>
                <c:pt idx="15">
                  <c:v>45149</c:v>
                </c:pt>
                <c:pt idx="16">
                  <c:v>45152</c:v>
                </c:pt>
                <c:pt idx="17">
                  <c:v>45153</c:v>
                </c:pt>
                <c:pt idx="18">
                  <c:v>45154</c:v>
                </c:pt>
                <c:pt idx="19">
                  <c:v>45155</c:v>
                </c:pt>
                <c:pt idx="20">
                  <c:v>45156</c:v>
                </c:pt>
                <c:pt idx="21">
                  <c:v>45159</c:v>
                </c:pt>
                <c:pt idx="22">
                  <c:v>45160</c:v>
                </c:pt>
                <c:pt idx="23">
                  <c:v>45161</c:v>
                </c:pt>
                <c:pt idx="24">
                  <c:v>45162</c:v>
                </c:pt>
                <c:pt idx="25">
                  <c:v>45163</c:v>
                </c:pt>
                <c:pt idx="26">
                  <c:v>45166</c:v>
                </c:pt>
                <c:pt idx="27">
                  <c:v>45167</c:v>
                </c:pt>
                <c:pt idx="28">
                  <c:v>45168</c:v>
                </c:pt>
                <c:pt idx="29">
                  <c:v>45169</c:v>
                </c:pt>
                <c:pt idx="30">
                  <c:v>45170</c:v>
                </c:pt>
                <c:pt idx="31">
                  <c:v>45173</c:v>
                </c:pt>
                <c:pt idx="32">
                  <c:v>45174</c:v>
                </c:pt>
                <c:pt idx="33">
                  <c:v>45175</c:v>
                </c:pt>
                <c:pt idx="34">
                  <c:v>45176</c:v>
                </c:pt>
                <c:pt idx="35">
                  <c:v>45177</c:v>
                </c:pt>
                <c:pt idx="36">
                  <c:v>45180</c:v>
                </c:pt>
                <c:pt idx="37">
                  <c:v>45181</c:v>
                </c:pt>
                <c:pt idx="38">
                  <c:v>45182</c:v>
                </c:pt>
                <c:pt idx="39">
                  <c:v>45183</c:v>
                </c:pt>
                <c:pt idx="40">
                  <c:v>45184</c:v>
                </c:pt>
                <c:pt idx="41">
                  <c:v>45187</c:v>
                </c:pt>
                <c:pt idx="42">
                  <c:v>45188</c:v>
                </c:pt>
                <c:pt idx="43">
                  <c:v>45189</c:v>
                </c:pt>
                <c:pt idx="44">
                  <c:v>45190</c:v>
                </c:pt>
                <c:pt idx="45">
                  <c:v>45191</c:v>
                </c:pt>
                <c:pt idx="46">
                  <c:v>45194</c:v>
                </c:pt>
                <c:pt idx="47">
                  <c:v>45195</c:v>
                </c:pt>
                <c:pt idx="48">
                  <c:v>45196</c:v>
                </c:pt>
                <c:pt idx="49">
                  <c:v>45197</c:v>
                </c:pt>
                <c:pt idx="50">
                  <c:v>45208</c:v>
                </c:pt>
                <c:pt idx="51">
                  <c:v>45209</c:v>
                </c:pt>
                <c:pt idx="52">
                  <c:v>45210</c:v>
                </c:pt>
                <c:pt idx="53">
                  <c:v>45211</c:v>
                </c:pt>
                <c:pt idx="54">
                  <c:v>45212</c:v>
                </c:pt>
                <c:pt idx="55">
                  <c:v>45215</c:v>
                </c:pt>
                <c:pt idx="56">
                  <c:v>45216</c:v>
                </c:pt>
                <c:pt idx="57">
                  <c:v>45217</c:v>
                </c:pt>
                <c:pt idx="58">
                  <c:v>45218</c:v>
                </c:pt>
                <c:pt idx="59">
                  <c:v>45219</c:v>
                </c:pt>
                <c:pt idx="60">
                  <c:v>45222</c:v>
                </c:pt>
                <c:pt idx="61">
                  <c:v>45223</c:v>
                </c:pt>
                <c:pt idx="62">
                  <c:v>45224</c:v>
                </c:pt>
                <c:pt idx="63">
                  <c:v>45225</c:v>
                </c:pt>
                <c:pt idx="64">
                  <c:v>45226</c:v>
                </c:pt>
                <c:pt idx="65">
                  <c:v>45229</c:v>
                </c:pt>
                <c:pt idx="66">
                  <c:v>45230</c:v>
                </c:pt>
                <c:pt idx="67">
                  <c:v>45231</c:v>
                </c:pt>
                <c:pt idx="68">
                  <c:v>45232</c:v>
                </c:pt>
                <c:pt idx="69">
                  <c:v>45233</c:v>
                </c:pt>
                <c:pt idx="70">
                  <c:v>45236</c:v>
                </c:pt>
                <c:pt idx="71">
                  <c:v>45237</c:v>
                </c:pt>
                <c:pt idx="72">
                  <c:v>45238</c:v>
                </c:pt>
                <c:pt idx="73">
                  <c:v>45239</c:v>
                </c:pt>
                <c:pt idx="74">
                  <c:v>45240</c:v>
                </c:pt>
                <c:pt idx="75">
                  <c:v>45243</c:v>
                </c:pt>
                <c:pt idx="76">
                  <c:v>45244</c:v>
                </c:pt>
                <c:pt idx="77">
                  <c:v>45245</c:v>
                </c:pt>
                <c:pt idx="78">
                  <c:v>45246</c:v>
                </c:pt>
                <c:pt idx="79">
                  <c:v>45247</c:v>
                </c:pt>
                <c:pt idx="80">
                  <c:v>45250</c:v>
                </c:pt>
                <c:pt idx="81">
                  <c:v>45251</c:v>
                </c:pt>
                <c:pt idx="82">
                  <c:v>45252</c:v>
                </c:pt>
                <c:pt idx="83">
                  <c:v>45253</c:v>
                </c:pt>
                <c:pt idx="84">
                  <c:v>45254</c:v>
                </c:pt>
                <c:pt idx="85">
                  <c:v>45257</c:v>
                </c:pt>
                <c:pt idx="86">
                  <c:v>45258</c:v>
                </c:pt>
                <c:pt idx="87">
                  <c:v>45259</c:v>
                </c:pt>
                <c:pt idx="88">
                  <c:v>45260</c:v>
                </c:pt>
                <c:pt idx="89">
                  <c:v>45261</c:v>
                </c:pt>
                <c:pt idx="90">
                  <c:v>45264</c:v>
                </c:pt>
                <c:pt idx="91">
                  <c:v>45265</c:v>
                </c:pt>
                <c:pt idx="92">
                  <c:v>45266</c:v>
                </c:pt>
                <c:pt idx="93">
                  <c:v>45267</c:v>
                </c:pt>
                <c:pt idx="94">
                  <c:v>45268</c:v>
                </c:pt>
                <c:pt idx="95">
                  <c:v>45271</c:v>
                </c:pt>
                <c:pt idx="96">
                  <c:v>45272</c:v>
                </c:pt>
                <c:pt idx="97">
                  <c:v>45273</c:v>
                </c:pt>
                <c:pt idx="98">
                  <c:v>45274</c:v>
                </c:pt>
                <c:pt idx="99">
                  <c:v>45275</c:v>
                </c:pt>
                <c:pt idx="100">
                  <c:v>45278</c:v>
                </c:pt>
                <c:pt idx="101">
                  <c:v>45279</c:v>
                </c:pt>
                <c:pt idx="102">
                  <c:v>45280</c:v>
                </c:pt>
                <c:pt idx="103">
                  <c:v>45281</c:v>
                </c:pt>
                <c:pt idx="104">
                  <c:v>45282</c:v>
                </c:pt>
                <c:pt idx="105">
                  <c:v>45285</c:v>
                </c:pt>
                <c:pt idx="106">
                  <c:v>45286</c:v>
                </c:pt>
                <c:pt idx="107">
                  <c:v>45287</c:v>
                </c:pt>
                <c:pt idx="108">
                  <c:v>45288</c:v>
                </c:pt>
                <c:pt idx="109">
                  <c:v>45289</c:v>
                </c:pt>
                <c:pt idx="110">
                  <c:v>45293</c:v>
                </c:pt>
                <c:pt idx="111">
                  <c:v>45294</c:v>
                </c:pt>
                <c:pt idx="112">
                  <c:v>45295</c:v>
                </c:pt>
                <c:pt idx="113">
                  <c:v>45296</c:v>
                </c:pt>
                <c:pt idx="114">
                  <c:v>45299</c:v>
                </c:pt>
                <c:pt idx="115">
                  <c:v>45300</c:v>
                </c:pt>
                <c:pt idx="116">
                  <c:v>45301</c:v>
                </c:pt>
                <c:pt idx="117">
                  <c:v>45302</c:v>
                </c:pt>
                <c:pt idx="118">
                  <c:v>45303</c:v>
                </c:pt>
                <c:pt idx="119">
                  <c:v>45306</c:v>
                </c:pt>
                <c:pt idx="120">
                  <c:v>45307</c:v>
                </c:pt>
                <c:pt idx="121">
                  <c:v>45308</c:v>
                </c:pt>
                <c:pt idx="122">
                  <c:v>45309</c:v>
                </c:pt>
                <c:pt idx="123">
                  <c:v>45310</c:v>
                </c:pt>
                <c:pt idx="124">
                  <c:v>45313</c:v>
                </c:pt>
                <c:pt idx="125">
                  <c:v>45314</c:v>
                </c:pt>
                <c:pt idx="126">
                  <c:v>45315</c:v>
                </c:pt>
                <c:pt idx="127">
                  <c:v>45316</c:v>
                </c:pt>
                <c:pt idx="128">
                  <c:v>45317</c:v>
                </c:pt>
                <c:pt idx="129">
                  <c:v>45320</c:v>
                </c:pt>
                <c:pt idx="130">
                  <c:v>45321</c:v>
                </c:pt>
                <c:pt idx="131">
                  <c:v>45322</c:v>
                </c:pt>
                <c:pt idx="132">
                  <c:v>45323</c:v>
                </c:pt>
                <c:pt idx="133">
                  <c:v>45324</c:v>
                </c:pt>
                <c:pt idx="134">
                  <c:v>45327</c:v>
                </c:pt>
                <c:pt idx="135">
                  <c:v>45328</c:v>
                </c:pt>
                <c:pt idx="136">
                  <c:v>45329</c:v>
                </c:pt>
                <c:pt idx="137">
                  <c:v>45330</c:v>
                </c:pt>
                <c:pt idx="138">
                  <c:v>45341</c:v>
                </c:pt>
                <c:pt idx="139">
                  <c:v>45342</c:v>
                </c:pt>
                <c:pt idx="140">
                  <c:v>45343</c:v>
                </c:pt>
                <c:pt idx="141">
                  <c:v>45344</c:v>
                </c:pt>
                <c:pt idx="142">
                  <c:v>45345</c:v>
                </c:pt>
                <c:pt idx="143">
                  <c:v>45348</c:v>
                </c:pt>
                <c:pt idx="144">
                  <c:v>45349</c:v>
                </c:pt>
                <c:pt idx="145">
                  <c:v>45350</c:v>
                </c:pt>
                <c:pt idx="146">
                  <c:v>45351</c:v>
                </c:pt>
                <c:pt idx="147">
                  <c:v>45352</c:v>
                </c:pt>
                <c:pt idx="148">
                  <c:v>45355</c:v>
                </c:pt>
                <c:pt idx="149">
                  <c:v>45356</c:v>
                </c:pt>
                <c:pt idx="150">
                  <c:v>45357</c:v>
                </c:pt>
                <c:pt idx="151">
                  <c:v>45358</c:v>
                </c:pt>
                <c:pt idx="152">
                  <c:v>45359</c:v>
                </c:pt>
                <c:pt idx="153">
                  <c:v>45362</c:v>
                </c:pt>
                <c:pt idx="154">
                  <c:v>45363</c:v>
                </c:pt>
                <c:pt idx="155">
                  <c:v>45364</c:v>
                </c:pt>
                <c:pt idx="156">
                  <c:v>45365</c:v>
                </c:pt>
                <c:pt idx="157">
                  <c:v>45366</c:v>
                </c:pt>
                <c:pt idx="158">
                  <c:v>45369</c:v>
                </c:pt>
                <c:pt idx="159">
                  <c:v>45370</c:v>
                </c:pt>
                <c:pt idx="160">
                  <c:v>45371</c:v>
                </c:pt>
                <c:pt idx="161">
                  <c:v>45372</c:v>
                </c:pt>
                <c:pt idx="162">
                  <c:v>45373</c:v>
                </c:pt>
                <c:pt idx="163">
                  <c:v>45376</c:v>
                </c:pt>
                <c:pt idx="164">
                  <c:v>45377</c:v>
                </c:pt>
                <c:pt idx="165">
                  <c:v>45378</c:v>
                </c:pt>
                <c:pt idx="166">
                  <c:v>45379</c:v>
                </c:pt>
                <c:pt idx="167">
                  <c:v>45380</c:v>
                </c:pt>
                <c:pt idx="168">
                  <c:v>45383</c:v>
                </c:pt>
                <c:pt idx="169">
                  <c:v>45384</c:v>
                </c:pt>
                <c:pt idx="170">
                  <c:v>45385</c:v>
                </c:pt>
                <c:pt idx="171">
                  <c:v>45390</c:v>
                </c:pt>
                <c:pt idx="172">
                  <c:v>45391</c:v>
                </c:pt>
                <c:pt idx="173">
                  <c:v>45392</c:v>
                </c:pt>
                <c:pt idx="174">
                  <c:v>45393</c:v>
                </c:pt>
                <c:pt idx="175">
                  <c:v>45394</c:v>
                </c:pt>
                <c:pt idx="176">
                  <c:v>45397</c:v>
                </c:pt>
                <c:pt idx="177">
                  <c:v>45398</c:v>
                </c:pt>
                <c:pt idx="178">
                  <c:v>45399</c:v>
                </c:pt>
                <c:pt idx="179">
                  <c:v>45400</c:v>
                </c:pt>
                <c:pt idx="180">
                  <c:v>45401</c:v>
                </c:pt>
                <c:pt idx="181">
                  <c:v>45404</c:v>
                </c:pt>
                <c:pt idx="182">
                  <c:v>45405</c:v>
                </c:pt>
                <c:pt idx="183">
                  <c:v>45406</c:v>
                </c:pt>
                <c:pt idx="184">
                  <c:v>45407</c:v>
                </c:pt>
                <c:pt idx="185">
                  <c:v>45408</c:v>
                </c:pt>
                <c:pt idx="186">
                  <c:v>45411</c:v>
                </c:pt>
                <c:pt idx="187">
                  <c:v>45412</c:v>
                </c:pt>
                <c:pt idx="188">
                  <c:v>45418</c:v>
                </c:pt>
                <c:pt idx="189">
                  <c:v>45419</c:v>
                </c:pt>
                <c:pt idx="190">
                  <c:v>45420</c:v>
                </c:pt>
                <c:pt idx="191">
                  <c:v>45421</c:v>
                </c:pt>
                <c:pt idx="192">
                  <c:v>45422</c:v>
                </c:pt>
                <c:pt idx="193">
                  <c:v>45425</c:v>
                </c:pt>
                <c:pt idx="194">
                  <c:v>45426</c:v>
                </c:pt>
                <c:pt idx="195">
                  <c:v>45427</c:v>
                </c:pt>
                <c:pt idx="196">
                  <c:v>45428</c:v>
                </c:pt>
                <c:pt idx="197">
                  <c:v>45429</c:v>
                </c:pt>
                <c:pt idx="198">
                  <c:v>45432</c:v>
                </c:pt>
                <c:pt idx="199">
                  <c:v>45433</c:v>
                </c:pt>
                <c:pt idx="200">
                  <c:v>45434</c:v>
                </c:pt>
                <c:pt idx="201">
                  <c:v>45435</c:v>
                </c:pt>
                <c:pt idx="202">
                  <c:v>45436</c:v>
                </c:pt>
                <c:pt idx="203">
                  <c:v>45439</c:v>
                </c:pt>
                <c:pt idx="204">
                  <c:v>45440</c:v>
                </c:pt>
                <c:pt idx="205">
                  <c:v>45441</c:v>
                </c:pt>
                <c:pt idx="206">
                  <c:v>45442</c:v>
                </c:pt>
                <c:pt idx="207">
                  <c:v>45443</c:v>
                </c:pt>
                <c:pt idx="208">
                  <c:v>45446</c:v>
                </c:pt>
                <c:pt idx="209">
                  <c:v>45447</c:v>
                </c:pt>
                <c:pt idx="210">
                  <c:v>45448</c:v>
                </c:pt>
                <c:pt idx="211">
                  <c:v>45449</c:v>
                </c:pt>
                <c:pt idx="212">
                  <c:v>45450</c:v>
                </c:pt>
                <c:pt idx="213">
                  <c:v>45454</c:v>
                </c:pt>
                <c:pt idx="214">
                  <c:v>45455</c:v>
                </c:pt>
                <c:pt idx="215">
                  <c:v>45456</c:v>
                </c:pt>
                <c:pt idx="216">
                  <c:v>45457</c:v>
                </c:pt>
                <c:pt idx="217">
                  <c:v>45460</c:v>
                </c:pt>
                <c:pt idx="218">
                  <c:v>45461</c:v>
                </c:pt>
                <c:pt idx="219">
                  <c:v>45462</c:v>
                </c:pt>
                <c:pt idx="220">
                  <c:v>45463</c:v>
                </c:pt>
                <c:pt idx="221">
                  <c:v>45464</c:v>
                </c:pt>
                <c:pt idx="222">
                  <c:v>45467</c:v>
                </c:pt>
                <c:pt idx="223">
                  <c:v>45468</c:v>
                </c:pt>
                <c:pt idx="224">
                  <c:v>45469</c:v>
                </c:pt>
                <c:pt idx="225">
                  <c:v>45470</c:v>
                </c:pt>
                <c:pt idx="226">
                  <c:v>45471</c:v>
                </c:pt>
                <c:pt idx="227">
                  <c:v>45474</c:v>
                </c:pt>
                <c:pt idx="228">
                  <c:v>45475</c:v>
                </c:pt>
                <c:pt idx="229">
                  <c:v>45476</c:v>
                </c:pt>
                <c:pt idx="230">
                  <c:v>45477</c:v>
                </c:pt>
                <c:pt idx="231">
                  <c:v>45478</c:v>
                </c:pt>
                <c:pt idx="232">
                  <c:v>45481</c:v>
                </c:pt>
                <c:pt idx="233">
                  <c:v>45482</c:v>
                </c:pt>
                <c:pt idx="234">
                  <c:v>45483</c:v>
                </c:pt>
                <c:pt idx="235">
                  <c:v>45484</c:v>
                </c:pt>
                <c:pt idx="236">
                  <c:v>45485</c:v>
                </c:pt>
                <c:pt idx="237">
                  <c:v>45488</c:v>
                </c:pt>
                <c:pt idx="238">
                  <c:v>45489</c:v>
                </c:pt>
                <c:pt idx="239">
                  <c:v>45490</c:v>
                </c:pt>
                <c:pt idx="240">
                  <c:v>45491</c:v>
                </c:pt>
                <c:pt idx="241">
                  <c:v>45492</c:v>
                </c:pt>
                <c:pt idx="242">
                  <c:v>45495</c:v>
                </c:pt>
                <c:pt idx="243">
                  <c:v>45496</c:v>
                </c:pt>
                <c:pt idx="244">
                  <c:v>45497</c:v>
                </c:pt>
                <c:pt idx="245">
                  <c:v>45498</c:v>
                </c:pt>
                <c:pt idx="246">
                  <c:v>45499</c:v>
                </c:pt>
                <c:pt idx="247">
                  <c:v>45502</c:v>
                </c:pt>
                <c:pt idx="248">
                  <c:v>45503</c:v>
                </c:pt>
                <c:pt idx="249">
                  <c:v>45504</c:v>
                </c:pt>
                <c:pt idx="250">
                  <c:v>45505</c:v>
                </c:pt>
                <c:pt idx="251">
                  <c:v>45506</c:v>
                </c:pt>
                <c:pt idx="252">
                  <c:v>45509</c:v>
                </c:pt>
                <c:pt idx="253">
                  <c:v>45510</c:v>
                </c:pt>
                <c:pt idx="254">
                  <c:v>45511</c:v>
                </c:pt>
                <c:pt idx="255">
                  <c:v>45512</c:v>
                </c:pt>
                <c:pt idx="256">
                  <c:v>45513</c:v>
                </c:pt>
                <c:pt idx="257">
                  <c:v>45516</c:v>
                </c:pt>
                <c:pt idx="258">
                  <c:v>45517</c:v>
                </c:pt>
                <c:pt idx="259">
                  <c:v>45518</c:v>
                </c:pt>
                <c:pt idx="260">
                  <c:v>45519</c:v>
                </c:pt>
                <c:pt idx="261">
                  <c:v>45520</c:v>
                </c:pt>
                <c:pt idx="262">
                  <c:v>45523</c:v>
                </c:pt>
                <c:pt idx="263">
                  <c:v>45524</c:v>
                </c:pt>
                <c:pt idx="264">
                  <c:v>45525</c:v>
                </c:pt>
                <c:pt idx="265">
                  <c:v>45526</c:v>
                </c:pt>
                <c:pt idx="266">
                  <c:v>45527</c:v>
                </c:pt>
                <c:pt idx="267">
                  <c:v>45530</c:v>
                </c:pt>
                <c:pt idx="268">
                  <c:v>45531</c:v>
                </c:pt>
                <c:pt idx="269">
                  <c:v>45532</c:v>
                </c:pt>
                <c:pt idx="270">
                  <c:v>45533</c:v>
                </c:pt>
                <c:pt idx="271">
                  <c:v>45534</c:v>
                </c:pt>
                <c:pt idx="272">
                  <c:v>45537</c:v>
                </c:pt>
                <c:pt idx="273">
                  <c:v>45538</c:v>
                </c:pt>
                <c:pt idx="274">
                  <c:v>45539</c:v>
                </c:pt>
                <c:pt idx="275">
                  <c:v>45540</c:v>
                </c:pt>
                <c:pt idx="276">
                  <c:v>45541</c:v>
                </c:pt>
                <c:pt idx="277">
                  <c:v>45544</c:v>
                </c:pt>
                <c:pt idx="278">
                  <c:v>45545</c:v>
                </c:pt>
                <c:pt idx="279">
                  <c:v>45546</c:v>
                </c:pt>
                <c:pt idx="280">
                  <c:v>45547</c:v>
                </c:pt>
                <c:pt idx="281">
                  <c:v>45548</c:v>
                </c:pt>
                <c:pt idx="282">
                  <c:v>45553</c:v>
                </c:pt>
                <c:pt idx="283">
                  <c:v>45554</c:v>
                </c:pt>
                <c:pt idx="284">
                  <c:v>45555</c:v>
                </c:pt>
                <c:pt idx="285">
                  <c:v>45558</c:v>
                </c:pt>
                <c:pt idx="286">
                  <c:v>45559</c:v>
                </c:pt>
                <c:pt idx="287">
                  <c:v>45560</c:v>
                </c:pt>
                <c:pt idx="288">
                  <c:v>45561</c:v>
                </c:pt>
                <c:pt idx="289">
                  <c:v>45562</c:v>
                </c:pt>
                <c:pt idx="290">
                  <c:v>45565</c:v>
                </c:pt>
                <c:pt idx="291">
                  <c:v>45573</c:v>
                </c:pt>
                <c:pt idx="292">
                  <c:v>45574</c:v>
                </c:pt>
                <c:pt idx="293">
                  <c:v>45575</c:v>
                </c:pt>
                <c:pt idx="294">
                  <c:v>45576</c:v>
                </c:pt>
                <c:pt idx="295">
                  <c:v>45579</c:v>
                </c:pt>
                <c:pt idx="296">
                  <c:v>45580</c:v>
                </c:pt>
                <c:pt idx="297">
                  <c:v>45581</c:v>
                </c:pt>
                <c:pt idx="298">
                  <c:v>45582</c:v>
                </c:pt>
                <c:pt idx="299">
                  <c:v>45583</c:v>
                </c:pt>
                <c:pt idx="300">
                  <c:v>45586</c:v>
                </c:pt>
                <c:pt idx="301">
                  <c:v>45587</c:v>
                </c:pt>
                <c:pt idx="302">
                  <c:v>45588</c:v>
                </c:pt>
                <c:pt idx="303">
                  <c:v>45589</c:v>
                </c:pt>
                <c:pt idx="304">
                  <c:v>45590</c:v>
                </c:pt>
                <c:pt idx="305">
                  <c:v>45593</c:v>
                </c:pt>
                <c:pt idx="306">
                  <c:v>45594</c:v>
                </c:pt>
                <c:pt idx="307">
                  <c:v>45595</c:v>
                </c:pt>
                <c:pt idx="308">
                  <c:v>45596</c:v>
                </c:pt>
                <c:pt idx="309">
                  <c:v>45597</c:v>
                </c:pt>
                <c:pt idx="310">
                  <c:v>45600</c:v>
                </c:pt>
                <c:pt idx="311">
                  <c:v>45601</c:v>
                </c:pt>
                <c:pt idx="312">
                  <c:v>45602</c:v>
                </c:pt>
                <c:pt idx="313">
                  <c:v>45603</c:v>
                </c:pt>
                <c:pt idx="314">
                  <c:v>45604</c:v>
                </c:pt>
                <c:pt idx="315">
                  <c:v>45607</c:v>
                </c:pt>
                <c:pt idx="316">
                  <c:v>45608</c:v>
                </c:pt>
                <c:pt idx="317">
                  <c:v>45609</c:v>
                </c:pt>
                <c:pt idx="318">
                  <c:v>45610</c:v>
                </c:pt>
                <c:pt idx="319">
                  <c:v>45611</c:v>
                </c:pt>
                <c:pt idx="320">
                  <c:v>45614</c:v>
                </c:pt>
                <c:pt idx="321">
                  <c:v>45615</c:v>
                </c:pt>
                <c:pt idx="322">
                  <c:v>45616</c:v>
                </c:pt>
                <c:pt idx="323">
                  <c:v>45617</c:v>
                </c:pt>
                <c:pt idx="324">
                  <c:v>45618</c:v>
                </c:pt>
                <c:pt idx="325">
                  <c:v>45621</c:v>
                </c:pt>
                <c:pt idx="326">
                  <c:v>45622</c:v>
                </c:pt>
                <c:pt idx="327">
                  <c:v>45623</c:v>
                </c:pt>
                <c:pt idx="328">
                  <c:v>45624</c:v>
                </c:pt>
                <c:pt idx="329">
                  <c:v>45625</c:v>
                </c:pt>
                <c:pt idx="330">
                  <c:v>45628</c:v>
                </c:pt>
                <c:pt idx="331">
                  <c:v>45629</c:v>
                </c:pt>
                <c:pt idx="332">
                  <c:v>45630</c:v>
                </c:pt>
                <c:pt idx="333">
                  <c:v>45631</c:v>
                </c:pt>
                <c:pt idx="334">
                  <c:v>45632</c:v>
                </c:pt>
                <c:pt idx="335">
                  <c:v>45635</c:v>
                </c:pt>
                <c:pt idx="336">
                  <c:v>45636</c:v>
                </c:pt>
                <c:pt idx="337">
                  <c:v>45637</c:v>
                </c:pt>
                <c:pt idx="338">
                  <c:v>45638</c:v>
                </c:pt>
                <c:pt idx="339">
                  <c:v>45639</c:v>
                </c:pt>
                <c:pt idx="340">
                  <c:v>45642</c:v>
                </c:pt>
                <c:pt idx="341">
                  <c:v>45643</c:v>
                </c:pt>
                <c:pt idx="342">
                  <c:v>45644</c:v>
                </c:pt>
                <c:pt idx="343">
                  <c:v>45645</c:v>
                </c:pt>
                <c:pt idx="344">
                  <c:v>45646</c:v>
                </c:pt>
                <c:pt idx="345">
                  <c:v>45649</c:v>
                </c:pt>
                <c:pt idx="346">
                  <c:v>45650</c:v>
                </c:pt>
                <c:pt idx="347">
                  <c:v>45651</c:v>
                </c:pt>
                <c:pt idx="348">
                  <c:v>45652</c:v>
                </c:pt>
                <c:pt idx="349">
                  <c:v>45653</c:v>
                </c:pt>
                <c:pt idx="350">
                  <c:v>45656</c:v>
                </c:pt>
                <c:pt idx="351">
                  <c:v>45657</c:v>
                </c:pt>
                <c:pt idx="352">
                  <c:v>45659</c:v>
                </c:pt>
                <c:pt idx="353">
                  <c:v>45660</c:v>
                </c:pt>
                <c:pt idx="354">
                  <c:v>45663</c:v>
                </c:pt>
                <c:pt idx="355">
                  <c:v>45664</c:v>
                </c:pt>
                <c:pt idx="356">
                  <c:v>45665</c:v>
                </c:pt>
                <c:pt idx="357">
                  <c:v>45666</c:v>
                </c:pt>
                <c:pt idx="358">
                  <c:v>45667</c:v>
                </c:pt>
                <c:pt idx="359">
                  <c:v>45670</c:v>
                </c:pt>
                <c:pt idx="360">
                  <c:v>45671</c:v>
                </c:pt>
                <c:pt idx="361">
                  <c:v>45672</c:v>
                </c:pt>
                <c:pt idx="362">
                  <c:v>45673</c:v>
                </c:pt>
                <c:pt idx="363">
                  <c:v>45674</c:v>
                </c:pt>
                <c:pt idx="364">
                  <c:v>45677</c:v>
                </c:pt>
                <c:pt idx="365">
                  <c:v>45678</c:v>
                </c:pt>
                <c:pt idx="366">
                  <c:v>45679</c:v>
                </c:pt>
                <c:pt idx="367">
                  <c:v>45680</c:v>
                </c:pt>
                <c:pt idx="368">
                  <c:v>45681</c:v>
                </c:pt>
                <c:pt idx="369">
                  <c:v>45684</c:v>
                </c:pt>
                <c:pt idx="370">
                  <c:v>45693</c:v>
                </c:pt>
                <c:pt idx="371">
                  <c:v>45694</c:v>
                </c:pt>
                <c:pt idx="372">
                  <c:v>45695</c:v>
                </c:pt>
                <c:pt idx="373">
                  <c:v>45698</c:v>
                </c:pt>
                <c:pt idx="374">
                  <c:v>45699</c:v>
                </c:pt>
                <c:pt idx="375">
                  <c:v>45700</c:v>
                </c:pt>
                <c:pt idx="376">
                  <c:v>45701</c:v>
                </c:pt>
                <c:pt idx="377">
                  <c:v>45702</c:v>
                </c:pt>
                <c:pt idx="378">
                  <c:v>45705</c:v>
                </c:pt>
                <c:pt idx="379">
                  <c:v>45706</c:v>
                </c:pt>
                <c:pt idx="380">
                  <c:v>45707</c:v>
                </c:pt>
                <c:pt idx="381">
                  <c:v>45708</c:v>
                </c:pt>
                <c:pt idx="382">
                  <c:v>45709</c:v>
                </c:pt>
                <c:pt idx="383">
                  <c:v>45712</c:v>
                </c:pt>
                <c:pt idx="384">
                  <c:v>45713</c:v>
                </c:pt>
                <c:pt idx="385">
                  <c:v>45714</c:v>
                </c:pt>
                <c:pt idx="386">
                  <c:v>45715</c:v>
                </c:pt>
                <c:pt idx="387">
                  <c:v>45716</c:v>
                </c:pt>
                <c:pt idx="388">
                  <c:v>45719</c:v>
                </c:pt>
                <c:pt idx="389">
                  <c:v>45720</c:v>
                </c:pt>
                <c:pt idx="390">
                  <c:v>45721</c:v>
                </c:pt>
                <c:pt idx="391">
                  <c:v>45722</c:v>
                </c:pt>
                <c:pt idx="392">
                  <c:v>45723</c:v>
                </c:pt>
                <c:pt idx="393">
                  <c:v>45726</c:v>
                </c:pt>
                <c:pt idx="394">
                  <c:v>45727</c:v>
                </c:pt>
                <c:pt idx="395">
                  <c:v>45728</c:v>
                </c:pt>
                <c:pt idx="396">
                  <c:v>45729</c:v>
                </c:pt>
                <c:pt idx="397">
                  <c:v>45730</c:v>
                </c:pt>
                <c:pt idx="398">
                  <c:v>45733</c:v>
                </c:pt>
                <c:pt idx="399">
                  <c:v>45734</c:v>
                </c:pt>
                <c:pt idx="400">
                  <c:v>45735</c:v>
                </c:pt>
                <c:pt idx="401">
                  <c:v>45736</c:v>
                </c:pt>
                <c:pt idx="402">
                  <c:v>45737</c:v>
                </c:pt>
                <c:pt idx="403">
                  <c:v>45740</c:v>
                </c:pt>
                <c:pt idx="404">
                  <c:v>45741</c:v>
                </c:pt>
                <c:pt idx="405">
                  <c:v>45742</c:v>
                </c:pt>
                <c:pt idx="406">
                  <c:v>45743</c:v>
                </c:pt>
                <c:pt idx="407">
                  <c:v>45744</c:v>
                </c:pt>
                <c:pt idx="408">
                  <c:v>45747</c:v>
                </c:pt>
                <c:pt idx="409">
                  <c:v>45748</c:v>
                </c:pt>
                <c:pt idx="410">
                  <c:v>45749</c:v>
                </c:pt>
                <c:pt idx="411">
                  <c:v>45750</c:v>
                </c:pt>
                <c:pt idx="412">
                  <c:v>45754</c:v>
                </c:pt>
                <c:pt idx="413">
                  <c:v>45755</c:v>
                </c:pt>
                <c:pt idx="414">
                  <c:v>45756</c:v>
                </c:pt>
                <c:pt idx="415">
                  <c:v>45757</c:v>
                </c:pt>
                <c:pt idx="416">
                  <c:v>45758</c:v>
                </c:pt>
                <c:pt idx="417">
                  <c:v>45761</c:v>
                </c:pt>
                <c:pt idx="418">
                  <c:v>45762</c:v>
                </c:pt>
                <c:pt idx="419">
                  <c:v>45763</c:v>
                </c:pt>
                <c:pt idx="420">
                  <c:v>45764</c:v>
                </c:pt>
                <c:pt idx="421">
                  <c:v>45765</c:v>
                </c:pt>
                <c:pt idx="422">
                  <c:v>45768</c:v>
                </c:pt>
                <c:pt idx="423">
                  <c:v>45769</c:v>
                </c:pt>
                <c:pt idx="424">
                  <c:v>45770</c:v>
                </c:pt>
                <c:pt idx="425">
                  <c:v>45771</c:v>
                </c:pt>
                <c:pt idx="426">
                  <c:v>45772</c:v>
                </c:pt>
                <c:pt idx="427">
                  <c:v>45775</c:v>
                </c:pt>
                <c:pt idx="428">
                  <c:v>45776</c:v>
                </c:pt>
                <c:pt idx="429">
                  <c:v>45777</c:v>
                </c:pt>
                <c:pt idx="430">
                  <c:v>45783</c:v>
                </c:pt>
                <c:pt idx="431">
                  <c:v>45784</c:v>
                </c:pt>
                <c:pt idx="432">
                  <c:v>45785</c:v>
                </c:pt>
                <c:pt idx="433">
                  <c:v>45786</c:v>
                </c:pt>
                <c:pt idx="434">
                  <c:v>45789</c:v>
                </c:pt>
                <c:pt idx="435">
                  <c:v>45790</c:v>
                </c:pt>
                <c:pt idx="436">
                  <c:v>45791</c:v>
                </c:pt>
                <c:pt idx="437">
                  <c:v>45792</c:v>
                </c:pt>
                <c:pt idx="438">
                  <c:v>45793</c:v>
                </c:pt>
                <c:pt idx="439">
                  <c:v>45796</c:v>
                </c:pt>
                <c:pt idx="440">
                  <c:v>45797</c:v>
                </c:pt>
                <c:pt idx="441">
                  <c:v>45798</c:v>
                </c:pt>
                <c:pt idx="442">
                  <c:v>45799</c:v>
                </c:pt>
                <c:pt idx="443">
                  <c:v>45800</c:v>
                </c:pt>
                <c:pt idx="444">
                  <c:v>45803</c:v>
                </c:pt>
                <c:pt idx="445">
                  <c:v>45804</c:v>
                </c:pt>
                <c:pt idx="446">
                  <c:v>45805</c:v>
                </c:pt>
                <c:pt idx="447">
                  <c:v>45806</c:v>
                </c:pt>
                <c:pt idx="448">
                  <c:v>45807</c:v>
                </c:pt>
                <c:pt idx="449">
                  <c:v>45811</c:v>
                </c:pt>
                <c:pt idx="450">
                  <c:v>45812</c:v>
                </c:pt>
                <c:pt idx="451">
                  <c:v>45813</c:v>
                </c:pt>
                <c:pt idx="452">
                  <c:v>45814</c:v>
                </c:pt>
                <c:pt idx="453">
                  <c:v>45817</c:v>
                </c:pt>
                <c:pt idx="454">
                  <c:v>45818</c:v>
                </c:pt>
                <c:pt idx="455">
                  <c:v>45819</c:v>
                </c:pt>
                <c:pt idx="456">
                  <c:v>45820</c:v>
                </c:pt>
                <c:pt idx="457">
                  <c:v>45821</c:v>
                </c:pt>
                <c:pt idx="458">
                  <c:v>45824</c:v>
                </c:pt>
                <c:pt idx="459">
                  <c:v>45825</c:v>
                </c:pt>
                <c:pt idx="460">
                  <c:v>45826</c:v>
                </c:pt>
                <c:pt idx="461">
                  <c:v>45827</c:v>
                </c:pt>
                <c:pt idx="462">
                  <c:v>45828</c:v>
                </c:pt>
                <c:pt idx="463">
                  <c:v>45831</c:v>
                </c:pt>
                <c:pt idx="464">
                  <c:v>45832</c:v>
                </c:pt>
                <c:pt idx="465">
                  <c:v>45833</c:v>
                </c:pt>
                <c:pt idx="466">
                  <c:v>45834</c:v>
                </c:pt>
                <c:pt idx="467">
                  <c:v>45835</c:v>
                </c:pt>
                <c:pt idx="468">
                  <c:v>45838</c:v>
                </c:pt>
                <c:pt idx="469">
                  <c:v>45839</c:v>
                </c:pt>
                <c:pt idx="470">
                  <c:v>45840</c:v>
                </c:pt>
                <c:pt idx="471">
                  <c:v>45841</c:v>
                </c:pt>
                <c:pt idx="472">
                  <c:v>45842</c:v>
                </c:pt>
                <c:pt idx="473">
                  <c:v>45845</c:v>
                </c:pt>
                <c:pt idx="474">
                  <c:v>45846</c:v>
                </c:pt>
                <c:pt idx="475">
                  <c:v>45847</c:v>
                </c:pt>
                <c:pt idx="476">
                  <c:v>45848</c:v>
                </c:pt>
                <c:pt idx="477">
                  <c:v>45849</c:v>
                </c:pt>
                <c:pt idx="478">
                  <c:v>45852</c:v>
                </c:pt>
                <c:pt idx="479">
                  <c:v>45853</c:v>
                </c:pt>
                <c:pt idx="480">
                  <c:v>45854</c:v>
                </c:pt>
                <c:pt idx="481">
                  <c:v>45855</c:v>
                </c:pt>
                <c:pt idx="482">
                  <c:v>45856</c:v>
                </c:pt>
                <c:pt idx="483">
                  <c:v>45859</c:v>
                </c:pt>
                <c:pt idx="484">
                  <c:v>45860</c:v>
                </c:pt>
                <c:pt idx="485">
                  <c:v>45861</c:v>
                </c:pt>
                <c:pt idx="486">
                  <c:v>45862</c:v>
                </c:pt>
                <c:pt idx="487">
                  <c:v>45863</c:v>
                </c:pt>
                <c:pt idx="488">
                  <c:v>45866</c:v>
                </c:pt>
                <c:pt idx="489">
                  <c:v>45867</c:v>
                </c:pt>
                <c:pt idx="490">
                  <c:v>45868</c:v>
                </c:pt>
                <c:pt idx="491">
                  <c:v>45869</c:v>
                </c:pt>
                <c:pt idx="492">
                  <c:v>45870</c:v>
                </c:pt>
                <c:pt idx="493">
                  <c:v>45873</c:v>
                </c:pt>
                <c:pt idx="494">
                  <c:v>45874</c:v>
                </c:pt>
                <c:pt idx="495">
                  <c:v>45875</c:v>
                </c:pt>
                <c:pt idx="496">
                  <c:v>45876</c:v>
                </c:pt>
                <c:pt idx="497">
                  <c:v>45877</c:v>
                </c:pt>
                <c:pt idx="498">
                  <c:v>45880</c:v>
                </c:pt>
                <c:pt idx="499">
                  <c:v>45881</c:v>
                </c:pt>
                <c:pt idx="500">
                  <c:v>45882</c:v>
                </c:pt>
                <c:pt idx="501">
                  <c:v>45883</c:v>
                </c:pt>
                <c:pt idx="502">
                  <c:v>45884</c:v>
                </c:pt>
                <c:pt idx="503">
                  <c:v>45887</c:v>
                </c:pt>
                <c:pt idx="504">
                  <c:v>45888</c:v>
                </c:pt>
                <c:pt idx="505">
                  <c:v>45889</c:v>
                </c:pt>
                <c:pt idx="506">
                  <c:v>45890</c:v>
                </c:pt>
                <c:pt idx="507">
                  <c:v>45891</c:v>
                </c:pt>
                <c:pt idx="508">
                  <c:v>45894</c:v>
                </c:pt>
                <c:pt idx="509">
                  <c:v>45895</c:v>
                </c:pt>
                <c:pt idx="510">
                  <c:v>45896</c:v>
                </c:pt>
                <c:pt idx="511">
                  <c:v>45897</c:v>
                </c:pt>
                <c:pt idx="512">
                  <c:v>45898</c:v>
                </c:pt>
                <c:pt idx="513">
                  <c:v>45901</c:v>
                </c:pt>
                <c:pt idx="514">
                  <c:v>45902</c:v>
                </c:pt>
                <c:pt idx="515">
                  <c:v>45903</c:v>
                </c:pt>
                <c:pt idx="516">
                  <c:v>45904</c:v>
                </c:pt>
                <c:pt idx="517">
                  <c:v>45905</c:v>
                </c:pt>
                <c:pt idx="518">
                  <c:v>45908</c:v>
                </c:pt>
                <c:pt idx="519">
                  <c:v>45909</c:v>
                </c:pt>
                <c:pt idx="520">
                  <c:v>45910</c:v>
                </c:pt>
                <c:pt idx="521">
                  <c:v>45911</c:v>
                </c:pt>
                <c:pt idx="522">
                  <c:v>45912</c:v>
                </c:pt>
                <c:pt idx="523">
                  <c:v>45915</c:v>
                </c:pt>
                <c:pt idx="524">
                  <c:v>45916</c:v>
                </c:pt>
                <c:pt idx="525">
                  <c:v>45917</c:v>
                </c:pt>
                <c:pt idx="526">
                  <c:v>45918</c:v>
                </c:pt>
                <c:pt idx="527">
                  <c:v>45919</c:v>
                </c:pt>
                <c:pt idx="528">
                  <c:v>45922</c:v>
                </c:pt>
                <c:pt idx="529">
                  <c:v>45923</c:v>
                </c:pt>
                <c:pt idx="530">
                  <c:v>45924</c:v>
                </c:pt>
                <c:pt idx="531">
                  <c:v>45925</c:v>
                </c:pt>
                <c:pt idx="532">
                  <c:v>45926</c:v>
                </c:pt>
                <c:pt idx="533">
                  <c:v>45929</c:v>
                </c:pt>
                <c:pt idx="534">
                  <c:v>45930</c:v>
                </c:pt>
                <c:pt idx="535">
                  <c:v>45931</c:v>
                </c:pt>
                <c:pt idx="536">
                  <c:v>45932</c:v>
                </c:pt>
                <c:pt idx="537">
                  <c:v>45933</c:v>
                </c:pt>
                <c:pt idx="538">
                  <c:v>45936</c:v>
                </c:pt>
                <c:pt idx="539">
                  <c:v>45937</c:v>
                </c:pt>
                <c:pt idx="540">
                  <c:v>45938</c:v>
                </c:pt>
                <c:pt idx="541">
                  <c:v>45939</c:v>
                </c:pt>
                <c:pt idx="542">
                  <c:v>45940</c:v>
                </c:pt>
                <c:pt idx="543">
                  <c:v>45943</c:v>
                </c:pt>
                <c:pt idx="544">
                  <c:v>45944</c:v>
                </c:pt>
                <c:pt idx="545">
                  <c:v>45945</c:v>
                </c:pt>
                <c:pt idx="546">
                  <c:v>45946</c:v>
                </c:pt>
                <c:pt idx="547">
                  <c:v>45947</c:v>
                </c:pt>
                <c:pt idx="548">
                  <c:v>45950</c:v>
                </c:pt>
                <c:pt idx="549">
                  <c:v>45951</c:v>
                </c:pt>
                <c:pt idx="550">
                  <c:v>45952</c:v>
                </c:pt>
                <c:pt idx="551">
                  <c:v>45953</c:v>
                </c:pt>
                <c:pt idx="552">
                  <c:v>45954</c:v>
                </c:pt>
                <c:pt idx="553">
                  <c:v>45957</c:v>
                </c:pt>
                <c:pt idx="554">
                  <c:v>45958</c:v>
                </c:pt>
                <c:pt idx="555">
                  <c:v>45959</c:v>
                </c:pt>
                <c:pt idx="556">
                  <c:v>45960</c:v>
                </c:pt>
                <c:pt idx="557">
                  <c:v>45961</c:v>
                </c:pt>
                <c:pt idx="558">
                  <c:v>45964</c:v>
                </c:pt>
                <c:pt idx="559">
                  <c:v>45965</c:v>
                </c:pt>
                <c:pt idx="560">
                  <c:v>45966</c:v>
                </c:pt>
                <c:pt idx="561">
                  <c:v>45967</c:v>
                </c:pt>
                <c:pt idx="562">
                  <c:v>45968</c:v>
                </c:pt>
                <c:pt idx="563">
                  <c:v>45971</c:v>
                </c:pt>
                <c:pt idx="564">
                  <c:v>45972</c:v>
                </c:pt>
                <c:pt idx="565">
                  <c:v>45973</c:v>
                </c:pt>
                <c:pt idx="566">
                  <c:v>45974</c:v>
                </c:pt>
                <c:pt idx="567">
                  <c:v>45975</c:v>
                </c:pt>
                <c:pt idx="568">
                  <c:v>45978</c:v>
                </c:pt>
                <c:pt idx="569">
                  <c:v>45979</c:v>
                </c:pt>
                <c:pt idx="570">
                  <c:v>45980</c:v>
                </c:pt>
                <c:pt idx="571">
                  <c:v>45981</c:v>
                </c:pt>
                <c:pt idx="572">
                  <c:v>45982</c:v>
                </c:pt>
                <c:pt idx="573">
                  <c:v>45985</c:v>
                </c:pt>
                <c:pt idx="574">
                  <c:v>45986</c:v>
                </c:pt>
                <c:pt idx="575">
                  <c:v>45987</c:v>
                </c:pt>
                <c:pt idx="576">
                  <c:v>45988</c:v>
                </c:pt>
                <c:pt idx="577">
                  <c:v>45989</c:v>
                </c:pt>
                <c:pt idx="578">
                  <c:v>45992</c:v>
                </c:pt>
                <c:pt idx="579">
                  <c:v>45993</c:v>
                </c:pt>
                <c:pt idx="580">
                  <c:v>45994</c:v>
                </c:pt>
                <c:pt idx="581">
                  <c:v>45995</c:v>
                </c:pt>
                <c:pt idx="582">
                  <c:v>45996</c:v>
                </c:pt>
                <c:pt idx="583">
                  <c:v>45999</c:v>
                </c:pt>
                <c:pt idx="584">
                  <c:v>46000</c:v>
                </c:pt>
                <c:pt idx="585">
                  <c:v>46001</c:v>
                </c:pt>
                <c:pt idx="586">
                  <c:v>46002</c:v>
                </c:pt>
                <c:pt idx="587">
                  <c:v>46003</c:v>
                </c:pt>
                <c:pt idx="588">
                  <c:v>46006</c:v>
                </c:pt>
                <c:pt idx="589">
                  <c:v>46007</c:v>
                </c:pt>
                <c:pt idx="590">
                  <c:v>46008</c:v>
                </c:pt>
                <c:pt idx="591">
                  <c:v>46009</c:v>
                </c:pt>
                <c:pt idx="592">
                  <c:v>46010</c:v>
                </c:pt>
                <c:pt idx="593">
                  <c:v>46013</c:v>
                </c:pt>
                <c:pt idx="594">
                  <c:v>46014</c:v>
                </c:pt>
                <c:pt idx="595">
                  <c:v>46015</c:v>
                </c:pt>
                <c:pt idx="596">
                  <c:v>46016</c:v>
                </c:pt>
                <c:pt idx="597">
                  <c:v>46017</c:v>
                </c:pt>
                <c:pt idx="598">
                  <c:v>46020</c:v>
                </c:pt>
                <c:pt idx="599">
                  <c:v>46021</c:v>
                </c:pt>
                <c:pt idx="600">
                  <c:v>46022</c:v>
                </c:pt>
                <c:pt idx="601">
                  <c:v>46023</c:v>
                </c:pt>
                <c:pt idx="602">
                  <c:v>46024</c:v>
                </c:pt>
                <c:pt idx="603">
                  <c:v>46027</c:v>
                </c:pt>
                <c:pt idx="604">
                  <c:v>46028</c:v>
                </c:pt>
                <c:pt idx="605">
                  <c:v>46029</c:v>
                </c:pt>
                <c:pt idx="606">
                  <c:v>46030</c:v>
                </c:pt>
                <c:pt idx="607">
                  <c:v>46031</c:v>
                </c:pt>
                <c:pt idx="608">
                  <c:v>46034</c:v>
                </c:pt>
                <c:pt idx="609">
                  <c:v>46035</c:v>
                </c:pt>
                <c:pt idx="610">
                  <c:v>46036</c:v>
                </c:pt>
                <c:pt idx="611">
                  <c:v>46037</c:v>
                </c:pt>
                <c:pt idx="612">
                  <c:v>46038</c:v>
                </c:pt>
                <c:pt idx="613">
                  <c:v>46041</c:v>
                </c:pt>
                <c:pt idx="614">
                  <c:v>46042</c:v>
                </c:pt>
                <c:pt idx="615">
                  <c:v>46043</c:v>
                </c:pt>
                <c:pt idx="616">
                  <c:v>46044</c:v>
                </c:pt>
                <c:pt idx="617">
                  <c:v>46045</c:v>
                </c:pt>
                <c:pt idx="618">
                  <c:v>46048</c:v>
                </c:pt>
                <c:pt idx="619">
                  <c:v>46049</c:v>
                </c:pt>
                <c:pt idx="620">
                  <c:v>46050</c:v>
                </c:pt>
                <c:pt idx="621">
                  <c:v>46051</c:v>
                </c:pt>
                <c:pt idx="622">
                  <c:v>46052</c:v>
                </c:pt>
                <c:pt idx="623">
                  <c:v>46055</c:v>
                </c:pt>
                <c:pt idx="624">
                  <c:v>46056</c:v>
                </c:pt>
                <c:pt idx="625">
                  <c:v>46057</c:v>
                </c:pt>
                <c:pt idx="626">
                  <c:v>46058</c:v>
                </c:pt>
                <c:pt idx="627">
                  <c:v>46059</c:v>
                </c:pt>
                <c:pt idx="628">
                  <c:v>46062</c:v>
                </c:pt>
                <c:pt idx="629">
                  <c:v>46063</c:v>
                </c:pt>
                <c:pt idx="630">
                  <c:v>46064</c:v>
                </c:pt>
                <c:pt idx="631">
                  <c:v>46065</c:v>
                </c:pt>
                <c:pt idx="632">
                  <c:v>46066</c:v>
                </c:pt>
                <c:pt idx="633">
                  <c:v>46069</c:v>
                </c:pt>
                <c:pt idx="634">
                  <c:v>46070</c:v>
                </c:pt>
                <c:pt idx="635">
                  <c:v>46071</c:v>
                </c:pt>
                <c:pt idx="636">
                  <c:v>46072</c:v>
                </c:pt>
                <c:pt idx="637">
                  <c:v>46073</c:v>
                </c:pt>
                <c:pt idx="638">
                  <c:v>46076</c:v>
                </c:pt>
                <c:pt idx="639">
                  <c:v>46077</c:v>
                </c:pt>
                <c:pt idx="640">
                  <c:v>46078</c:v>
                </c:pt>
                <c:pt idx="641">
                  <c:v>46079</c:v>
                </c:pt>
                <c:pt idx="642">
                  <c:v>46080</c:v>
                </c:pt>
                <c:pt idx="643">
                  <c:v>46083</c:v>
                </c:pt>
                <c:pt idx="644">
                  <c:v>46084</c:v>
                </c:pt>
                <c:pt idx="645">
                  <c:v>46085</c:v>
                </c:pt>
                <c:pt idx="646">
                  <c:v>46086</c:v>
                </c:pt>
                <c:pt idx="647">
                  <c:v>46087</c:v>
                </c:pt>
                <c:pt idx="648">
                  <c:v>46090</c:v>
                </c:pt>
                <c:pt idx="649">
                  <c:v>46091</c:v>
                </c:pt>
                <c:pt idx="650">
                  <c:v>46092</c:v>
                </c:pt>
                <c:pt idx="651">
                  <c:v>46093</c:v>
                </c:pt>
                <c:pt idx="652">
                  <c:v>46094</c:v>
                </c:pt>
                <c:pt idx="653">
                  <c:v>46097</c:v>
                </c:pt>
                <c:pt idx="654">
                  <c:v>46098</c:v>
                </c:pt>
                <c:pt idx="655">
                  <c:v>46099</c:v>
                </c:pt>
                <c:pt idx="656">
                  <c:v>46100</c:v>
                </c:pt>
                <c:pt idx="657">
                  <c:v>46101</c:v>
                </c:pt>
                <c:pt idx="658">
                  <c:v>46104</c:v>
                </c:pt>
                <c:pt idx="659">
                  <c:v>46105</c:v>
                </c:pt>
                <c:pt idx="660">
                  <c:v>46106</c:v>
                </c:pt>
                <c:pt idx="661">
                  <c:v>46107</c:v>
                </c:pt>
                <c:pt idx="662">
                  <c:v>46108</c:v>
                </c:pt>
                <c:pt idx="663">
                  <c:v>46111</c:v>
                </c:pt>
                <c:pt idx="664">
                  <c:v>46112</c:v>
                </c:pt>
                <c:pt idx="665">
                  <c:v>46113</c:v>
                </c:pt>
                <c:pt idx="666">
                  <c:v>46114</c:v>
                </c:pt>
                <c:pt idx="667">
                  <c:v>46115</c:v>
                </c:pt>
                <c:pt idx="668">
                  <c:v>46118</c:v>
                </c:pt>
                <c:pt idx="669">
                  <c:v>46119</c:v>
                </c:pt>
                <c:pt idx="670">
                  <c:v>46120</c:v>
                </c:pt>
                <c:pt idx="671">
                  <c:v>46121</c:v>
                </c:pt>
                <c:pt idx="672">
                  <c:v>46122</c:v>
                </c:pt>
                <c:pt idx="673">
                  <c:v>46125</c:v>
                </c:pt>
                <c:pt idx="674">
                  <c:v>46126</c:v>
                </c:pt>
                <c:pt idx="675">
                  <c:v>46127</c:v>
                </c:pt>
                <c:pt idx="676">
                  <c:v>46128</c:v>
                </c:pt>
                <c:pt idx="677">
                  <c:v>46129</c:v>
                </c:pt>
                <c:pt idx="678">
                  <c:v>46132</c:v>
                </c:pt>
                <c:pt idx="679">
                  <c:v>46133</c:v>
                </c:pt>
                <c:pt idx="680">
                  <c:v>46134</c:v>
                </c:pt>
                <c:pt idx="681">
                  <c:v>46135</c:v>
                </c:pt>
                <c:pt idx="682">
                  <c:v>46136</c:v>
                </c:pt>
                <c:pt idx="683">
                  <c:v>46139</c:v>
                </c:pt>
                <c:pt idx="684">
                  <c:v>46140</c:v>
                </c:pt>
                <c:pt idx="685">
                  <c:v>46141</c:v>
                </c:pt>
                <c:pt idx="686">
                  <c:v>46142</c:v>
                </c:pt>
                <c:pt idx="687">
                  <c:v>46143</c:v>
                </c:pt>
                <c:pt idx="688">
                  <c:v>46146</c:v>
                </c:pt>
                <c:pt idx="689">
                  <c:v>46147</c:v>
                </c:pt>
                <c:pt idx="690">
                  <c:v>46148</c:v>
                </c:pt>
                <c:pt idx="691">
                  <c:v>46149</c:v>
                </c:pt>
                <c:pt idx="692">
                  <c:v>46150</c:v>
                </c:pt>
                <c:pt idx="693">
                  <c:v>46153</c:v>
                </c:pt>
                <c:pt idx="694">
                  <c:v>46154</c:v>
                </c:pt>
                <c:pt idx="695">
                  <c:v>46155</c:v>
                </c:pt>
                <c:pt idx="696">
                  <c:v>46156</c:v>
                </c:pt>
                <c:pt idx="697">
                  <c:v>46157</c:v>
                </c:pt>
                <c:pt idx="698">
                  <c:v>46160</c:v>
                </c:pt>
                <c:pt idx="699">
                  <c:v>46161</c:v>
                </c:pt>
                <c:pt idx="700">
                  <c:v>46162</c:v>
                </c:pt>
                <c:pt idx="701">
                  <c:v>46163</c:v>
                </c:pt>
                <c:pt idx="702">
                  <c:v>46164</c:v>
                </c:pt>
                <c:pt idx="703">
                  <c:v>46167</c:v>
                </c:pt>
                <c:pt idx="704">
                  <c:v>46168</c:v>
                </c:pt>
                <c:pt idx="705">
                  <c:v>46169</c:v>
                </c:pt>
                <c:pt idx="706">
                  <c:v>46170</c:v>
                </c:pt>
                <c:pt idx="707">
                  <c:v>46171</c:v>
                </c:pt>
                <c:pt idx="708">
                  <c:v>46174</c:v>
                </c:pt>
                <c:pt idx="709">
                  <c:v>46175</c:v>
                </c:pt>
                <c:pt idx="710">
                  <c:v>46176</c:v>
                </c:pt>
                <c:pt idx="711">
                  <c:v>46177</c:v>
                </c:pt>
                <c:pt idx="712">
                  <c:v>46178</c:v>
                </c:pt>
                <c:pt idx="713">
                  <c:v>46181</c:v>
                </c:pt>
                <c:pt idx="714">
                  <c:v>46182</c:v>
                </c:pt>
                <c:pt idx="715">
                  <c:v>46183</c:v>
                </c:pt>
                <c:pt idx="716">
                  <c:v>46184</c:v>
                </c:pt>
                <c:pt idx="717">
                  <c:v>46185</c:v>
                </c:pt>
                <c:pt idx="718">
                  <c:v>46188</c:v>
                </c:pt>
                <c:pt idx="719">
                  <c:v>46189</c:v>
                </c:pt>
                <c:pt idx="720">
                  <c:v>46190</c:v>
                </c:pt>
                <c:pt idx="721">
                  <c:v>46191</c:v>
                </c:pt>
                <c:pt idx="722">
                  <c:v>46192</c:v>
                </c:pt>
                <c:pt idx="723">
                  <c:v>46195</c:v>
                </c:pt>
                <c:pt idx="724">
                  <c:v>46196</c:v>
                </c:pt>
                <c:pt idx="725">
                  <c:v>46197</c:v>
                </c:pt>
                <c:pt idx="726">
                  <c:v>46198</c:v>
                </c:pt>
                <c:pt idx="727">
                  <c:v>46199</c:v>
                </c:pt>
                <c:pt idx="728">
                  <c:v>46202</c:v>
                </c:pt>
                <c:pt idx="729">
                  <c:v>46203</c:v>
                </c:pt>
                <c:pt idx="730">
                  <c:v>46204</c:v>
                </c:pt>
                <c:pt idx="731">
                  <c:v>46205</c:v>
                </c:pt>
                <c:pt idx="732">
                  <c:v>46206</c:v>
                </c:pt>
                <c:pt idx="733">
                  <c:v>46209</c:v>
                </c:pt>
                <c:pt idx="734">
                  <c:v>46210</c:v>
                </c:pt>
                <c:pt idx="735">
                  <c:v>46211</c:v>
                </c:pt>
                <c:pt idx="736">
                  <c:v>46212</c:v>
                </c:pt>
                <c:pt idx="737">
                  <c:v>46213</c:v>
                </c:pt>
                <c:pt idx="738">
                  <c:v>46216</c:v>
                </c:pt>
                <c:pt idx="739">
                  <c:v>46217</c:v>
                </c:pt>
                <c:pt idx="740">
                  <c:v>46218</c:v>
                </c:pt>
                <c:pt idx="741">
                  <c:v>46219</c:v>
                </c:pt>
                <c:pt idx="742">
                  <c:v>46220</c:v>
                </c:pt>
                <c:pt idx="743">
                  <c:v>46223</c:v>
                </c:pt>
                <c:pt idx="744">
                  <c:v>46224</c:v>
                </c:pt>
                <c:pt idx="745">
                  <c:v>46225</c:v>
                </c:pt>
                <c:pt idx="746">
                  <c:v>46226</c:v>
                </c:pt>
                <c:pt idx="747">
                  <c:v>46227</c:v>
                </c:pt>
                <c:pt idx="748">
                  <c:v>46230</c:v>
                </c:pt>
                <c:pt idx="749">
                  <c:v>46231</c:v>
                </c:pt>
                <c:pt idx="750">
                  <c:v>46232</c:v>
                </c:pt>
                <c:pt idx="751">
                  <c:v>46233</c:v>
                </c:pt>
                <c:pt idx="752">
                  <c:v>46234</c:v>
                </c:pt>
                <c:pt idx="753">
                  <c:v>46237</c:v>
                </c:pt>
                <c:pt idx="754">
                  <c:v>46238</c:v>
                </c:pt>
                <c:pt idx="755">
                  <c:v>46239</c:v>
                </c:pt>
                <c:pt idx="756">
                  <c:v>46240</c:v>
                </c:pt>
                <c:pt idx="757">
                  <c:v>46241</c:v>
                </c:pt>
                <c:pt idx="758">
                  <c:v>46244</c:v>
                </c:pt>
                <c:pt idx="759">
                  <c:v>46245</c:v>
                </c:pt>
                <c:pt idx="760">
                  <c:v>46246</c:v>
                </c:pt>
                <c:pt idx="761">
                  <c:v>46247</c:v>
                </c:pt>
                <c:pt idx="762">
                  <c:v>46248</c:v>
                </c:pt>
                <c:pt idx="763">
                  <c:v>46251</c:v>
                </c:pt>
                <c:pt idx="764">
                  <c:v>46252</c:v>
                </c:pt>
                <c:pt idx="765">
                  <c:v>46253</c:v>
                </c:pt>
                <c:pt idx="766">
                  <c:v>46254</c:v>
                </c:pt>
                <c:pt idx="767">
                  <c:v>46255</c:v>
                </c:pt>
                <c:pt idx="768">
                  <c:v>46258</c:v>
                </c:pt>
                <c:pt idx="769">
                  <c:v>46259</c:v>
                </c:pt>
                <c:pt idx="770">
                  <c:v>46260</c:v>
                </c:pt>
                <c:pt idx="771">
                  <c:v>46261</c:v>
                </c:pt>
                <c:pt idx="772">
                  <c:v>46262</c:v>
                </c:pt>
                <c:pt idx="773">
                  <c:v>46265</c:v>
                </c:pt>
                <c:pt idx="774">
                  <c:v>46266</c:v>
                </c:pt>
                <c:pt idx="775">
                  <c:v>46267</c:v>
                </c:pt>
                <c:pt idx="776">
                  <c:v>46268</c:v>
                </c:pt>
                <c:pt idx="777">
                  <c:v>46269</c:v>
                </c:pt>
                <c:pt idx="778">
                  <c:v>46272</c:v>
                </c:pt>
                <c:pt idx="779">
                  <c:v>46273</c:v>
                </c:pt>
                <c:pt idx="780">
                  <c:v>46274</c:v>
                </c:pt>
                <c:pt idx="781">
                  <c:v>46275</c:v>
                </c:pt>
                <c:pt idx="782">
                  <c:v>46276</c:v>
                </c:pt>
                <c:pt idx="783">
                  <c:v>46279</c:v>
                </c:pt>
                <c:pt idx="784">
                  <c:v>46280</c:v>
                </c:pt>
                <c:pt idx="785">
                  <c:v>46281</c:v>
                </c:pt>
                <c:pt idx="786">
                  <c:v>46282</c:v>
                </c:pt>
                <c:pt idx="787">
                  <c:v>46283</c:v>
                </c:pt>
                <c:pt idx="788">
                  <c:v>46286</c:v>
                </c:pt>
                <c:pt idx="789">
                  <c:v>46287</c:v>
                </c:pt>
                <c:pt idx="790">
                  <c:v>46288</c:v>
                </c:pt>
                <c:pt idx="791">
                  <c:v>46289</c:v>
                </c:pt>
                <c:pt idx="792">
                  <c:v>46290</c:v>
                </c:pt>
                <c:pt idx="793">
                  <c:v>46293</c:v>
                </c:pt>
                <c:pt idx="794">
                  <c:v>46294</c:v>
                </c:pt>
                <c:pt idx="795">
                  <c:v>46295</c:v>
                </c:pt>
                <c:pt idx="796">
                  <c:v>46296</c:v>
                </c:pt>
                <c:pt idx="797">
                  <c:v>46297</c:v>
                </c:pt>
                <c:pt idx="798">
                  <c:v>46300</c:v>
                </c:pt>
                <c:pt idx="799">
                  <c:v>46301</c:v>
                </c:pt>
                <c:pt idx="800">
                  <c:v>46302</c:v>
                </c:pt>
                <c:pt idx="801">
                  <c:v>46303</c:v>
                </c:pt>
                <c:pt idx="802">
                  <c:v>46304</c:v>
                </c:pt>
                <c:pt idx="803">
                  <c:v>46307</c:v>
                </c:pt>
                <c:pt idx="804">
                  <c:v>46308</c:v>
                </c:pt>
                <c:pt idx="805">
                  <c:v>46309</c:v>
                </c:pt>
                <c:pt idx="806">
                  <c:v>46310</c:v>
                </c:pt>
                <c:pt idx="807">
                  <c:v>46311</c:v>
                </c:pt>
                <c:pt idx="808">
                  <c:v>46314</c:v>
                </c:pt>
                <c:pt idx="809">
                  <c:v>46315</c:v>
                </c:pt>
                <c:pt idx="810">
                  <c:v>46316</c:v>
                </c:pt>
                <c:pt idx="811">
                  <c:v>46317</c:v>
                </c:pt>
                <c:pt idx="812">
                  <c:v>46318</c:v>
                </c:pt>
                <c:pt idx="813">
                  <c:v>46321</c:v>
                </c:pt>
                <c:pt idx="814">
                  <c:v>46322</c:v>
                </c:pt>
                <c:pt idx="815">
                  <c:v>46323</c:v>
                </c:pt>
                <c:pt idx="816">
                  <c:v>46324</c:v>
                </c:pt>
                <c:pt idx="817">
                  <c:v>46325</c:v>
                </c:pt>
                <c:pt idx="818">
                  <c:v>46328</c:v>
                </c:pt>
                <c:pt idx="819">
                  <c:v>46329</c:v>
                </c:pt>
                <c:pt idx="820">
                  <c:v>46330</c:v>
                </c:pt>
                <c:pt idx="821">
                  <c:v>46331</c:v>
                </c:pt>
                <c:pt idx="822">
                  <c:v>46332</c:v>
                </c:pt>
                <c:pt idx="823">
                  <c:v>46335</c:v>
                </c:pt>
                <c:pt idx="824">
                  <c:v>46336</c:v>
                </c:pt>
                <c:pt idx="825">
                  <c:v>46337</c:v>
                </c:pt>
                <c:pt idx="826">
                  <c:v>46338</c:v>
                </c:pt>
                <c:pt idx="827">
                  <c:v>46339</c:v>
                </c:pt>
                <c:pt idx="828">
                  <c:v>46342</c:v>
                </c:pt>
                <c:pt idx="829">
                  <c:v>46343</c:v>
                </c:pt>
                <c:pt idx="830">
                  <c:v>46344</c:v>
                </c:pt>
                <c:pt idx="831">
                  <c:v>46345</c:v>
                </c:pt>
                <c:pt idx="832">
                  <c:v>46346</c:v>
                </c:pt>
                <c:pt idx="833">
                  <c:v>46349</c:v>
                </c:pt>
                <c:pt idx="834">
                  <c:v>46350</c:v>
                </c:pt>
                <c:pt idx="835">
                  <c:v>46351</c:v>
                </c:pt>
                <c:pt idx="836">
                  <c:v>46352</c:v>
                </c:pt>
                <c:pt idx="837">
                  <c:v>46353</c:v>
                </c:pt>
                <c:pt idx="838">
                  <c:v>46356</c:v>
                </c:pt>
                <c:pt idx="839">
                  <c:v>46357</c:v>
                </c:pt>
                <c:pt idx="840">
                  <c:v>46358</c:v>
                </c:pt>
                <c:pt idx="841">
                  <c:v>46359</c:v>
                </c:pt>
                <c:pt idx="842">
                  <c:v>46360</c:v>
                </c:pt>
                <c:pt idx="843">
                  <c:v>46363</c:v>
                </c:pt>
                <c:pt idx="844">
                  <c:v>46364</c:v>
                </c:pt>
                <c:pt idx="845">
                  <c:v>46365</c:v>
                </c:pt>
                <c:pt idx="846">
                  <c:v>46366</c:v>
                </c:pt>
                <c:pt idx="847">
                  <c:v>46367</c:v>
                </c:pt>
                <c:pt idx="848">
                  <c:v>46370</c:v>
                </c:pt>
                <c:pt idx="849">
                  <c:v>46371</c:v>
                </c:pt>
                <c:pt idx="850">
                  <c:v>46372</c:v>
                </c:pt>
                <c:pt idx="851">
                  <c:v>46373</c:v>
                </c:pt>
                <c:pt idx="852">
                  <c:v>46374</c:v>
                </c:pt>
                <c:pt idx="853">
                  <c:v>46377</c:v>
                </c:pt>
                <c:pt idx="854">
                  <c:v>46378</c:v>
                </c:pt>
                <c:pt idx="855">
                  <c:v>46379</c:v>
                </c:pt>
                <c:pt idx="856">
                  <c:v>46380</c:v>
                </c:pt>
                <c:pt idx="857">
                  <c:v>46381</c:v>
                </c:pt>
                <c:pt idx="858">
                  <c:v>46384</c:v>
                </c:pt>
                <c:pt idx="859">
                  <c:v>46385</c:v>
                </c:pt>
                <c:pt idx="860">
                  <c:v>46386</c:v>
                </c:pt>
                <c:pt idx="861">
                  <c:v>46387</c:v>
                </c:pt>
                <c:pt idx="862">
                  <c:v>46388</c:v>
                </c:pt>
                <c:pt idx="863">
                  <c:v>46391</c:v>
                </c:pt>
                <c:pt idx="864">
                  <c:v>46392</c:v>
                </c:pt>
                <c:pt idx="865">
                  <c:v>46393</c:v>
                </c:pt>
                <c:pt idx="866">
                  <c:v>46394</c:v>
                </c:pt>
                <c:pt idx="867">
                  <c:v>46395</c:v>
                </c:pt>
                <c:pt idx="868">
                  <c:v>46398</c:v>
                </c:pt>
                <c:pt idx="869">
                  <c:v>46399</c:v>
                </c:pt>
                <c:pt idx="870">
                  <c:v>46400</c:v>
                </c:pt>
                <c:pt idx="871">
                  <c:v>46401</c:v>
                </c:pt>
                <c:pt idx="872">
                  <c:v>46402</c:v>
                </c:pt>
                <c:pt idx="873">
                  <c:v>46405</c:v>
                </c:pt>
                <c:pt idx="874">
                  <c:v>46406</c:v>
                </c:pt>
                <c:pt idx="875">
                  <c:v>46407</c:v>
                </c:pt>
                <c:pt idx="876">
                  <c:v>46408</c:v>
                </c:pt>
                <c:pt idx="877">
                  <c:v>46409</c:v>
                </c:pt>
                <c:pt idx="878">
                  <c:v>46412</c:v>
                </c:pt>
                <c:pt idx="879">
                  <c:v>46413</c:v>
                </c:pt>
                <c:pt idx="880">
                  <c:v>46414</c:v>
                </c:pt>
                <c:pt idx="881">
                  <c:v>46415</c:v>
                </c:pt>
                <c:pt idx="882">
                  <c:v>46416</c:v>
                </c:pt>
                <c:pt idx="883">
                  <c:v>46419</c:v>
                </c:pt>
                <c:pt idx="884">
                  <c:v>46420</c:v>
                </c:pt>
                <c:pt idx="885">
                  <c:v>46421</c:v>
                </c:pt>
                <c:pt idx="886">
                  <c:v>46422</c:v>
                </c:pt>
                <c:pt idx="887">
                  <c:v>46423</c:v>
                </c:pt>
                <c:pt idx="888">
                  <c:v>46426</c:v>
                </c:pt>
                <c:pt idx="889">
                  <c:v>46427</c:v>
                </c:pt>
                <c:pt idx="890">
                  <c:v>46428</c:v>
                </c:pt>
                <c:pt idx="891">
                  <c:v>46429</c:v>
                </c:pt>
                <c:pt idx="892">
                  <c:v>46430</c:v>
                </c:pt>
                <c:pt idx="893">
                  <c:v>46433</c:v>
                </c:pt>
                <c:pt idx="894">
                  <c:v>46434</c:v>
                </c:pt>
                <c:pt idx="895">
                  <c:v>46435</c:v>
                </c:pt>
                <c:pt idx="896">
                  <c:v>46436</c:v>
                </c:pt>
                <c:pt idx="897">
                  <c:v>46437</c:v>
                </c:pt>
                <c:pt idx="898">
                  <c:v>46440</c:v>
                </c:pt>
                <c:pt idx="899">
                  <c:v>46441</c:v>
                </c:pt>
                <c:pt idx="900">
                  <c:v>46442</c:v>
                </c:pt>
                <c:pt idx="901">
                  <c:v>46443</c:v>
                </c:pt>
                <c:pt idx="902">
                  <c:v>46444</c:v>
                </c:pt>
                <c:pt idx="903">
                  <c:v>46447</c:v>
                </c:pt>
                <c:pt idx="904">
                  <c:v>46448</c:v>
                </c:pt>
                <c:pt idx="905">
                  <c:v>46449</c:v>
                </c:pt>
                <c:pt idx="906">
                  <c:v>46450</c:v>
                </c:pt>
                <c:pt idx="907">
                  <c:v>46451</c:v>
                </c:pt>
                <c:pt idx="908">
                  <c:v>46454</c:v>
                </c:pt>
                <c:pt idx="909">
                  <c:v>46455</c:v>
                </c:pt>
                <c:pt idx="910">
                  <c:v>46456</c:v>
                </c:pt>
                <c:pt idx="911">
                  <c:v>46457</c:v>
                </c:pt>
                <c:pt idx="912">
                  <c:v>46458</c:v>
                </c:pt>
                <c:pt idx="913">
                  <c:v>46461</c:v>
                </c:pt>
                <c:pt idx="914">
                  <c:v>46462</c:v>
                </c:pt>
                <c:pt idx="915">
                  <c:v>46463</c:v>
                </c:pt>
                <c:pt idx="916">
                  <c:v>46464</c:v>
                </c:pt>
                <c:pt idx="917">
                  <c:v>46465</c:v>
                </c:pt>
                <c:pt idx="918">
                  <c:v>46468</c:v>
                </c:pt>
                <c:pt idx="919">
                  <c:v>46469</c:v>
                </c:pt>
                <c:pt idx="920">
                  <c:v>46470</c:v>
                </c:pt>
                <c:pt idx="921">
                  <c:v>46471</c:v>
                </c:pt>
                <c:pt idx="922">
                  <c:v>46472</c:v>
                </c:pt>
                <c:pt idx="923">
                  <c:v>46475</c:v>
                </c:pt>
                <c:pt idx="924">
                  <c:v>46476</c:v>
                </c:pt>
                <c:pt idx="925">
                  <c:v>46477</c:v>
                </c:pt>
                <c:pt idx="926">
                  <c:v>46478</c:v>
                </c:pt>
                <c:pt idx="927">
                  <c:v>46479</c:v>
                </c:pt>
                <c:pt idx="928">
                  <c:v>46482</c:v>
                </c:pt>
                <c:pt idx="929">
                  <c:v>46483</c:v>
                </c:pt>
                <c:pt idx="930">
                  <c:v>46484</c:v>
                </c:pt>
                <c:pt idx="931">
                  <c:v>46485</c:v>
                </c:pt>
                <c:pt idx="932">
                  <c:v>46486</c:v>
                </c:pt>
                <c:pt idx="933">
                  <c:v>46489</c:v>
                </c:pt>
                <c:pt idx="934">
                  <c:v>46490</c:v>
                </c:pt>
                <c:pt idx="935">
                  <c:v>46491</c:v>
                </c:pt>
                <c:pt idx="936">
                  <c:v>46492</c:v>
                </c:pt>
                <c:pt idx="937">
                  <c:v>46493</c:v>
                </c:pt>
                <c:pt idx="938">
                  <c:v>46496</c:v>
                </c:pt>
                <c:pt idx="939">
                  <c:v>46497</c:v>
                </c:pt>
                <c:pt idx="940">
                  <c:v>46498</c:v>
                </c:pt>
                <c:pt idx="941">
                  <c:v>46499</c:v>
                </c:pt>
                <c:pt idx="942">
                  <c:v>46500</c:v>
                </c:pt>
                <c:pt idx="943">
                  <c:v>46503</c:v>
                </c:pt>
                <c:pt idx="944">
                  <c:v>46504</c:v>
                </c:pt>
                <c:pt idx="945">
                  <c:v>46505</c:v>
                </c:pt>
                <c:pt idx="946">
                  <c:v>46506</c:v>
                </c:pt>
                <c:pt idx="947">
                  <c:v>46507</c:v>
                </c:pt>
                <c:pt idx="948">
                  <c:v>46510</c:v>
                </c:pt>
                <c:pt idx="949">
                  <c:v>46511</c:v>
                </c:pt>
                <c:pt idx="950">
                  <c:v>46512</c:v>
                </c:pt>
                <c:pt idx="951">
                  <c:v>46513</c:v>
                </c:pt>
                <c:pt idx="952">
                  <c:v>46514</c:v>
                </c:pt>
                <c:pt idx="953">
                  <c:v>46517</c:v>
                </c:pt>
                <c:pt idx="954">
                  <c:v>46518</c:v>
                </c:pt>
                <c:pt idx="955">
                  <c:v>46519</c:v>
                </c:pt>
                <c:pt idx="956">
                  <c:v>46520</c:v>
                </c:pt>
                <c:pt idx="957">
                  <c:v>46521</c:v>
                </c:pt>
                <c:pt idx="958">
                  <c:v>46524</c:v>
                </c:pt>
                <c:pt idx="959">
                  <c:v>46525</c:v>
                </c:pt>
                <c:pt idx="960">
                  <c:v>46526</c:v>
                </c:pt>
                <c:pt idx="961">
                  <c:v>46527</c:v>
                </c:pt>
                <c:pt idx="962">
                  <c:v>46528</c:v>
                </c:pt>
                <c:pt idx="963">
                  <c:v>46531</c:v>
                </c:pt>
                <c:pt idx="964">
                  <c:v>46532</c:v>
                </c:pt>
                <c:pt idx="965">
                  <c:v>46533</c:v>
                </c:pt>
                <c:pt idx="966">
                  <c:v>46534</c:v>
                </c:pt>
                <c:pt idx="967">
                  <c:v>46535</c:v>
                </c:pt>
                <c:pt idx="968">
                  <c:v>46538</c:v>
                </c:pt>
                <c:pt idx="969">
                  <c:v>46539</c:v>
                </c:pt>
                <c:pt idx="970">
                  <c:v>46540</c:v>
                </c:pt>
                <c:pt idx="971">
                  <c:v>46541</c:v>
                </c:pt>
                <c:pt idx="972">
                  <c:v>46542</c:v>
                </c:pt>
                <c:pt idx="973">
                  <c:v>46545</c:v>
                </c:pt>
                <c:pt idx="974">
                  <c:v>46546</c:v>
                </c:pt>
                <c:pt idx="975">
                  <c:v>46547</c:v>
                </c:pt>
                <c:pt idx="976">
                  <c:v>46548</c:v>
                </c:pt>
                <c:pt idx="977">
                  <c:v>46549</c:v>
                </c:pt>
                <c:pt idx="978">
                  <c:v>46552</c:v>
                </c:pt>
                <c:pt idx="979">
                  <c:v>46553</c:v>
                </c:pt>
                <c:pt idx="980">
                  <c:v>46554</c:v>
                </c:pt>
                <c:pt idx="981">
                  <c:v>46555</c:v>
                </c:pt>
                <c:pt idx="982">
                  <c:v>46556</c:v>
                </c:pt>
                <c:pt idx="983">
                  <c:v>46559</c:v>
                </c:pt>
                <c:pt idx="984">
                  <c:v>46560</c:v>
                </c:pt>
                <c:pt idx="985">
                  <c:v>46561</c:v>
                </c:pt>
                <c:pt idx="986">
                  <c:v>46562</c:v>
                </c:pt>
                <c:pt idx="987">
                  <c:v>46563</c:v>
                </c:pt>
                <c:pt idx="988">
                  <c:v>46566</c:v>
                </c:pt>
                <c:pt idx="989">
                  <c:v>46567</c:v>
                </c:pt>
                <c:pt idx="990">
                  <c:v>46568</c:v>
                </c:pt>
                <c:pt idx="991">
                  <c:v>46569</c:v>
                </c:pt>
                <c:pt idx="992">
                  <c:v>46570</c:v>
                </c:pt>
                <c:pt idx="993">
                  <c:v>46573</c:v>
                </c:pt>
                <c:pt idx="994">
                  <c:v>46574</c:v>
                </c:pt>
                <c:pt idx="995">
                  <c:v>46575</c:v>
                </c:pt>
                <c:pt idx="996">
                  <c:v>46576</c:v>
                </c:pt>
                <c:pt idx="997">
                  <c:v>46577</c:v>
                </c:pt>
                <c:pt idx="998">
                  <c:v>46580</c:v>
                </c:pt>
              </c:numCache>
            </c:numRef>
          </c:cat>
          <c:val>
            <c:numRef>
              <c:f>Daily!$E$2:$E$1057</c:f>
            </c:numRef>
          </c:val>
          <c:smooth val="1"/>
          <c:extLst>
            <c:ext xmlns:c16="http://schemas.microsoft.com/office/drawing/2014/chart" uri="{C3380CC4-5D6E-409C-BE32-E72D297353CC}">
              <c16:uniqueId val="{0000000A-094D-4E29-B010-D717A2A1A293}"/>
            </c:ext>
          </c:extLst>
        </c:ser>
        <c:ser>
          <c:idx val="4"/>
          <c:order val="4"/>
          <c:tx>
            <c:strRef>
              <c:f>Daily!$F$1</c:f>
              <c:strCache>
                <c:ptCount val="1"/>
                <c:pt idx="0">
                  <c:v>M+4</c:v>
                </c:pt>
              </c:strCache>
            </c:strRef>
          </c:tx>
          <c:spPr>
            <a:ln w="28575" cap="rnd" cmpd="sng" algn="ctr">
              <a:solidFill>
                <a:schemeClr val="accent5">
                  <a:shade val="95000"/>
                  <a:satMod val="105000"/>
                </a:schemeClr>
              </a:solidFill>
              <a:prstDash val="solid"/>
              <a:round/>
            </a:ln>
            <a:effectLst/>
          </c:spPr>
          <c:marker>
            <c:symbol val="none"/>
          </c:marker>
          <c:cat>
            <c:numRef>
              <c:f>Daily!$A$2:$A$1000</c:f>
              <c:numCache>
                <c:formatCode>d\-mmm\-yy</c:formatCode>
                <c:ptCount val="999"/>
                <c:pt idx="0">
                  <c:v>45128</c:v>
                </c:pt>
                <c:pt idx="1">
                  <c:v>45131</c:v>
                </c:pt>
                <c:pt idx="2">
                  <c:v>45132</c:v>
                </c:pt>
                <c:pt idx="3">
                  <c:v>45133</c:v>
                </c:pt>
                <c:pt idx="4">
                  <c:v>45134</c:v>
                </c:pt>
                <c:pt idx="5">
                  <c:v>45135</c:v>
                </c:pt>
                <c:pt idx="6">
                  <c:v>45138</c:v>
                </c:pt>
                <c:pt idx="7">
                  <c:v>45139</c:v>
                </c:pt>
                <c:pt idx="8">
                  <c:v>45140</c:v>
                </c:pt>
                <c:pt idx="9">
                  <c:v>45141</c:v>
                </c:pt>
                <c:pt idx="10">
                  <c:v>45142</c:v>
                </c:pt>
                <c:pt idx="11">
                  <c:v>45145</c:v>
                </c:pt>
                <c:pt idx="12">
                  <c:v>45146</c:v>
                </c:pt>
                <c:pt idx="13">
                  <c:v>45147</c:v>
                </c:pt>
                <c:pt idx="14">
                  <c:v>45148</c:v>
                </c:pt>
                <c:pt idx="15">
                  <c:v>45149</c:v>
                </c:pt>
                <c:pt idx="16">
                  <c:v>45152</c:v>
                </c:pt>
                <c:pt idx="17">
                  <c:v>45153</c:v>
                </c:pt>
                <c:pt idx="18">
                  <c:v>45154</c:v>
                </c:pt>
                <c:pt idx="19">
                  <c:v>45155</c:v>
                </c:pt>
                <c:pt idx="20">
                  <c:v>45156</c:v>
                </c:pt>
                <c:pt idx="21">
                  <c:v>45159</c:v>
                </c:pt>
                <c:pt idx="22">
                  <c:v>45160</c:v>
                </c:pt>
                <c:pt idx="23">
                  <c:v>45161</c:v>
                </c:pt>
                <c:pt idx="24">
                  <c:v>45162</c:v>
                </c:pt>
                <c:pt idx="25">
                  <c:v>45163</c:v>
                </c:pt>
                <c:pt idx="26">
                  <c:v>45166</c:v>
                </c:pt>
                <c:pt idx="27">
                  <c:v>45167</c:v>
                </c:pt>
                <c:pt idx="28">
                  <c:v>45168</c:v>
                </c:pt>
                <c:pt idx="29">
                  <c:v>45169</c:v>
                </c:pt>
                <c:pt idx="30">
                  <c:v>45170</c:v>
                </c:pt>
                <c:pt idx="31">
                  <c:v>45173</c:v>
                </c:pt>
                <c:pt idx="32">
                  <c:v>45174</c:v>
                </c:pt>
                <c:pt idx="33">
                  <c:v>45175</c:v>
                </c:pt>
                <c:pt idx="34">
                  <c:v>45176</c:v>
                </c:pt>
                <c:pt idx="35">
                  <c:v>45177</c:v>
                </c:pt>
                <c:pt idx="36">
                  <c:v>45180</c:v>
                </c:pt>
                <c:pt idx="37">
                  <c:v>45181</c:v>
                </c:pt>
                <c:pt idx="38">
                  <c:v>45182</c:v>
                </c:pt>
                <c:pt idx="39">
                  <c:v>45183</c:v>
                </c:pt>
                <c:pt idx="40">
                  <c:v>45184</c:v>
                </c:pt>
                <c:pt idx="41">
                  <c:v>45187</c:v>
                </c:pt>
                <c:pt idx="42">
                  <c:v>45188</c:v>
                </c:pt>
                <c:pt idx="43">
                  <c:v>45189</c:v>
                </c:pt>
                <c:pt idx="44">
                  <c:v>45190</c:v>
                </c:pt>
                <c:pt idx="45">
                  <c:v>45191</c:v>
                </c:pt>
                <c:pt idx="46">
                  <c:v>45194</c:v>
                </c:pt>
                <c:pt idx="47">
                  <c:v>45195</c:v>
                </c:pt>
                <c:pt idx="48">
                  <c:v>45196</c:v>
                </c:pt>
                <c:pt idx="49">
                  <c:v>45197</c:v>
                </c:pt>
                <c:pt idx="50">
                  <c:v>45208</c:v>
                </c:pt>
                <c:pt idx="51">
                  <c:v>45209</c:v>
                </c:pt>
                <c:pt idx="52">
                  <c:v>45210</c:v>
                </c:pt>
                <c:pt idx="53">
                  <c:v>45211</c:v>
                </c:pt>
                <c:pt idx="54">
                  <c:v>45212</c:v>
                </c:pt>
                <c:pt idx="55">
                  <c:v>45215</c:v>
                </c:pt>
                <c:pt idx="56">
                  <c:v>45216</c:v>
                </c:pt>
                <c:pt idx="57">
                  <c:v>45217</c:v>
                </c:pt>
                <c:pt idx="58">
                  <c:v>45218</c:v>
                </c:pt>
                <c:pt idx="59">
                  <c:v>45219</c:v>
                </c:pt>
                <c:pt idx="60">
                  <c:v>45222</c:v>
                </c:pt>
                <c:pt idx="61">
                  <c:v>45223</c:v>
                </c:pt>
                <c:pt idx="62">
                  <c:v>45224</c:v>
                </c:pt>
                <c:pt idx="63">
                  <c:v>45225</c:v>
                </c:pt>
                <c:pt idx="64">
                  <c:v>45226</c:v>
                </c:pt>
                <c:pt idx="65">
                  <c:v>45229</c:v>
                </c:pt>
                <c:pt idx="66">
                  <c:v>45230</c:v>
                </c:pt>
                <c:pt idx="67">
                  <c:v>45231</c:v>
                </c:pt>
                <c:pt idx="68">
                  <c:v>45232</c:v>
                </c:pt>
                <c:pt idx="69">
                  <c:v>45233</c:v>
                </c:pt>
                <c:pt idx="70">
                  <c:v>45236</c:v>
                </c:pt>
                <c:pt idx="71">
                  <c:v>45237</c:v>
                </c:pt>
                <c:pt idx="72">
                  <c:v>45238</c:v>
                </c:pt>
                <c:pt idx="73">
                  <c:v>45239</c:v>
                </c:pt>
                <c:pt idx="74">
                  <c:v>45240</c:v>
                </c:pt>
                <c:pt idx="75">
                  <c:v>45243</c:v>
                </c:pt>
                <c:pt idx="76">
                  <c:v>45244</c:v>
                </c:pt>
                <c:pt idx="77">
                  <c:v>45245</c:v>
                </c:pt>
                <c:pt idx="78">
                  <c:v>45246</c:v>
                </c:pt>
                <c:pt idx="79">
                  <c:v>45247</c:v>
                </c:pt>
                <c:pt idx="80">
                  <c:v>45250</c:v>
                </c:pt>
                <c:pt idx="81">
                  <c:v>45251</c:v>
                </c:pt>
                <c:pt idx="82">
                  <c:v>45252</c:v>
                </c:pt>
                <c:pt idx="83">
                  <c:v>45253</c:v>
                </c:pt>
                <c:pt idx="84">
                  <c:v>45254</c:v>
                </c:pt>
                <c:pt idx="85">
                  <c:v>45257</c:v>
                </c:pt>
                <c:pt idx="86">
                  <c:v>45258</c:v>
                </c:pt>
                <c:pt idx="87">
                  <c:v>45259</c:v>
                </c:pt>
                <c:pt idx="88">
                  <c:v>45260</c:v>
                </c:pt>
                <c:pt idx="89">
                  <c:v>45261</c:v>
                </c:pt>
                <c:pt idx="90">
                  <c:v>45264</c:v>
                </c:pt>
                <c:pt idx="91">
                  <c:v>45265</c:v>
                </c:pt>
                <c:pt idx="92">
                  <c:v>45266</c:v>
                </c:pt>
                <c:pt idx="93">
                  <c:v>45267</c:v>
                </c:pt>
                <c:pt idx="94">
                  <c:v>45268</c:v>
                </c:pt>
                <c:pt idx="95">
                  <c:v>45271</c:v>
                </c:pt>
                <c:pt idx="96">
                  <c:v>45272</c:v>
                </c:pt>
                <c:pt idx="97">
                  <c:v>45273</c:v>
                </c:pt>
                <c:pt idx="98">
                  <c:v>45274</c:v>
                </c:pt>
                <c:pt idx="99">
                  <c:v>45275</c:v>
                </c:pt>
                <c:pt idx="100">
                  <c:v>45278</c:v>
                </c:pt>
                <c:pt idx="101">
                  <c:v>45279</c:v>
                </c:pt>
                <c:pt idx="102">
                  <c:v>45280</c:v>
                </c:pt>
                <c:pt idx="103">
                  <c:v>45281</c:v>
                </c:pt>
                <c:pt idx="104">
                  <c:v>45282</c:v>
                </c:pt>
                <c:pt idx="105">
                  <c:v>45285</c:v>
                </c:pt>
                <c:pt idx="106">
                  <c:v>45286</c:v>
                </c:pt>
                <c:pt idx="107">
                  <c:v>45287</c:v>
                </c:pt>
                <c:pt idx="108">
                  <c:v>45288</c:v>
                </c:pt>
                <c:pt idx="109">
                  <c:v>45289</c:v>
                </c:pt>
                <c:pt idx="110">
                  <c:v>45293</c:v>
                </c:pt>
                <c:pt idx="111">
                  <c:v>45294</c:v>
                </c:pt>
                <c:pt idx="112">
                  <c:v>45295</c:v>
                </c:pt>
                <c:pt idx="113">
                  <c:v>45296</c:v>
                </c:pt>
                <c:pt idx="114">
                  <c:v>45299</c:v>
                </c:pt>
                <c:pt idx="115">
                  <c:v>45300</c:v>
                </c:pt>
                <c:pt idx="116">
                  <c:v>45301</c:v>
                </c:pt>
                <c:pt idx="117">
                  <c:v>45302</c:v>
                </c:pt>
                <c:pt idx="118">
                  <c:v>45303</c:v>
                </c:pt>
                <c:pt idx="119">
                  <c:v>45306</c:v>
                </c:pt>
                <c:pt idx="120">
                  <c:v>45307</c:v>
                </c:pt>
                <c:pt idx="121">
                  <c:v>45308</c:v>
                </c:pt>
                <c:pt idx="122">
                  <c:v>45309</c:v>
                </c:pt>
                <c:pt idx="123">
                  <c:v>45310</c:v>
                </c:pt>
                <c:pt idx="124">
                  <c:v>45313</c:v>
                </c:pt>
                <c:pt idx="125">
                  <c:v>45314</c:v>
                </c:pt>
                <c:pt idx="126">
                  <c:v>45315</c:v>
                </c:pt>
                <c:pt idx="127">
                  <c:v>45316</c:v>
                </c:pt>
                <c:pt idx="128">
                  <c:v>45317</c:v>
                </c:pt>
                <c:pt idx="129">
                  <c:v>45320</c:v>
                </c:pt>
                <c:pt idx="130">
                  <c:v>45321</c:v>
                </c:pt>
                <c:pt idx="131">
                  <c:v>45322</c:v>
                </c:pt>
                <c:pt idx="132">
                  <c:v>45323</c:v>
                </c:pt>
                <c:pt idx="133">
                  <c:v>45324</c:v>
                </c:pt>
                <c:pt idx="134">
                  <c:v>45327</c:v>
                </c:pt>
                <c:pt idx="135">
                  <c:v>45328</c:v>
                </c:pt>
                <c:pt idx="136">
                  <c:v>45329</c:v>
                </c:pt>
                <c:pt idx="137">
                  <c:v>45330</c:v>
                </c:pt>
                <c:pt idx="138">
                  <c:v>45341</c:v>
                </c:pt>
                <c:pt idx="139">
                  <c:v>45342</c:v>
                </c:pt>
                <c:pt idx="140">
                  <c:v>45343</c:v>
                </c:pt>
                <c:pt idx="141">
                  <c:v>45344</c:v>
                </c:pt>
                <c:pt idx="142">
                  <c:v>45345</c:v>
                </c:pt>
                <c:pt idx="143">
                  <c:v>45348</c:v>
                </c:pt>
                <c:pt idx="144">
                  <c:v>45349</c:v>
                </c:pt>
                <c:pt idx="145">
                  <c:v>45350</c:v>
                </c:pt>
                <c:pt idx="146">
                  <c:v>45351</c:v>
                </c:pt>
                <c:pt idx="147">
                  <c:v>45352</c:v>
                </c:pt>
                <c:pt idx="148">
                  <c:v>45355</c:v>
                </c:pt>
                <c:pt idx="149">
                  <c:v>45356</c:v>
                </c:pt>
                <c:pt idx="150">
                  <c:v>45357</c:v>
                </c:pt>
                <c:pt idx="151">
                  <c:v>45358</c:v>
                </c:pt>
                <c:pt idx="152">
                  <c:v>45359</c:v>
                </c:pt>
                <c:pt idx="153">
                  <c:v>45362</c:v>
                </c:pt>
                <c:pt idx="154">
                  <c:v>45363</c:v>
                </c:pt>
                <c:pt idx="155">
                  <c:v>45364</c:v>
                </c:pt>
                <c:pt idx="156">
                  <c:v>45365</c:v>
                </c:pt>
                <c:pt idx="157">
                  <c:v>45366</c:v>
                </c:pt>
                <c:pt idx="158">
                  <c:v>45369</c:v>
                </c:pt>
                <c:pt idx="159">
                  <c:v>45370</c:v>
                </c:pt>
                <c:pt idx="160">
                  <c:v>45371</c:v>
                </c:pt>
                <c:pt idx="161">
                  <c:v>45372</c:v>
                </c:pt>
                <c:pt idx="162">
                  <c:v>45373</c:v>
                </c:pt>
                <c:pt idx="163">
                  <c:v>45376</c:v>
                </c:pt>
                <c:pt idx="164">
                  <c:v>45377</c:v>
                </c:pt>
                <c:pt idx="165">
                  <c:v>45378</c:v>
                </c:pt>
                <c:pt idx="166">
                  <c:v>45379</c:v>
                </c:pt>
                <c:pt idx="167">
                  <c:v>45380</c:v>
                </c:pt>
                <c:pt idx="168">
                  <c:v>45383</c:v>
                </c:pt>
                <c:pt idx="169">
                  <c:v>45384</c:v>
                </c:pt>
                <c:pt idx="170">
                  <c:v>45385</c:v>
                </c:pt>
                <c:pt idx="171">
                  <c:v>45390</c:v>
                </c:pt>
                <c:pt idx="172">
                  <c:v>45391</c:v>
                </c:pt>
                <c:pt idx="173">
                  <c:v>45392</c:v>
                </c:pt>
                <c:pt idx="174">
                  <c:v>45393</c:v>
                </c:pt>
                <c:pt idx="175">
                  <c:v>45394</c:v>
                </c:pt>
                <c:pt idx="176">
                  <c:v>45397</c:v>
                </c:pt>
                <c:pt idx="177">
                  <c:v>45398</c:v>
                </c:pt>
                <c:pt idx="178">
                  <c:v>45399</c:v>
                </c:pt>
                <c:pt idx="179">
                  <c:v>45400</c:v>
                </c:pt>
                <c:pt idx="180">
                  <c:v>45401</c:v>
                </c:pt>
                <c:pt idx="181">
                  <c:v>45404</c:v>
                </c:pt>
                <c:pt idx="182">
                  <c:v>45405</c:v>
                </c:pt>
                <c:pt idx="183">
                  <c:v>45406</c:v>
                </c:pt>
                <c:pt idx="184">
                  <c:v>45407</c:v>
                </c:pt>
                <c:pt idx="185">
                  <c:v>45408</c:v>
                </c:pt>
                <c:pt idx="186">
                  <c:v>45411</c:v>
                </c:pt>
                <c:pt idx="187">
                  <c:v>45412</c:v>
                </c:pt>
                <c:pt idx="188">
                  <c:v>45418</c:v>
                </c:pt>
                <c:pt idx="189">
                  <c:v>45419</c:v>
                </c:pt>
                <c:pt idx="190">
                  <c:v>45420</c:v>
                </c:pt>
                <c:pt idx="191">
                  <c:v>45421</c:v>
                </c:pt>
                <c:pt idx="192">
                  <c:v>45422</c:v>
                </c:pt>
                <c:pt idx="193">
                  <c:v>45425</c:v>
                </c:pt>
                <c:pt idx="194">
                  <c:v>45426</c:v>
                </c:pt>
                <c:pt idx="195">
                  <c:v>45427</c:v>
                </c:pt>
                <c:pt idx="196">
                  <c:v>45428</c:v>
                </c:pt>
                <c:pt idx="197">
                  <c:v>45429</c:v>
                </c:pt>
                <c:pt idx="198">
                  <c:v>45432</c:v>
                </c:pt>
                <c:pt idx="199">
                  <c:v>45433</c:v>
                </c:pt>
                <c:pt idx="200">
                  <c:v>45434</c:v>
                </c:pt>
                <c:pt idx="201">
                  <c:v>45435</c:v>
                </c:pt>
                <c:pt idx="202">
                  <c:v>45436</c:v>
                </c:pt>
                <c:pt idx="203">
                  <c:v>45439</c:v>
                </c:pt>
                <c:pt idx="204">
                  <c:v>45440</c:v>
                </c:pt>
                <c:pt idx="205">
                  <c:v>45441</c:v>
                </c:pt>
                <c:pt idx="206">
                  <c:v>45442</c:v>
                </c:pt>
                <c:pt idx="207">
                  <c:v>45443</c:v>
                </c:pt>
                <c:pt idx="208">
                  <c:v>45446</c:v>
                </c:pt>
                <c:pt idx="209">
                  <c:v>45447</c:v>
                </c:pt>
                <c:pt idx="210">
                  <c:v>45448</c:v>
                </c:pt>
                <c:pt idx="211">
                  <c:v>45449</c:v>
                </c:pt>
                <c:pt idx="212">
                  <c:v>45450</c:v>
                </c:pt>
                <c:pt idx="213">
                  <c:v>45454</c:v>
                </c:pt>
                <c:pt idx="214">
                  <c:v>45455</c:v>
                </c:pt>
                <c:pt idx="215">
                  <c:v>45456</c:v>
                </c:pt>
                <c:pt idx="216">
                  <c:v>45457</c:v>
                </c:pt>
                <c:pt idx="217">
                  <c:v>45460</c:v>
                </c:pt>
                <c:pt idx="218">
                  <c:v>45461</c:v>
                </c:pt>
                <c:pt idx="219">
                  <c:v>45462</c:v>
                </c:pt>
                <c:pt idx="220">
                  <c:v>45463</c:v>
                </c:pt>
                <c:pt idx="221">
                  <c:v>45464</c:v>
                </c:pt>
                <c:pt idx="222">
                  <c:v>45467</c:v>
                </c:pt>
                <c:pt idx="223">
                  <c:v>45468</c:v>
                </c:pt>
                <c:pt idx="224">
                  <c:v>45469</c:v>
                </c:pt>
                <c:pt idx="225">
                  <c:v>45470</c:v>
                </c:pt>
                <c:pt idx="226">
                  <c:v>45471</c:v>
                </c:pt>
                <c:pt idx="227">
                  <c:v>45474</c:v>
                </c:pt>
                <c:pt idx="228">
                  <c:v>45475</c:v>
                </c:pt>
                <c:pt idx="229">
                  <c:v>45476</c:v>
                </c:pt>
                <c:pt idx="230">
                  <c:v>45477</c:v>
                </c:pt>
                <c:pt idx="231">
                  <c:v>45478</c:v>
                </c:pt>
                <c:pt idx="232">
                  <c:v>45481</c:v>
                </c:pt>
                <c:pt idx="233">
                  <c:v>45482</c:v>
                </c:pt>
                <c:pt idx="234">
                  <c:v>45483</c:v>
                </c:pt>
                <c:pt idx="235">
                  <c:v>45484</c:v>
                </c:pt>
                <c:pt idx="236">
                  <c:v>45485</c:v>
                </c:pt>
                <c:pt idx="237">
                  <c:v>45488</c:v>
                </c:pt>
                <c:pt idx="238">
                  <c:v>45489</c:v>
                </c:pt>
                <c:pt idx="239">
                  <c:v>45490</c:v>
                </c:pt>
                <c:pt idx="240">
                  <c:v>45491</c:v>
                </c:pt>
                <c:pt idx="241">
                  <c:v>45492</c:v>
                </c:pt>
                <c:pt idx="242">
                  <c:v>45495</c:v>
                </c:pt>
                <c:pt idx="243">
                  <c:v>45496</c:v>
                </c:pt>
                <c:pt idx="244">
                  <c:v>45497</c:v>
                </c:pt>
                <c:pt idx="245">
                  <c:v>45498</c:v>
                </c:pt>
                <c:pt idx="246">
                  <c:v>45499</c:v>
                </c:pt>
                <c:pt idx="247">
                  <c:v>45502</c:v>
                </c:pt>
                <c:pt idx="248">
                  <c:v>45503</c:v>
                </c:pt>
                <c:pt idx="249">
                  <c:v>45504</c:v>
                </c:pt>
                <c:pt idx="250">
                  <c:v>45505</c:v>
                </c:pt>
                <c:pt idx="251">
                  <c:v>45506</c:v>
                </c:pt>
                <c:pt idx="252">
                  <c:v>45509</c:v>
                </c:pt>
                <c:pt idx="253">
                  <c:v>45510</c:v>
                </c:pt>
                <c:pt idx="254">
                  <c:v>45511</c:v>
                </c:pt>
                <c:pt idx="255">
                  <c:v>45512</c:v>
                </c:pt>
                <c:pt idx="256">
                  <c:v>45513</c:v>
                </c:pt>
                <c:pt idx="257">
                  <c:v>45516</c:v>
                </c:pt>
                <c:pt idx="258">
                  <c:v>45517</c:v>
                </c:pt>
                <c:pt idx="259">
                  <c:v>45518</c:v>
                </c:pt>
                <c:pt idx="260">
                  <c:v>45519</c:v>
                </c:pt>
                <c:pt idx="261">
                  <c:v>45520</c:v>
                </c:pt>
                <c:pt idx="262">
                  <c:v>45523</c:v>
                </c:pt>
                <c:pt idx="263">
                  <c:v>45524</c:v>
                </c:pt>
                <c:pt idx="264">
                  <c:v>45525</c:v>
                </c:pt>
                <c:pt idx="265">
                  <c:v>45526</c:v>
                </c:pt>
                <c:pt idx="266">
                  <c:v>45527</c:v>
                </c:pt>
                <c:pt idx="267">
                  <c:v>45530</c:v>
                </c:pt>
                <c:pt idx="268">
                  <c:v>45531</c:v>
                </c:pt>
                <c:pt idx="269">
                  <c:v>45532</c:v>
                </c:pt>
                <c:pt idx="270">
                  <c:v>45533</c:v>
                </c:pt>
                <c:pt idx="271">
                  <c:v>45534</c:v>
                </c:pt>
                <c:pt idx="272">
                  <c:v>45537</c:v>
                </c:pt>
                <c:pt idx="273">
                  <c:v>45538</c:v>
                </c:pt>
                <c:pt idx="274">
                  <c:v>45539</c:v>
                </c:pt>
                <c:pt idx="275">
                  <c:v>45540</c:v>
                </c:pt>
                <c:pt idx="276">
                  <c:v>45541</c:v>
                </c:pt>
                <c:pt idx="277">
                  <c:v>45544</c:v>
                </c:pt>
                <c:pt idx="278">
                  <c:v>45545</c:v>
                </c:pt>
                <c:pt idx="279">
                  <c:v>45546</c:v>
                </c:pt>
                <c:pt idx="280">
                  <c:v>45547</c:v>
                </c:pt>
                <c:pt idx="281">
                  <c:v>45548</c:v>
                </c:pt>
                <c:pt idx="282">
                  <c:v>45553</c:v>
                </c:pt>
                <c:pt idx="283">
                  <c:v>45554</c:v>
                </c:pt>
                <c:pt idx="284">
                  <c:v>45555</c:v>
                </c:pt>
                <c:pt idx="285">
                  <c:v>45558</c:v>
                </c:pt>
                <c:pt idx="286">
                  <c:v>45559</c:v>
                </c:pt>
                <c:pt idx="287">
                  <c:v>45560</c:v>
                </c:pt>
                <c:pt idx="288">
                  <c:v>45561</c:v>
                </c:pt>
                <c:pt idx="289">
                  <c:v>45562</c:v>
                </c:pt>
                <c:pt idx="290">
                  <c:v>45565</c:v>
                </c:pt>
                <c:pt idx="291">
                  <c:v>45573</c:v>
                </c:pt>
                <c:pt idx="292">
                  <c:v>45574</c:v>
                </c:pt>
                <c:pt idx="293">
                  <c:v>45575</c:v>
                </c:pt>
                <c:pt idx="294">
                  <c:v>45576</c:v>
                </c:pt>
                <c:pt idx="295">
                  <c:v>45579</c:v>
                </c:pt>
                <c:pt idx="296">
                  <c:v>45580</c:v>
                </c:pt>
                <c:pt idx="297">
                  <c:v>45581</c:v>
                </c:pt>
                <c:pt idx="298">
                  <c:v>45582</c:v>
                </c:pt>
                <c:pt idx="299">
                  <c:v>45583</c:v>
                </c:pt>
                <c:pt idx="300">
                  <c:v>45586</c:v>
                </c:pt>
                <c:pt idx="301">
                  <c:v>45587</c:v>
                </c:pt>
                <c:pt idx="302">
                  <c:v>45588</c:v>
                </c:pt>
                <c:pt idx="303">
                  <c:v>45589</c:v>
                </c:pt>
                <c:pt idx="304">
                  <c:v>45590</c:v>
                </c:pt>
                <c:pt idx="305">
                  <c:v>45593</c:v>
                </c:pt>
                <c:pt idx="306">
                  <c:v>45594</c:v>
                </c:pt>
                <c:pt idx="307">
                  <c:v>45595</c:v>
                </c:pt>
                <c:pt idx="308">
                  <c:v>45596</c:v>
                </c:pt>
                <c:pt idx="309">
                  <c:v>45597</c:v>
                </c:pt>
                <c:pt idx="310">
                  <c:v>45600</c:v>
                </c:pt>
                <c:pt idx="311">
                  <c:v>45601</c:v>
                </c:pt>
                <c:pt idx="312">
                  <c:v>45602</c:v>
                </c:pt>
                <c:pt idx="313">
                  <c:v>45603</c:v>
                </c:pt>
                <c:pt idx="314">
                  <c:v>45604</c:v>
                </c:pt>
                <c:pt idx="315">
                  <c:v>45607</c:v>
                </c:pt>
                <c:pt idx="316">
                  <c:v>45608</c:v>
                </c:pt>
                <c:pt idx="317">
                  <c:v>45609</c:v>
                </c:pt>
                <c:pt idx="318">
                  <c:v>45610</c:v>
                </c:pt>
                <c:pt idx="319">
                  <c:v>45611</c:v>
                </c:pt>
                <c:pt idx="320">
                  <c:v>45614</c:v>
                </c:pt>
                <c:pt idx="321">
                  <c:v>45615</c:v>
                </c:pt>
                <c:pt idx="322">
                  <c:v>45616</c:v>
                </c:pt>
                <c:pt idx="323">
                  <c:v>45617</c:v>
                </c:pt>
                <c:pt idx="324">
                  <c:v>45618</c:v>
                </c:pt>
                <c:pt idx="325">
                  <c:v>45621</c:v>
                </c:pt>
                <c:pt idx="326">
                  <c:v>45622</c:v>
                </c:pt>
                <c:pt idx="327">
                  <c:v>45623</c:v>
                </c:pt>
                <c:pt idx="328">
                  <c:v>45624</c:v>
                </c:pt>
                <c:pt idx="329">
                  <c:v>45625</c:v>
                </c:pt>
                <c:pt idx="330">
                  <c:v>45628</c:v>
                </c:pt>
                <c:pt idx="331">
                  <c:v>45629</c:v>
                </c:pt>
                <c:pt idx="332">
                  <c:v>45630</c:v>
                </c:pt>
                <c:pt idx="333">
                  <c:v>45631</c:v>
                </c:pt>
                <c:pt idx="334">
                  <c:v>45632</c:v>
                </c:pt>
                <c:pt idx="335">
                  <c:v>45635</c:v>
                </c:pt>
                <c:pt idx="336">
                  <c:v>45636</c:v>
                </c:pt>
                <c:pt idx="337">
                  <c:v>45637</c:v>
                </c:pt>
                <c:pt idx="338">
                  <c:v>45638</c:v>
                </c:pt>
                <c:pt idx="339">
                  <c:v>45639</c:v>
                </c:pt>
                <c:pt idx="340">
                  <c:v>45642</c:v>
                </c:pt>
                <c:pt idx="341">
                  <c:v>45643</c:v>
                </c:pt>
                <c:pt idx="342">
                  <c:v>45644</c:v>
                </c:pt>
                <c:pt idx="343">
                  <c:v>45645</c:v>
                </c:pt>
                <c:pt idx="344">
                  <c:v>45646</c:v>
                </c:pt>
                <c:pt idx="345">
                  <c:v>45649</c:v>
                </c:pt>
                <c:pt idx="346">
                  <c:v>45650</c:v>
                </c:pt>
                <c:pt idx="347">
                  <c:v>45651</c:v>
                </c:pt>
                <c:pt idx="348">
                  <c:v>45652</c:v>
                </c:pt>
                <c:pt idx="349">
                  <c:v>45653</c:v>
                </c:pt>
                <c:pt idx="350">
                  <c:v>45656</c:v>
                </c:pt>
                <c:pt idx="351">
                  <c:v>45657</c:v>
                </c:pt>
                <c:pt idx="352">
                  <c:v>45659</c:v>
                </c:pt>
                <c:pt idx="353">
                  <c:v>45660</c:v>
                </c:pt>
                <c:pt idx="354">
                  <c:v>45663</c:v>
                </c:pt>
                <c:pt idx="355">
                  <c:v>45664</c:v>
                </c:pt>
                <c:pt idx="356">
                  <c:v>45665</c:v>
                </c:pt>
                <c:pt idx="357">
                  <c:v>45666</c:v>
                </c:pt>
                <c:pt idx="358">
                  <c:v>45667</c:v>
                </c:pt>
                <c:pt idx="359">
                  <c:v>45670</c:v>
                </c:pt>
                <c:pt idx="360">
                  <c:v>45671</c:v>
                </c:pt>
                <c:pt idx="361">
                  <c:v>45672</c:v>
                </c:pt>
                <c:pt idx="362">
                  <c:v>45673</c:v>
                </c:pt>
                <c:pt idx="363">
                  <c:v>45674</c:v>
                </c:pt>
                <c:pt idx="364">
                  <c:v>45677</c:v>
                </c:pt>
                <c:pt idx="365">
                  <c:v>45678</c:v>
                </c:pt>
                <c:pt idx="366">
                  <c:v>45679</c:v>
                </c:pt>
                <c:pt idx="367">
                  <c:v>45680</c:v>
                </c:pt>
                <c:pt idx="368">
                  <c:v>45681</c:v>
                </c:pt>
                <c:pt idx="369">
                  <c:v>45684</c:v>
                </c:pt>
                <c:pt idx="370">
                  <c:v>45693</c:v>
                </c:pt>
                <c:pt idx="371">
                  <c:v>45694</c:v>
                </c:pt>
                <c:pt idx="372">
                  <c:v>45695</c:v>
                </c:pt>
                <c:pt idx="373">
                  <c:v>45698</c:v>
                </c:pt>
                <c:pt idx="374">
                  <c:v>45699</c:v>
                </c:pt>
                <c:pt idx="375">
                  <c:v>45700</c:v>
                </c:pt>
                <c:pt idx="376">
                  <c:v>45701</c:v>
                </c:pt>
                <c:pt idx="377">
                  <c:v>45702</c:v>
                </c:pt>
                <c:pt idx="378">
                  <c:v>45705</c:v>
                </c:pt>
                <c:pt idx="379">
                  <c:v>45706</c:v>
                </c:pt>
                <c:pt idx="380">
                  <c:v>45707</c:v>
                </c:pt>
                <c:pt idx="381">
                  <c:v>45708</c:v>
                </c:pt>
                <c:pt idx="382">
                  <c:v>45709</c:v>
                </c:pt>
                <c:pt idx="383">
                  <c:v>45712</c:v>
                </c:pt>
                <c:pt idx="384">
                  <c:v>45713</c:v>
                </c:pt>
                <c:pt idx="385">
                  <c:v>45714</c:v>
                </c:pt>
                <c:pt idx="386">
                  <c:v>45715</c:v>
                </c:pt>
                <c:pt idx="387">
                  <c:v>45716</c:v>
                </c:pt>
                <c:pt idx="388">
                  <c:v>45719</c:v>
                </c:pt>
                <c:pt idx="389">
                  <c:v>45720</c:v>
                </c:pt>
                <c:pt idx="390">
                  <c:v>45721</c:v>
                </c:pt>
                <c:pt idx="391">
                  <c:v>45722</c:v>
                </c:pt>
                <c:pt idx="392">
                  <c:v>45723</c:v>
                </c:pt>
                <c:pt idx="393">
                  <c:v>45726</c:v>
                </c:pt>
                <c:pt idx="394">
                  <c:v>45727</c:v>
                </c:pt>
                <c:pt idx="395">
                  <c:v>45728</c:v>
                </c:pt>
                <c:pt idx="396">
                  <c:v>45729</c:v>
                </c:pt>
                <c:pt idx="397">
                  <c:v>45730</c:v>
                </c:pt>
                <c:pt idx="398">
                  <c:v>45733</c:v>
                </c:pt>
                <c:pt idx="399">
                  <c:v>45734</c:v>
                </c:pt>
                <c:pt idx="400">
                  <c:v>45735</c:v>
                </c:pt>
                <c:pt idx="401">
                  <c:v>45736</c:v>
                </c:pt>
                <c:pt idx="402">
                  <c:v>45737</c:v>
                </c:pt>
                <c:pt idx="403">
                  <c:v>45740</c:v>
                </c:pt>
                <c:pt idx="404">
                  <c:v>45741</c:v>
                </c:pt>
                <c:pt idx="405">
                  <c:v>45742</c:v>
                </c:pt>
                <c:pt idx="406">
                  <c:v>45743</c:v>
                </c:pt>
                <c:pt idx="407">
                  <c:v>45744</c:v>
                </c:pt>
                <c:pt idx="408">
                  <c:v>45747</c:v>
                </c:pt>
                <c:pt idx="409">
                  <c:v>45748</c:v>
                </c:pt>
                <c:pt idx="410">
                  <c:v>45749</c:v>
                </c:pt>
                <c:pt idx="411">
                  <c:v>45750</c:v>
                </c:pt>
                <c:pt idx="412">
                  <c:v>45754</c:v>
                </c:pt>
                <c:pt idx="413">
                  <c:v>45755</c:v>
                </c:pt>
                <c:pt idx="414">
                  <c:v>45756</c:v>
                </c:pt>
                <c:pt idx="415">
                  <c:v>45757</c:v>
                </c:pt>
                <c:pt idx="416">
                  <c:v>45758</c:v>
                </c:pt>
                <c:pt idx="417">
                  <c:v>45761</c:v>
                </c:pt>
                <c:pt idx="418">
                  <c:v>45762</c:v>
                </c:pt>
                <c:pt idx="419">
                  <c:v>45763</c:v>
                </c:pt>
                <c:pt idx="420">
                  <c:v>45764</c:v>
                </c:pt>
                <c:pt idx="421">
                  <c:v>45765</c:v>
                </c:pt>
                <c:pt idx="422">
                  <c:v>45768</c:v>
                </c:pt>
                <c:pt idx="423">
                  <c:v>45769</c:v>
                </c:pt>
                <c:pt idx="424">
                  <c:v>45770</c:v>
                </c:pt>
                <c:pt idx="425">
                  <c:v>45771</c:v>
                </c:pt>
                <c:pt idx="426">
                  <c:v>45772</c:v>
                </c:pt>
                <c:pt idx="427">
                  <c:v>45775</c:v>
                </c:pt>
                <c:pt idx="428">
                  <c:v>45776</c:v>
                </c:pt>
                <c:pt idx="429">
                  <c:v>45777</c:v>
                </c:pt>
                <c:pt idx="430">
                  <c:v>45783</c:v>
                </c:pt>
                <c:pt idx="431">
                  <c:v>45784</c:v>
                </c:pt>
                <c:pt idx="432">
                  <c:v>45785</c:v>
                </c:pt>
                <c:pt idx="433">
                  <c:v>45786</c:v>
                </c:pt>
                <c:pt idx="434">
                  <c:v>45789</c:v>
                </c:pt>
                <c:pt idx="435">
                  <c:v>45790</c:v>
                </c:pt>
                <c:pt idx="436">
                  <c:v>45791</c:v>
                </c:pt>
                <c:pt idx="437">
                  <c:v>45792</c:v>
                </c:pt>
                <c:pt idx="438">
                  <c:v>45793</c:v>
                </c:pt>
                <c:pt idx="439">
                  <c:v>45796</c:v>
                </c:pt>
                <c:pt idx="440">
                  <c:v>45797</c:v>
                </c:pt>
                <c:pt idx="441">
                  <c:v>45798</c:v>
                </c:pt>
                <c:pt idx="442">
                  <c:v>45799</c:v>
                </c:pt>
                <c:pt idx="443">
                  <c:v>45800</c:v>
                </c:pt>
                <c:pt idx="444">
                  <c:v>45803</c:v>
                </c:pt>
                <c:pt idx="445">
                  <c:v>45804</c:v>
                </c:pt>
                <c:pt idx="446">
                  <c:v>45805</c:v>
                </c:pt>
                <c:pt idx="447">
                  <c:v>45806</c:v>
                </c:pt>
                <c:pt idx="448">
                  <c:v>45807</c:v>
                </c:pt>
                <c:pt idx="449">
                  <c:v>45811</c:v>
                </c:pt>
                <c:pt idx="450">
                  <c:v>45812</c:v>
                </c:pt>
                <c:pt idx="451">
                  <c:v>45813</c:v>
                </c:pt>
                <c:pt idx="452">
                  <c:v>45814</c:v>
                </c:pt>
                <c:pt idx="453">
                  <c:v>45817</c:v>
                </c:pt>
                <c:pt idx="454">
                  <c:v>45818</c:v>
                </c:pt>
                <c:pt idx="455">
                  <c:v>45819</c:v>
                </c:pt>
                <c:pt idx="456">
                  <c:v>45820</c:v>
                </c:pt>
                <c:pt idx="457">
                  <c:v>45821</c:v>
                </c:pt>
                <c:pt idx="458">
                  <c:v>45824</c:v>
                </c:pt>
                <c:pt idx="459">
                  <c:v>45825</c:v>
                </c:pt>
                <c:pt idx="460">
                  <c:v>45826</c:v>
                </c:pt>
                <c:pt idx="461">
                  <c:v>45827</c:v>
                </c:pt>
                <c:pt idx="462">
                  <c:v>45828</c:v>
                </c:pt>
                <c:pt idx="463">
                  <c:v>45831</c:v>
                </c:pt>
                <c:pt idx="464">
                  <c:v>45832</c:v>
                </c:pt>
                <c:pt idx="465">
                  <c:v>45833</c:v>
                </c:pt>
                <c:pt idx="466">
                  <c:v>45834</c:v>
                </c:pt>
                <c:pt idx="467">
                  <c:v>45835</c:v>
                </c:pt>
                <c:pt idx="468">
                  <c:v>45838</c:v>
                </c:pt>
                <c:pt idx="469">
                  <c:v>45839</c:v>
                </c:pt>
                <c:pt idx="470">
                  <c:v>45840</c:v>
                </c:pt>
                <c:pt idx="471">
                  <c:v>45841</c:v>
                </c:pt>
                <c:pt idx="472">
                  <c:v>45842</c:v>
                </c:pt>
                <c:pt idx="473">
                  <c:v>45845</c:v>
                </c:pt>
                <c:pt idx="474">
                  <c:v>45846</c:v>
                </c:pt>
                <c:pt idx="475">
                  <c:v>45847</c:v>
                </c:pt>
                <c:pt idx="476">
                  <c:v>45848</c:v>
                </c:pt>
                <c:pt idx="477">
                  <c:v>45849</c:v>
                </c:pt>
                <c:pt idx="478">
                  <c:v>45852</c:v>
                </c:pt>
                <c:pt idx="479">
                  <c:v>45853</c:v>
                </c:pt>
                <c:pt idx="480">
                  <c:v>45854</c:v>
                </c:pt>
                <c:pt idx="481">
                  <c:v>45855</c:v>
                </c:pt>
                <c:pt idx="482">
                  <c:v>45856</c:v>
                </c:pt>
                <c:pt idx="483">
                  <c:v>45859</c:v>
                </c:pt>
                <c:pt idx="484">
                  <c:v>45860</c:v>
                </c:pt>
                <c:pt idx="485">
                  <c:v>45861</c:v>
                </c:pt>
                <c:pt idx="486">
                  <c:v>45862</c:v>
                </c:pt>
                <c:pt idx="487">
                  <c:v>45863</c:v>
                </c:pt>
                <c:pt idx="488">
                  <c:v>45866</c:v>
                </c:pt>
                <c:pt idx="489">
                  <c:v>45867</c:v>
                </c:pt>
                <c:pt idx="490">
                  <c:v>45868</c:v>
                </c:pt>
                <c:pt idx="491">
                  <c:v>45869</c:v>
                </c:pt>
                <c:pt idx="492">
                  <c:v>45870</c:v>
                </c:pt>
                <c:pt idx="493">
                  <c:v>45873</c:v>
                </c:pt>
                <c:pt idx="494">
                  <c:v>45874</c:v>
                </c:pt>
                <c:pt idx="495">
                  <c:v>45875</c:v>
                </c:pt>
                <c:pt idx="496">
                  <c:v>45876</c:v>
                </c:pt>
                <c:pt idx="497">
                  <c:v>45877</c:v>
                </c:pt>
                <c:pt idx="498">
                  <c:v>45880</c:v>
                </c:pt>
                <c:pt idx="499">
                  <c:v>45881</c:v>
                </c:pt>
                <c:pt idx="500">
                  <c:v>45882</c:v>
                </c:pt>
                <c:pt idx="501">
                  <c:v>45883</c:v>
                </c:pt>
                <c:pt idx="502">
                  <c:v>45884</c:v>
                </c:pt>
                <c:pt idx="503">
                  <c:v>45887</c:v>
                </c:pt>
                <c:pt idx="504">
                  <c:v>45888</c:v>
                </c:pt>
                <c:pt idx="505">
                  <c:v>45889</c:v>
                </c:pt>
                <c:pt idx="506">
                  <c:v>45890</c:v>
                </c:pt>
                <c:pt idx="507">
                  <c:v>45891</c:v>
                </c:pt>
                <c:pt idx="508">
                  <c:v>45894</c:v>
                </c:pt>
                <c:pt idx="509">
                  <c:v>45895</c:v>
                </c:pt>
                <c:pt idx="510">
                  <c:v>45896</c:v>
                </c:pt>
                <c:pt idx="511">
                  <c:v>45897</c:v>
                </c:pt>
                <c:pt idx="512">
                  <c:v>45898</c:v>
                </c:pt>
                <c:pt idx="513">
                  <c:v>45901</c:v>
                </c:pt>
                <c:pt idx="514">
                  <c:v>45902</c:v>
                </c:pt>
                <c:pt idx="515">
                  <c:v>45903</c:v>
                </c:pt>
                <c:pt idx="516">
                  <c:v>45904</c:v>
                </c:pt>
                <c:pt idx="517">
                  <c:v>45905</c:v>
                </c:pt>
                <c:pt idx="518">
                  <c:v>45908</c:v>
                </c:pt>
                <c:pt idx="519">
                  <c:v>45909</c:v>
                </c:pt>
                <c:pt idx="520">
                  <c:v>45910</c:v>
                </c:pt>
                <c:pt idx="521">
                  <c:v>45911</c:v>
                </c:pt>
                <c:pt idx="522">
                  <c:v>45912</c:v>
                </c:pt>
                <c:pt idx="523">
                  <c:v>45915</c:v>
                </c:pt>
                <c:pt idx="524">
                  <c:v>45916</c:v>
                </c:pt>
                <c:pt idx="525">
                  <c:v>45917</c:v>
                </c:pt>
                <c:pt idx="526">
                  <c:v>45918</c:v>
                </c:pt>
                <c:pt idx="527">
                  <c:v>45919</c:v>
                </c:pt>
                <c:pt idx="528">
                  <c:v>45922</c:v>
                </c:pt>
                <c:pt idx="529">
                  <c:v>45923</c:v>
                </c:pt>
                <c:pt idx="530">
                  <c:v>45924</c:v>
                </c:pt>
                <c:pt idx="531">
                  <c:v>45925</c:v>
                </c:pt>
                <c:pt idx="532">
                  <c:v>45926</c:v>
                </c:pt>
                <c:pt idx="533">
                  <c:v>45929</c:v>
                </c:pt>
                <c:pt idx="534">
                  <c:v>45930</c:v>
                </c:pt>
                <c:pt idx="535">
                  <c:v>45931</c:v>
                </c:pt>
                <c:pt idx="536">
                  <c:v>45932</c:v>
                </c:pt>
                <c:pt idx="537">
                  <c:v>45933</c:v>
                </c:pt>
                <c:pt idx="538">
                  <c:v>45936</c:v>
                </c:pt>
                <c:pt idx="539">
                  <c:v>45937</c:v>
                </c:pt>
                <c:pt idx="540">
                  <c:v>45938</c:v>
                </c:pt>
                <c:pt idx="541">
                  <c:v>45939</c:v>
                </c:pt>
                <c:pt idx="542">
                  <c:v>45940</c:v>
                </c:pt>
                <c:pt idx="543">
                  <c:v>45943</c:v>
                </c:pt>
                <c:pt idx="544">
                  <c:v>45944</c:v>
                </c:pt>
                <c:pt idx="545">
                  <c:v>45945</c:v>
                </c:pt>
                <c:pt idx="546">
                  <c:v>45946</c:v>
                </c:pt>
                <c:pt idx="547">
                  <c:v>45947</c:v>
                </c:pt>
                <c:pt idx="548">
                  <c:v>45950</c:v>
                </c:pt>
                <c:pt idx="549">
                  <c:v>45951</c:v>
                </c:pt>
                <c:pt idx="550">
                  <c:v>45952</c:v>
                </c:pt>
                <c:pt idx="551">
                  <c:v>45953</c:v>
                </c:pt>
                <c:pt idx="552">
                  <c:v>45954</c:v>
                </c:pt>
                <c:pt idx="553">
                  <c:v>45957</c:v>
                </c:pt>
                <c:pt idx="554">
                  <c:v>45958</c:v>
                </c:pt>
                <c:pt idx="555">
                  <c:v>45959</c:v>
                </c:pt>
                <c:pt idx="556">
                  <c:v>45960</c:v>
                </c:pt>
                <c:pt idx="557">
                  <c:v>45961</c:v>
                </c:pt>
                <c:pt idx="558">
                  <c:v>45964</c:v>
                </c:pt>
                <c:pt idx="559">
                  <c:v>45965</c:v>
                </c:pt>
                <c:pt idx="560">
                  <c:v>45966</c:v>
                </c:pt>
                <c:pt idx="561">
                  <c:v>45967</c:v>
                </c:pt>
                <c:pt idx="562">
                  <c:v>45968</c:v>
                </c:pt>
                <c:pt idx="563">
                  <c:v>45971</c:v>
                </c:pt>
                <c:pt idx="564">
                  <c:v>45972</c:v>
                </c:pt>
                <c:pt idx="565">
                  <c:v>45973</c:v>
                </c:pt>
                <c:pt idx="566">
                  <c:v>45974</c:v>
                </c:pt>
                <c:pt idx="567">
                  <c:v>45975</c:v>
                </c:pt>
                <c:pt idx="568">
                  <c:v>45978</c:v>
                </c:pt>
                <c:pt idx="569">
                  <c:v>45979</c:v>
                </c:pt>
                <c:pt idx="570">
                  <c:v>45980</c:v>
                </c:pt>
                <c:pt idx="571">
                  <c:v>45981</c:v>
                </c:pt>
                <c:pt idx="572">
                  <c:v>45982</c:v>
                </c:pt>
                <c:pt idx="573">
                  <c:v>45985</c:v>
                </c:pt>
                <c:pt idx="574">
                  <c:v>45986</c:v>
                </c:pt>
                <c:pt idx="575">
                  <c:v>45987</c:v>
                </c:pt>
                <c:pt idx="576">
                  <c:v>45988</c:v>
                </c:pt>
                <c:pt idx="577">
                  <c:v>45989</c:v>
                </c:pt>
                <c:pt idx="578">
                  <c:v>45992</c:v>
                </c:pt>
                <c:pt idx="579">
                  <c:v>45993</c:v>
                </c:pt>
                <c:pt idx="580">
                  <c:v>45994</c:v>
                </c:pt>
                <c:pt idx="581">
                  <c:v>45995</c:v>
                </c:pt>
                <c:pt idx="582">
                  <c:v>45996</c:v>
                </c:pt>
                <c:pt idx="583">
                  <c:v>45999</c:v>
                </c:pt>
                <c:pt idx="584">
                  <c:v>46000</c:v>
                </c:pt>
                <c:pt idx="585">
                  <c:v>46001</c:v>
                </c:pt>
                <c:pt idx="586">
                  <c:v>46002</c:v>
                </c:pt>
                <c:pt idx="587">
                  <c:v>46003</c:v>
                </c:pt>
                <c:pt idx="588">
                  <c:v>46006</c:v>
                </c:pt>
                <c:pt idx="589">
                  <c:v>46007</c:v>
                </c:pt>
                <c:pt idx="590">
                  <c:v>46008</c:v>
                </c:pt>
                <c:pt idx="591">
                  <c:v>46009</c:v>
                </c:pt>
                <c:pt idx="592">
                  <c:v>46010</c:v>
                </c:pt>
                <c:pt idx="593">
                  <c:v>46013</c:v>
                </c:pt>
                <c:pt idx="594">
                  <c:v>46014</c:v>
                </c:pt>
                <c:pt idx="595">
                  <c:v>46015</c:v>
                </c:pt>
                <c:pt idx="596">
                  <c:v>46016</c:v>
                </c:pt>
                <c:pt idx="597">
                  <c:v>46017</c:v>
                </c:pt>
                <c:pt idx="598">
                  <c:v>46020</c:v>
                </c:pt>
                <c:pt idx="599">
                  <c:v>46021</c:v>
                </c:pt>
                <c:pt idx="600">
                  <c:v>46022</c:v>
                </c:pt>
                <c:pt idx="601">
                  <c:v>46023</c:v>
                </c:pt>
                <c:pt idx="602">
                  <c:v>46024</c:v>
                </c:pt>
                <c:pt idx="603">
                  <c:v>46027</c:v>
                </c:pt>
                <c:pt idx="604">
                  <c:v>46028</c:v>
                </c:pt>
                <c:pt idx="605">
                  <c:v>46029</c:v>
                </c:pt>
                <c:pt idx="606">
                  <c:v>46030</c:v>
                </c:pt>
                <c:pt idx="607">
                  <c:v>46031</c:v>
                </c:pt>
                <c:pt idx="608">
                  <c:v>46034</c:v>
                </c:pt>
                <c:pt idx="609">
                  <c:v>46035</c:v>
                </c:pt>
                <c:pt idx="610">
                  <c:v>46036</c:v>
                </c:pt>
                <c:pt idx="611">
                  <c:v>46037</c:v>
                </c:pt>
                <c:pt idx="612">
                  <c:v>46038</c:v>
                </c:pt>
                <c:pt idx="613">
                  <c:v>46041</c:v>
                </c:pt>
                <c:pt idx="614">
                  <c:v>46042</c:v>
                </c:pt>
                <c:pt idx="615">
                  <c:v>46043</c:v>
                </c:pt>
                <c:pt idx="616">
                  <c:v>46044</c:v>
                </c:pt>
                <c:pt idx="617">
                  <c:v>46045</c:v>
                </c:pt>
                <c:pt idx="618">
                  <c:v>46048</c:v>
                </c:pt>
                <c:pt idx="619">
                  <c:v>46049</c:v>
                </c:pt>
                <c:pt idx="620">
                  <c:v>46050</c:v>
                </c:pt>
                <c:pt idx="621">
                  <c:v>46051</c:v>
                </c:pt>
                <c:pt idx="622">
                  <c:v>46052</c:v>
                </c:pt>
                <c:pt idx="623">
                  <c:v>46055</c:v>
                </c:pt>
                <c:pt idx="624">
                  <c:v>46056</c:v>
                </c:pt>
                <c:pt idx="625">
                  <c:v>46057</c:v>
                </c:pt>
                <c:pt idx="626">
                  <c:v>46058</c:v>
                </c:pt>
                <c:pt idx="627">
                  <c:v>46059</c:v>
                </c:pt>
                <c:pt idx="628">
                  <c:v>46062</c:v>
                </c:pt>
                <c:pt idx="629">
                  <c:v>46063</c:v>
                </c:pt>
                <c:pt idx="630">
                  <c:v>46064</c:v>
                </c:pt>
                <c:pt idx="631">
                  <c:v>46065</c:v>
                </c:pt>
                <c:pt idx="632">
                  <c:v>46066</c:v>
                </c:pt>
                <c:pt idx="633">
                  <c:v>46069</c:v>
                </c:pt>
                <c:pt idx="634">
                  <c:v>46070</c:v>
                </c:pt>
                <c:pt idx="635">
                  <c:v>46071</c:v>
                </c:pt>
                <c:pt idx="636">
                  <c:v>46072</c:v>
                </c:pt>
                <c:pt idx="637">
                  <c:v>46073</c:v>
                </c:pt>
                <c:pt idx="638">
                  <c:v>46076</c:v>
                </c:pt>
                <c:pt idx="639">
                  <c:v>46077</c:v>
                </c:pt>
                <c:pt idx="640">
                  <c:v>46078</c:v>
                </c:pt>
                <c:pt idx="641">
                  <c:v>46079</c:v>
                </c:pt>
                <c:pt idx="642">
                  <c:v>46080</c:v>
                </c:pt>
                <c:pt idx="643">
                  <c:v>46083</c:v>
                </c:pt>
                <c:pt idx="644">
                  <c:v>46084</c:v>
                </c:pt>
                <c:pt idx="645">
                  <c:v>46085</c:v>
                </c:pt>
                <c:pt idx="646">
                  <c:v>46086</c:v>
                </c:pt>
                <c:pt idx="647">
                  <c:v>46087</c:v>
                </c:pt>
                <c:pt idx="648">
                  <c:v>46090</c:v>
                </c:pt>
                <c:pt idx="649">
                  <c:v>46091</c:v>
                </c:pt>
                <c:pt idx="650">
                  <c:v>46092</c:v>
                </c:pt>
                <c:pt idx="651">
                  <c:v>46093</c:v>
                </c:pt>
                <c:pt idx="652">
                  <c:v>46094</c:v>
                </c:pt>
                <c:pt idx="653">
                  <c:v>46097</c:v>
                </c:pt>
                <c:pt idx="654">
                  <c:v>46098</c:v>
                </c:pt>
                <c:pt idx="655">
                  <c:v>46099</c:v>
                </c:pt>
                <c:pt idx="656">
                  <c:v>46100</c:v>
                </c:pt>
                <c:pt idx="657">
                  <c:v>46101</c:v>
                </c:pt>
                <c:pt idx="658">
                  <c:v>46104</c:v>
                </c:pt>
                <c:pt idx="659">
                  <c:v>46105</c:v>
                </c:pt>
                <c:pt idx="660">
                  <c:v>46106</c:v>
                </c:pt>
                <c:pt idx="661">
                  <c:v>46107</c:v>
                </c:pt>
                <c:pt idx="662">
                  <c:v>46108</c:v>
                </c:pt>
                <c:pt idx="663">
                  <c:v>46111</c:v>
                </c:pt>
                <c:pt idx="664">
                  <c:v>46112</c:v>
                </c:pt>
                <c:pt idx="665">
                  <c:v>46113</c:v>
                </c:pt>
                <c:pt idx="666">
                  <c:v>46114</c:v>
                </c:pt>
                <c:pt idx="667">
                  <c:v>46115</c:v>
                </c:pt>
                <c:pt idx="668">
                  <c:v>46118</c:v>
                </c:pt>
                <c:pt idx="669">
                  <c:v>46119</c:v>
                </c:pt>
                <c:pt idx="670">
                  <c:v>46120</c:v>
                </c:pt>
                <c:pt idx="671">
                  <c:v>46121</c:v>
                </c:pt>
                <c:pt idx="672">
                  <c:v>46122</c:v>
                </c:pt>
                <c:pt idx="673">
                  <c:v>46125</c:v>
                </c:pt>
                <c:pt idx="674">
                  <c:v>46126</c:v>
                </c:pt>
                <c:pt idx="675">
                  <c:v>46127</c:v>
                </c:pt>
                <c:pt idx="676">
                  <c:v>46128</c:v>
                </c:pt>
                <c:pt idx="677">
                  <c:v>46129</c:v>
                </c:pt>
                <c:pt idx="678">
                  <c:v>46132</c:v>
                </c:pt>
                <c:pt idx="679">
                  <c:v>46133</c:v>
                </c:pt>
                <c:pt idx="680">
                  <c:v>46134</c:v>
                </c:pt>
                <c:pt idx="681">
                  <c:v>46135</c:v>
                </c:pt>
                <c:pt idx="682">
                  <c:v>46136</c:v>
                </c:pt>
                <c:pt idx="683">
                  <c:v>46139</c:v>
                </c:pt>
                <c:pt idx="684">
                  <c:v>46140</c:v>
                </c:pt>
                <c:pt idx="685">
                  <c:v>46141</c:v>
                </c:pt>
                <c:pt idx="686">
                  <c:v>46142</c:v>
                </c:pt>
                <c:pt idx="687">
                  <c:v>46143</c:v>
                </c:pt>
                <c:pt idx="688">
                  <c:v>46146</c:v>
                </c:pt>
                <c:pt idx="689">
                  <c:v>46147</c:v>
                </c:pt>
                <c:pt idx="690">
                  <c:v>46148</c:v>
                </c:pt>
                <c:pt idx="691">
                  <c:v>46149</c:v>
                </c:pt>
                <c:pt idx="692">
                  <c:v>46150</c:v>
                </c:pt>
                <c:pt idx="693">
                  <c:v>46153</c:v>
                </c:pt>
                <c:pt idx="694">
                  <c:v>46154</c:v>
                </c:pt>
                <c:pt idx="695">
                  <c:v>46155</c:v>
                </c:pt>
                <c:pt idx="696">
                  <c:v>46156</c:v>
                </c:pt>
                <c:pt idx="697">
                  <c:v>46157</c:v>
                </c:pt>
                <c:pt idx="698">
                  <c:v>46160</c:v>
                </c:pt>
                <c:pt idx="699">
                  <c:v>46161</c:v>
                </c:pt>
                <c:pt idx="700">
                  <c:v>46162</c:v>
                </c:pt>
                <c:pt idx="701">
                  <c:v>46163</c:v>
                </c:pt>
                <c:pt idx="702">
                  <c:v>46164</c:v>
                </c:pt>
                <c:pt idx="703">
                  <c:v>46167</c:v>
                </c:pt>
                <c:pt idx="704">
                  <c:v>46168</c:v>
                </c:pt>
                <c:pt idx="705">
                  <c:v>46169</c:v>
                </c:pt>
                <c:pt idx="706">
                  <c:v>46170</c:v>
                </c:pt>
                <c:pt idx="707">
                  <c:v>46171</c:v>
                </c:pt>
                <c:pt idx="708">
                  <c:v>46174</c:v>
                </c:pt>
                <c:pt idx="709">
                  <c:v>46175</c:v>
                </c:pt>
                <c:pt idx="710">
                  <c:v>46176</c:v>
                </c:pt>
                <c:pt idx="711">
                  <c:v>46177</c:v>
                </c:pt>
                <c:pt idx="712">
                  <c:v>46178</c:v>
                </c:pt>
                <c:pt idx="713">
                  <c:v>46181</c:v>
                </c:pt>
                <c:pt idx="714">
                  <c:v>46182</c:v>
                </c:pt>
                <c:pt idx="715">
                  <c:v>46183</c:v>
                </c:pt>
                <c:pt idx="716">
                  <c:v>46184</c:v>
                </c:pt>
                <c:pt idx="717">
                  <c:v>46185</c:v>
                </c:pt>
                <c:pt idx="718">
                  <c:v>46188</c:v>
                </c:pt>
                <c:pt idx="719">
                  <c:v>46189</c:v>
                </c:pt>
                <c:pt idx="720">
                  <c:v>46190</c:v>
                </c:pt>
                <c:pt idx="721">
                  <c:v>46191</c:v>
                </c:pt>
                <c:pt idx="722">
                  <c:v>46192</c:v>
                </c:pt>
                <c:pt idx="723">
                  <c:v>46195</c:v>
                </c:pt>
                <c:pt idx="724">
                  <c:v>46196</c:v>
                </c:pt>
                <c:pt idx="725">
                  <c:v>46197</c:v>
                </c:pt>
                <c:pt idx="726">
                  <c:v>46198</c:v>
                </c:pt>
                <c:pt idx="727">
                  <c:v>46199</c:v>
                </c:pt>
                <c:pt idx="728">
                  <c:v>46202</c:v>
                </c:pt>
                <c:pt idx="729">
                  <c:v>46203</c:v>
                </c:pt>
                <c:pt idx="730">
                  <c:v>46204</c:v>
                </c:pt>
                <c:pt idx="731">
                  <c:v>46205</c:v>
                </c:pt>
                <c:pt idx="732">
                  <c:v>46206</c:v>
                </c:pt>
                <c:pt idx="733">
                  <c:v>46209</c:v>
                </c:pt>
                <c:pt idx="734">
                  <c:v>46210</c:v>
                </c:pt>
                <c:pt idx="735">
                  <c:v>46211</c:v>
                </c:pt>
                <c:pt idx="736">
                  <c:v>46212</c:v>
                </c:pt>
                <c:pt idx="737">
                  <c:v>46213</c:v>
                </c:pt>
                <c:pt idx="738">
                  <c:v>46216</c:v>
                </c:pt>
                <c:pt idx="739">
                  <c:v>46217</c:v>
                </c:pt>
                <c:pt idx="740">
                  <c:v>46218</c:v>
                </c:pt>
                <c:pt idx="741">
                  <c:v>46219</c:v>
                </c:pt>
                <c:pt idx="742">
                  <c:v>46220</c:v>
                </c:pt>
                <c:pt idx="743">
                  <c:v>46223</c:v>
                </c:pt>
                <c:pt idx="744">
                  <c:v>46224</c:v>
                </c:pt>
                <c:pt idx="745">
                  <c:v>46225</c:v>
                </c:pt>
                <c:pt idx="746">
                  <c:v>46226</c:v>
                </c:pt>
                <c:pt idx="747">
                  <c:v>46227</c:v>
                </c:pt>
                <c:pt idx="748">
                  <c:v>46230</c:v>
                </c:pt>
                <c:pt idx="749">
                  <c:v>46231</c:v>
                </c:pt>
                <c:pt idx="750">
                  <c:v>46232</c:v>
                </c:pt>
                <c:pt idx="751">
                  <c:v>46233</c:v>
                </c:pt>
                <c:pt idx="752">
                  <c:v>46234</c:v>
                </c:pt>
                <c:pt idx="753">
                  <c:v>46237</c:v>
                </c:pt>
                <c:pt idx="754">
                  <c:v>46238</c:v>
                </c:pt>
                <c:pt idx="755">
                  <c:v>46239</c:v>
                </c:pt>
                <c:pt idx="756">
                  <c:v>46240</c:v>
                </c:pt>
                <c:pt idx="757">
                  <c:v>46241</c:v>
                </c:pt>
                <c:pt idx="758">
                  <c:v>46244</c:v>
                </c:pt>
                <c:pt idx="759">
                  <c:v>46245</c:v>
                </c:pt>
                <c:pt idx="760">
                  <c:v>46246</c:v>
                </c:pt>
                <c:pt idx="761">
                  <c:v>46247</c:v>
                </c:pt>
                <c:pt idx="762">
                  <c:v>46248</c:v>
                </c:pt>
                <c:pt idx="763">
                  <c:v>46251</c:v>
                </c:pt>
                <c:pt idx="764">
                  <c:v>46252</c:v>
                </c:pt>
                <c:pt idx="765">
                  <c:v>46253</c:v>
                </c:pt>
                <c:pt idx="766">
                  <c:v>46254</c:v>
                </c:pt>
                <c:pt idx="767">
                  <c:v>46255</c:v>
                </c:pt>
                <c:pt idx="768">
                  <c:v>46258</c:v>
                </c:pt>
                <c:pt idx="769">
                  <c:v>46259</c:v>
                </c:pt>
                <c:pt idx="770">
                  <c:v>46260</c:v>
                </c:pt>
                <c:pt idx="771">
                  <c:v>46261</c:v>
                </c:pt>
                <c:pt idx="772">
                  <c:v>46262</c:v>
                </c:pt>
                <c:pt idx="773">
                  <c:v>46265</c:v>
                </c:pt>
                <c:pt idx="774">
                  <c:v>46266</c:v>
                </c:pt>
                <c:pt idx="775">
                  <c:v>46267</c:v>
                </c:pt>
                <c:pt idx="776">
                  <c:v>46268</c:v>
                </c:pt>
                <c:pt idx="777">
                  <c:v>46269</c:v>
                </c:pt>
                <c:pt idx="778">
                  <c:v>46272</c:v>
                </c:pt>
                <c:pt idx="779">
                  <c:v>46273</c:v>
                </c:pt>
                <c:pt idx="780">
                  <c:v>46274</c:v>
                </c:pt>
                <c:pt idx="781">
                  <c:v>46275</c:v>
                </c:pt>
                <c:pt idx="782">
                  <c:v>46276</c:v>
                </c:pt>
                <c:pt idx="783">
                  <c:v>46279</c:v>
                </c:pt>
                <c:pt idx="784">
                  <c:v>46280</c:v>
                </c:pt>
                <c:pt idx="785">
                  <c:v>46281</c:v>
                </c:pt>
                <c:pt idx="786">
                  <c:v>46282</c:v>
                </c:pt>
                <c:pt idx="787">
                  <c:v>46283</c:v>
                </c:pt>
                <c:pt idx="788">
                  <c:v>46286</c:v>
                </c:pt>
                <c:pt idx="789">
                  <c:v>46287</c:v>
                </c:pt>
                <c:pt idx="790">
                  <c:v>46288</c:v>
                </c:pt>
                <c:pt idx="791">
                  <c:v>46289</c:v>
                </c:pt>
                <c:pt idx="792">
                  <c:v>46290</c:v>
                </c:pt>
                <c:pt idx="793">
                  <c:v>46293</c:v>
                </c:pt>
                <c:pt idx="794">
                  <c:v>46294</c:v>
                </c:pt>
                <c:pt idx="795">
                  <c:v>46295</c:v>
                </c:pt>
                <c:pt idx="796">
                  <c:v>46296</c:v>
                </c:pt>
                <c:pt idx="797">
                  <c:v>46297</c:v>
                </c:pt>
                <c:pt idx="798">
                  <c:v>46300</c:v>
                </c:pt>
                <c:pt idx="799">
                  <c:v>46301</c:v>
                </c:pt>
                <c:pt idx="800">
                  <c:v>46302</c:v>
                </c:pt>
                <c:pt idx="801">
                  <c:v>46303</c:v>
                </c:pt>
                <c:pt idx="802">
                  <c:v>46304</c:v>
                </c:pt>
                <c:pt idx="803">
                  <c:v>46307</c:v>
                </c:pt>
                <c:pt idx="804">
                  <c:v>46308</c:v>
                </c:pt>
                <c:pt idx="805">
                  <c:v>46309</c:v>
                </c:pt>
                <c:pt idx="806">
                  <c:v>46310</c:v>
                </c:pt>
                <c:pt idx="807">
                  <c:v>46311</c:v>
                </c:pt>
                <c:pt idx="808">
                  <c:v>46314</c:v>
                </c:pt>
                <c:pt idx="809">
                  <c:v>46315</c:v>
                </c:pt>
                <c:pt idx="810">
                  <c:v>46316</c:v>
                </c:pt>
                <c:pt idx="811">
                  <c:v>46317</c:v>
                </c:pt>
                <c:pt idx="812">
                  <c:v>46318</c:v>
                </c:pt>
                <c:pt idx="813">
                  <c:v>46321</c:v>
                </c:pt>
                <c:pt idx="814">
                  <c:v>46322</c:v>
                </c:pt>
                <c:pt idx="815">
                  <c:v>46323</c:v>
                </c:pt>
                <c:pt idx="816">
                  <c:v>46324</c:v>
                </c:pt>
                <c:pt idx="817">
                  <c:v>46325</c:v>
                </c:pt>
                <c:pt idx="818">
                  <c:v>46328</c:v>
                </c:pt>
                <c:pt idx="819">
                  <c:v>46329</c:v>
                </c:pt>
                <c:pt idx="820">
                  <c:v>46330</c:v>
                </c:pt>
                <c:pt idx="821">
                  <c:v>46331</c:v>
                </c:pt>
                <c:pt idx="822">
                  <c:v>46332</c:v>
                </c:pt>
                <c:pt idx="823">
                  <c:v>46335</c:v>
                </c:pt>
                <c:pt idx="824">
                  <c:v>46336</c:v>
                </c:pt>
                <c:pt idx="825">
                  <c:v>46337</c:v>
                </c:pt>
                <c:pt idx="826">
                  <c:v>46338</c:v>
                </c:pt>
                <c:pt idx="827">
                  <c:v>46339</c:v>
                </c:pt>
                <c:pt idx="828">
                  <c:v>46342</c:v>
                </c:pt>
                <c:pt idx="829">
                  <c:v>46343</c:v>
                </c:pt>
                <c:pt idx="830">
                  <c:v>46344</c:v>
                </c:pt>
                <c:pt idx="831">
                  <c:v>46345</c:v>
                </c:pt>
                <c:pt idx="832">
                  <c:v>46346</c:v>
                </c:pt>
                <c:pt idx="833">
                  <c:v>46349</c:v>
                </c:pt>
                <c:pt idx="834">
                  <c:v>46350</c:v>
                </c:pt>
                <c:pt idx="835">
                  <c:v>46351</c:v>
                </c:pt>
                <c:pt idx="836">
                  <c:v>46352</c:v>
                </c:pt>
                <c:pt idx="837">
                  <c:v>46353</c:v>
                </c:pt>
                <c:pt idx="838">
                  <c:v>46356</c:v>
                </c:pt>
                <c:pt idx="839">
                  <c:v>46357</c:v>
                </c:pt>
                <c:pt idx="840">
                  <c:v>46358</c:v>
                </c:pt>
                <c:pt idx="841">
                  <c:v>46359</c:v>
                </c:pt>
                <c:pt idx="842">
                  <c:v>46360</c:v>
                </c:pt>
                <c:pt idx="843">
                  <c:v>46363</c:v>
                </c:pt>
                <c:pt idx="844">
                  <c:v>46364</c:v>
                </c:pt>
                <c:pt idx="845">
                  <c:v>46365</c:v>
                </c:pt>
                <c:pt idx="846">
                  <c:v>46366</c:v>
                </c:pt>
                <c:pt idx="847">
                  <c:v>46367</c:v>
                </c:pt>
                <c:pt idx="848">
                  <c:v>46370</c:v>
                </c:pt>
                <c:pt idx="849">
                  <c:v>46371</c:v>
                </c:pt>
                <c:pt idx="850">
                  <c:v>46372</c:v>
                </c:pt>
                <c:pt idx="851">
                  <c:v>46373</c:v>
                </c:pt>
                <c:pt idx="852">
                  <c:v>46374</c:v>
                </c:pt>
                <c:pt idx="853">
                  <c:v>46377</c:v>
                </c:pt>
                <c:pt idx="854">
                  <c:v>46378</c:v>
                </c:pt>
                <c:pt idx="855">
                  <c:v>46379</c:v>
                </c:pt>
                <c:pt idx="856">
                  <c:v>46380</c:v>
                </c:pt>
                <c:pt idx="857">
                  <c:v>46381</c:v>
                </c:pt>
                <c:pt idx="858">
                  <c:v>46384</c:v>
                </c:pt>
                <c:pt idx="859">
                  <c:v>46385</c:v>
                </c:pt>
                <c:pt idx="860">
                  <c:v>46386</c:v>
                </c:pt>
                <c:pt idx="861">
                  <c:v>46387</c:v>
                </c:pt>
                <c:pt idx="862">
                  <c:v>46388</c:v>
                </c:pt>
                <c:pt idx="863">
                  <c:v>46391</c:v>
                </c:pt>
                <c:pt idx="864">
                  <c:v>46392</c:v>
                </c:pt>
                <c:pt idx="865">
                  <c:v>46393</c:v>
                </c:pt>
                <c:pt idx="866">
                  <c:v>46394</c:v>
                </c:pt>
                <c:pt idx="867">
                  <c:v>46395</c:v>
                </c:pt>
                <c:pt idx="868">
                  <c:v>46398</c:v>
                </c:pt>
                <c:pt idx="869">
                  <c:v>46399</c:v>
                </c:pt>
                <c:pt idx="870">
                  <c:v>46400</c:v>
                </c:pt>
                <c:pt idx="871">
                  <c:v>46401</c:v>
                </c:pt>
                <c:pt idx="872">
                  <c:v>46402</c:v>
                </c:pt>
                <c:pt idx="873">
                  <c:v>46405</c:v>
                </c:pt>
                <c:pt idx="874">
                  <c:v>46406</c:v>
                </c:pt>
                <c:pt idx="875">
                  <c:v>46407</c:v>
                </c:pt>
                <c:pt idx="876">
                  <c:v>46408</c:v>
                </c:pt>
                <c:pt idx="877">
                  <c:v>46409</c:v>
                </c:pt>
                <c:pt idx="878">
                  <c:v>46412</c:v>
                </c:pt>
                <c:pt idx="879">
                  <c:v>46413</c:v>
                </c:pt>
                <c:pt idx="880">
                  <c:v>46414</c:v>
                </c:pt>
                <c:pt idx="881">
                  <c:v>46415</c:v>
                </c:pt>
                <c:pt idx="882">
                  <c:v>46416</c:v>
                </c:pt>
                <c:pt idx="883">
                  <c:v>46419</c:v>
                </c:pt>
                <c:pt idx="884">
                  <c:v>46420</c:v>
                </c:pt>
                <c:pt idx="885">
                  <c:v>46421</c:v>
                </c:pt>
                <c:pt idx="886">
                  <c:v>46422</c:v>
                </c:pt>
                <c:pt idx="887">
                  <c:v>46423</c:v>
                </c:pt>
                <c:pt idx="888">
                  <c:v>46426</c:v>
                </c:pt>
                <c:pt idx="889">
                  <c:v>46427</c:v>
                </c:pt>
                <c:pt idx="890">
                  <c:v>46428</c:v>
                </c:pt>
                <c:pt idx="891">
                  <c:v>46429</c:v>
                </c:pt>
                <c:pt idx="892">
                  <c:v>46430</c:v>
                </c:pt>
                <c:pt idx="893">
                  <c:v>46433</c:v>
                </c:pt>
                <c:pt idx="894">
                  <c:v>46434</c:v>
                </c:pt>
                <c:pt idx="895">
                  <c:v>46435</c:v>
                </c:pt>
                <c:pt idx="896">
                  <c:v>46436</c:v>
                </c:pt>
                <c:pt idx="897">
                  <c:v>46437</c:v>
                </c:pt>
                <c:pt idx="898">
                  <c:v>46440</c:v>
                </c:pt>
                <c:pt idx="899">
                  <c:v>46441</c:v>
                </c:pt>
                <c:pt idx="900">
                  <c:v>46442</c:v>
                </c:pt>
                <c:pt idx="901">
                  <c:v>46443</c:v>
                </c:pt>
                <c:pt idx="902">
                  <c:v>46444</c:v>
                </c:pt>
                <c:pt idx="903">
                  <c:v>46447</c:v>
                </c:pt>
                <c:pt idx="904">
                  <c:v>46448</c:v>
                </c:pt>
                <c:pt idx="905">
                  <c:v>46449</c:v>
                </c:pt>
                <c:pt idx="906">
                  <c:v>46450</c:v>
                </c:pt>
                <c:pt idx="907">
                  <c:v>46451</c:v>
                </c:pt>
                <c:pt idx="908">
                  <c:v>46454</c:v>
                </c:pt>
                <c:pt idx="909">
                  <c:v>46455</c:v>
                </c:pt>
                <c:pt idx="910">
                  <c:v>46456</c:v>
                </c:pt>
                <c:pt idx="911">
                  <c:v>46457</c:v>
                </c:pt>
                <c:pt idx="912">
                  <c:v>46458</c:v>
                </c:pt>
                <c:pt idx="913">
                  <c:v>46461</c:v>
                </c:pt>
                <c:pt idx="914">
                  <c:v>46462</c:v>
                </c:pt>
                <c:pt idx="915">
                  <c:v>46463</c:v>
                </c:pt>
                <c:pt idx="916">
                  <c:v>46464</c:v>
                </c:pt>
                <c:pt idx="917">
                  <c:v>46465</c:v>
                </c:pt>
                <c:pt idx="918">
                  <c:v>46468</c:v>
                </c:pt>
                <c:pt idx="919">
                  <c:v>46469</c:v>
                </c:pt>
                <c:pt idx="920">
                  <c:v>46470</c:v>
                </c:pt>
                <c:pt idx="921">
                  <c:v>46471</c:v>
                </c:pt>
                <c:pt idx="922">
                  <c:v>46472</c:v>
                </c:pt>
                <c:pt idx="923">
                  <c:v>46475</c:v>
                </c:pt>
                <c:pt idx="924">
                  <c:v>46476</c:v>
                </c:pt>
                <c:pt idx="925">
                  <c:v>46477</c:v>
                </c:pt>
                <c:pt idx="926">
                  <c:v>46478</c:v>
                </c:pt>
                <c:pt idx="927">
                  <c:v>46479</c:v>
                </c:pt>
                <c:pt idx="928">
                  <c:v>46482</c:v>
                </c:pt>
                <c:pt idx="929">
                  <c:v>46483</c:v>
                </c:pt>
                <c:pt idx="930">
                  <c:v>46484</c:v>
                </c:pt>
                <c:pt idx="931">
                  <c:v>46485</c:v>
                </c:pt>
                <c:pt idx="932">
                  <c:v>46486</c:v>
                </c:pt>
                <c:pt idx="933">
                  <c:v>46489</c:v>
                </c:pt>
                <c:pt idx="934">
                  <c:v>46490</c:v>
                </c:pt>
                <c:pt idx="935">
                  <c:v>46491</c:v>
                </c:pt>
                <c:pt idx="936">
                  <c:v>46492</c:v>
                </c:pt>
                <c:pt idx="937">
                  <c:v>46493</c:v>
                </c:pt>
                <c:pt idx="938">
                  <c:v>46496</c:v>
                </c:pt>
                <c:pt idx="939">
                  <c:v>46497</c:v>
                </c:pt>
                <c:pt idx="940">
                  <c:v>46498</c:v>
                </c:pt>
                <c:pt idx="941">
                  <c:v>46499</c:v>
                </c:pt>
                <c:pt idx="942">
                  <c:v>46500</c:v>
                </c:pt>
                <c:pt idx="943">
                  <c:v>46503</c:v>
                </c:pt>
                <c:pt idx="944">
                  <c:v>46504</c:v>
                </c:pt>
                <c:pt idx="945">
                  <c:v>46505</c:v>
                </c:pt>
                <c:pt idx="946">
                  <c:v>46506</c:v>
                </c:pt>
                <c:pt idx="947">
                  <c:v>46507</c:v>
                </c:pt>
                <c:pt idx="948">
                  <c:v>46510</c:v>
                </c:pt>
                <c:pt idx="949">
                  <c:v>46511</c:v>
                </c:pt>
                <c:pt idx="950">
                  <c:v>46512</c:v>
                </c:pt>
                <c:pt idx="951">
                  <c:v>46513</c:v>
                </c:pt>
                <c:pt idx="952">
                  <c:v>46514</c:v>
                </c:pt>
                <c:pt idx="953">
                  <c:v>46517</c:v>
                </c:pt>
                <c:pt idx="954">
                  <c:v>46518</c:v>
                </c:pt>
                <c:pt idx="955">
                  <c:v>46519</c:v>
                </c:pt>
                <c:pt idx="956">
                  <c:v>46520</c:v>
                </c:pt>
                <c:pt idx="957">
                  <c:v>46521</c:v>
                </c:pt>
                <c:pt idx="958">
                  <c:v>46524</c:v>
                </c:pt>
                <c:pt idx="959">
                  <c:v>46525</c:v>
                </c:pt>
                <c:pt idx="960">
                  <c:v>46526</c:v>
                </c:pt>
                <c:pt idx="961">
                  <c:v>46527</c:v>
                </c:pt>
                <c:pt idx="962">
                  <c:v>46528</c:v>
                </c:pt>
                <c:pt idx="963">
                  <c:v>46531</c:v>
                </c:pt>
                <c:pt idx="964">
                  <c:v>46532</c:v>
                </c:pt>
                <c:pt idx="965">
                  <c:v>46533</c:v>
                </c:pt>
                <c:pt idx="966">
                  <c:v>46534</c:v>
                </c:pt>
                <c:pt idx="967">
                  <c:v>46535</c:v>
                </c:pt>
                <c:pt idx="968">
                  <c:v>46538</c:v>
                </c:pt>
                <c:pt idx="969">
                  <c:v>46539</c:v>
                </c:pt>
                <c:pt idx="970">
                  <c:v>46540</c:v>
                </c:pt>
                <c:pt idx="971">
                  <c:v>46541</c:v>
                </c:pt>
                <c:pt idx="972">
                  <c:v>46542</c:v>
                </c:pt>
                <c:pt idx="973">
                  <c:v>46545</c:v>
                </c:pt>
                <c:pt idx="974">
                  <c:v>46546</c:v>
                </c:pt>
                <c:pt idx="975">
                  <c:v>46547</c:v>
                </c:pt>
                <c:pt idx="976">
                  <c:v>46548</c:v>
                </c:pt>
                <c:pt idx="977">
                  <c:v>46549</c:v>
                </c:pt>
                <c:pt idx="978">
                  <c:v>46552</c:v>
                </c:pt>
                <c:pt idx="979">
                  <c:v>46553</c:v>
                </c:pt>
                <c:pt idx="980">
                  <c:v>46554</c:v>
                </c:pt>
                <c:pt idx="981">
                  <c:v>46555</c:v>
                </c:pt>
                <c:pt idx="982">
                  <c:v>46556</c:v>
                </c:pt>
                <c:pt idx="983">
                  <c:v>46559</c:v>
                </c:pt>
                <c:pt idx="984">
                  <c:v>46560</c:v>
                </c:pt>
                <c:pt idx="985">
                  <c:v>46561</c:v>
                </c:pt>
                <c:pt idx="986">
                  <c:v>46562</c:v>
                </c:pt>
                <c:pt idx="987">
                  <c:v>46563</c:v>
                </c:pt>
                <c:pt idx="988">
                  <c:v>46566</c:v>
                </c:pt>
                <c:pt idx="989">
                  <c:v>46567</c:v>
                </c:pt>
                <c:pt idx="990">
                  <c:v>46568</c:v>
                </c:pt>
                <c:pt idx="991">
                  <c:v>46569</c:v>
                </c:pt>
                <c:pt idx="992">
                  <c:v>46570</c:v>
                </c:pt>
                <c:pt idx="993">
                  <c:v>46573</c:v>
                </c:pt>
                <c:pt idx="994">
                  <c:v>46574</c:v>
                </c:pt>
                <c:pt idx="995">
                  <c:v>46575</c:v>
                </c:pt>
                <c:pt idx="996">
                  <c:v>46576</c:v>
                </c:pt>
                <c:pt idx="997">
                  <c:v>46577</c:v>
                </c:pt>
                <c:pt idx="998">
                  <c:v>46580</c:v>
                </c:pt>
              </c:numCache>
            </c:numRef>
          </c:cat>
          <c:val>
            <c:numRef>
              <c:f>Daily!$F$2:$F$1057</c:f>
            </c:numRef>
          </c:val>
          <c:smooth val="1"/>
          <c:extLst>
            <c:ext xmlns:c16="http://schemas.microsoft.com/office/drawing/2014/chart" uri="{C3380CC4-5D6E-409C-BE32-E72D297353CC}">
              <c16:uniqueId val="{0000000B-094D-4E29-B010-D717A2A1A293}"/>
            </c:ext>
          </c:extLst>
        </c:ser>
        <c:ser>
          <c:idx val="5"/>
          <c:order val="5"/>
          <c:tx>
            <c:strRef>
              <c:f>Daily!$G$1</c:f>
              <c:strCache>
                <c:ptCount val="1"/>
                <c:pt idx="0">
                  <c:v>M+5</c:v>
                </c:pt>
              </c:strCache>
            </c:strRef>
          </c:tx>
          <c:spPr>
            <a:ln w="28575" cap="rnd" cmpd="sng" algn="ctr">
              <a:solidFill>
                <a:schemeClr val="accent6">
                  <a:shade val="95000"/>
                  <a:satMod val="105000"/>
                </a:schemeClr>
              </a:solidFill>
              <a:prstDash val="solid"/>
              <a:round/>
            </a:ln>
            <a:effectLst/>
          </c:spPr>
          <c:marker>
            <c:symbol val="none"/>
          </c:marker>
          <c:cat>
            <c:numRef>
              <c:f>Daily!$A$2:$A$1000</c:f>
              <c:numCache>
                <c:formatCode>d\-mmm\-yy</c:formatCode>
                <c:ptCount val="999"/>
                <c:pt idx="0">
                  <c:v>45128</c:v>
                </c:pt>
                <c:pt idx="1">
                  <c:v>45131</c:v>
                </c:pt>
                <c:pt idx="2">
                  <c:v>45132</c:v>
                </c:pt>
                <c:pt idx="3">
                  <c:v>45133</c:v>
                </c:pt>
                <c:pt idx="4">
                  <c:v>45134</c:v>
                </c:pt>
                <c:pt idx="5">
                  <c:v>45135</c:v>
                </c:pt>
                <c:pt idx="6">
                  <c:v>45138</c:v>
                </c:pt>
                <c:pt idx="7">
                  <c:v>45139</c:v>
                </c:pt>
                <c:pt idx="8">
                  <c:v>45140</c:v>
                </c:pt>
                <c:pt idx="9">
                  <c:v>45141</c:v>
                </c:pt>
                <c:pt idx="10">
                  <c:v>45142</c:v>
                </c:pt>
                <c:pt idx="11">
                  <c:v>45145</c:v>
                </c:pt>
                <c:pt idx="12">
                  <c:v>45146</c:v>
                </c:pt>
                <c:pt idx="13">
                  <c:v>45147</c:v>
                </c:pt>
                <c:pt idx="14">
                  <c:v>45148</c:v>
                </c:pt>
                <c:pt idx="15">
                  <c:v>45149</c:v>
                </c:pt>
                <c:pt idx="16">
                  <c:v>45152</c:v>
                </c:pt>
                <c:pt idx="17">
                  <c:v>45153</c:v>
                </c:pt>
                <c:pt idx="18">
                  <c:v>45154</c:v>
                </c:pt>
                <c:pt idx="19">
                  <c:v>45155</c:v>
                </c:pt>
                <c:pt idx="20">
                  <c:v>45156</c:v>
                </c:pt>
                <c:pt idx="21">
                  <c:v>45159</c:v>
                </c:pt>
                <c:pt idx="22">
                  <c:v>45160</c:v>
                </c:pt>
                <c:pt idx="23">
                  <c:v>45161</c:v>
                </c:pt>
                <c:pt idx="24">
                  <c:v>45162</c:v>
                </c:pt>
                <c:pt idx="25">
                  <c:v>45163</c:v>
                </c:pt>
                <c:pt idx="26">
                  <c:v>45166</c:v>
                </c:pt>
                <c:pt idx="27">
                  <c:v>45167</c:v>
                </c:pt>
                <c:pt idx="28">
                  <c:v>45168</c:v>
                </c:pt>
                <c:pt idx="29">
                  <c:v>45169</c:v>
                </c:pt>
                <c:pt idx="30">
                  <c:v>45170</c:v>
                </c:pt>
                <c:pt idx="31">
                  <c:v>45173</c:v>
                </c:pt>
                <c:pt idx="32">
                  <c:v>45174</c:v>
                </c:pt>
                <c:pt idx="33">
                  <c:v>45175</c:v>
                </c:pt>
                <c:pt idx="34">
                  <c:v>45176</c:v>
                </c:pt>
                <c:pt idx="35">
                  <c:v>45177</c:v>
                </c:pt>
                <c:pt idx="36">
                  <c:v>45180</c:v>
                </c:pt>
                <c:pt idx="37">
                  <c:v>45181</c:v>
                </c:pt>
                <c:pt idx="38">
                  <c:v>45182</c:v>
                </c:pt>
                <c:pt idx="39">
                  <c:v>45183</c:v>
                </c:pt>
                <c:pt idx="40">
                  <c:v>45184</c:v>
                </c:pt>
                <c:pt idx="41">
                  <c:v>45187</c:v>
                </c:pt>
                <c:pt idx="42">
                  <c:v>45188</c:v>
                </c:pt>
                <c:pt idx="43">
                  <c:v>45189</c:v>
                </c:pt>
                <c:pt idx="44">
                  <c:v>45190</c:v>
                </c:pt>
                <c:pt idx="45">
                  <c:v>45191</c:v>
                </c:pt>
                <c:pt idx="46">
                  <c:v>45194</c:v>
                </c:pt>
                <c:pt idx="47">
                  <c:v>45195</c:v>
                </c:pt>
                <c:pt idx="48">
                  <c:v>45196</c:v>
                </c:pt>
                <c:pt idx="49">
                  <c:v>45197</c:v>
                </c:pt>
                <c:pt idx="50">
                  <c:v>45208</c:v>
                </c:pt>
                <c:pt idx="51">
                  <c:v>45209</c:v>
                </c:pt>
                <c:pt idx="52">
                  <c:v>45210</c:v>
                </c:pt>
                <c:pt idx="53">
                  <c:v>45211</c:v>
                </c:pt>
                <c:pt idx="54">
                  <c:v>45212</c:v>
                </c:pt>
                <c:pt idx="55">
                  <c:v>45215</c:v>
                </c:pt>
                <c:pt idx="56">
                  <c:v>45216</c:v>
                </c:pt>
                <c:pt idx="57">
                  <c:v>45217</c:v>
                </c:pt>
                <c:pt idx="58">
                  <c:v>45218</c:v>
                </c:pt>
                <c:pt idx="59">
                  <c:v>45219</c:v>
                </c:pt>
                <c:pt idx="60">
                  <c:v>45222</c:v>
                </c:pt>
                <c:pt idx="61">
                  <c:v>45223</c:v>
                </c:pt>
                <c:pt idx="62">
                  <c:v>45224</c:v>
                </c:pt>
                <c:pt idx="63">
                  <c:v>45225</c:v>
                </c:pt>
                <c:pt idx="64">
                  <c:v>45226</c:v>
                </c:pt>
                <c:pt idx="65">
                  <c:v>45229</c:v>
                </c:pt>
                <c:pt idx="66">
                  <c:v>45230</c:v>
                </c:pt>
                <c:pt idx="67">
                  <c:v>45231</c:v>
                </c:pt>
                <c:pt idx="68">
                  <c:v>45232</c:v>
                </c:pt>
                <c:pt idx="69">
                  <c:v>45233</c:v>
                </c:pt>
                <c:pt idx="70">
                  <c:v>45236</c:v>
                </c:pt>
                <c:pt idx="71">
                  <c:v>45237</c:v>
                </c:pt>
                <c:pt idx="72">
                  <c:v>45238</c:v>
                </c:pt>
                <c:pt idx="73">
                  <c:v>45239</c:v>
                </c:pt>
                <c:pt idx="74">
                  <c:v>45240</c:v>
                </c:pt>
                <c:pt idx="75">
                  <c:v>45243</c:v>
                </c:pt>
                <c:pt idx="76">
                  <c:v>45244</c:v>
                </c:pt>
                <c:pt idx="77">
                  <c:v>45245</c:v>
                </c:pt>
                <c:pt idx="78">
                  <c:v>45246</c:v>
                </c:pt>
                <c:pt idx="79">
                  <c:v>45247</c:v>
                </c:pt>
                <c:pt idx="80">
                  <c:v>45250</c:v>
                </c:pt>
                <c:pt idx="81">
                  <c:v>45251</c:v>
                </c:pt>
                <c:pt idx="82">
                  <c:v>45252</c:v>
                </c:pt>
                <c:pt idx="83">
                  <c:v>45253</c:v>
                </c:pt>
                <c:pt idx="84">
                  <c:v>45254</c:v>
                </c:pt>
                <c:pt idx="85">
                  <c:v>45257</c:v>
                </c:pt>
                <c:pt idx="86">
                  <c:v>45258</c:v>
                </c:pt>
                <c:pt idx="87">
                  <c:v>45259</c:v>
                </c:pt>
                <c:pt idx="88">
                  <c:v>45260</c:v>
                </c:pt>
                <c:pt idx="89">
                  <c:v>45261</c:v>
                </c:pt>
                <c:pt idx="90">
                  <c:v>45264</c:v>
                </c:pt>
                <c:pt idx="91">
                  <c:v>45265</c:v>
                </c:pt>
                <c:pt idx="92">
                  <c:v>45266</c:v>
                </c:pt>
                <c:pt idx="93">
                  <c:v>45267</c:v>
                </c:pt>
                <c:pt idx="94">
                  <c:v>45268</c:v>
                </c:pt>
                <c:pt idx="95">
                  <c:v>45271</c:v>
                </c:pt>
                <c:pt idx="96">
                  <c:v>45272</c:v>
                </c:pt>
                <c:pt idx="97">
                  <c:v>45273</c:v>
                </c:pt>
                <c:pt idx="98">
                  <c:v>45274</c:v>
                </c:pt>
                <c:pt idx="99">
                  <c:v>45275</c:v>
                </c:pt>
                <c:pt idx="100">
                  <c:v>45278</c:v>
                </c:pt>
                <c:pt idx="101">
                  <c:v>45279</c:v>
                </c:pt>
                <c:pt idx="102">
                  <c:v>45280</c:v>
                </c:pt>
                <c:pt idx="103">
                  <c:v>45281</c:v>
                </c:pt>
                <c:pt idx="104">
                  <c:v>45282</c:v>
                </c:pt>
                <c:pt idx="105">
                  <c:v>45285</c:v>
                </c:pt>
                <c:pt idx="106">
                  <c:v>45286</c:v>
                </c:pt>
                <c:pt idx="107">
                  <c:v>45287</c:v>
                </c:pt>
                <c:pt idx="108">
                  <c:v>45288</c:v>
                </c:pt>
                <c:pt idx="109">
                  <c:v>45289</c:v>
                </c:pt>
                <c:pt idx="110">
                  <c:v>45293</c:v>
                </c:pt>
                <c:pt idx="111">
                  <c:v>45294</c:v>
                </c:pt>
                <c:pt idx="112">
                  <c:v>45295</c:v>
                </c:pt>
                <c:pt idx="113">
                  <c:v>45296</c:v>
                </c:pt>
                <c:pt idx="114">
                  <c:v>45299</c:v>
                </c:pt>
                <c:pt idx="115">
                  <c:v>45300</c:v>
                </c:pt>
                <c:pt idx="116">
                  <c:v>45301</c:v>
                </c:pt>
                <c:pt idx="117">
                  <c:v>45302</c:v>
                </c:pt>
                <c:pt idx="118">
                  <c:v>45303</c:v>
                </c:pt>
                <c:pt idx="119">
                  <c:v>45306</c:v>
                </c:pt>
                <c:pt idx="120">
                  <c:v>45307</c:v>
                </c:pt>
                <c:pt idx="121">
                  <c:v>45308</c:v>
                </c:pt>
                <c:pt idx="122">
                  <c:v>45309</c:v>
                </c:pt>
                <c:pt idx="123">
                  <c:v>45310</c:v>
                </c:pt>
                <c:pt idx="124">
                  <c:v>45313</c:v>
                </c:pt>
                <c:pt idx="125">
                  <c:v>45314</c:v>
                </c:pt>
                <c:pt idx="126">
                  <c:v>45315</c:v>
                </c:pt>
                <c:pt idx="127">
                  <c:v>45316</c:v>
                </c:pt>
                <c:pt idx="128">
                  <c:v>45317</c:v>
                </c:pt>
                <c:pt idx="129">
                  <c:v>45320</c:v>
                </c:pt>
                <c:pt idx="130">
                  <c:v>45321</c:v>
                </c:pt>
                <c:pt idx="131">
                  <c:v>45322</c:v>
                </c:pt>
                <c:pt idx="132">
                  <c:v>45323</c:v>
                </c:pt>
                <c:pt idx="133">
                  <c:v>45324</c:v>
                </c:pt>
                <c:pt idx="134">
                  <c:v>45327</c:v>
                </c:pt>
                <c:pt idx="135">
                  <c:v>45328</c:v>
                </c:pt>
                <c:pt idx="136">
                  <c:v>45329</c:v>
                </c:pt>
                <c:pt idx="137">
                  <c:v>45330</c:v>
                </c:pt>
                <c:pt idx="138">
                  <c:v>45341</c:v>
                </c:pt>
                <c:pt idx="139">
                  <c:v>45342</c:v>
                </c:pt>
                <c:pt idx="140">
                  <c:v>45343</c:v>
                </c:pt>
                <c:pt idx="141">
                  <c:v>45344</c:v>
                </c:pt>
                <c:pt idx="142">
                  <c:v>45345</c:v>
                </c:pt>
                <c:pt idx="143">
                  <c:v>45348</c:v>
                </c:pt>
                <c:pt idx="144">
                  <c:v>45349</c:v>
                </c:pt>
                <c:pt idx="145">
                  <c:v>45350</c:v>
                </c:pt>
                <c:pt idx="146">
                  <c:v>45351</c:v>
                </c:pt>
                <c:pt idx="147">
                  <c:v>45352</c:v>
                </c:pt>
                <c:pt idx="148">
                  <c:v>45355</c:v>
                </c:pt>
                <c:pt idx="149">
                  <c:v>45356</c:v>
                </c:pt>
                <c:pt idx="150">
                  <c:v>45357</c:v>
                </c:pt>
                <c:pt idx="151">
                  <c:v>45358</c:v>
                </c:pt>
                <c:pt idx="152">
                  <c:v>45359</c:v>
                </c:pt>
                <c:pt idx="153">
                  <c:v>45362</c:v>
                </c:pt>
                <c:pt idx="154">
                  <c:v>45363</c:v>
                </c:pt>
                <c:pt idx="155">
                  <c:v>45364</c:v>
                </c:pt>
                <c:pt idx="156">
                  <c:v>45365</c:v>
                </c:pt>
                <c:pt idx="157">
                  <c:v>45366</c:v>
                </c:pt>
                <c:pt idx="158">
                  <c:v>45369</c:v>
                </c:pt>
                <c:pt idx="159">
                  <c:v>45370</c:v>
                </c:pt>
                <c:pt idx="160">
                  <c:v>45371</c:v>
                </c:pt>
                <c:pt idx="161">
                  <c:v>45372</c:v>
                </c:pt>
                <c:pt idx="162">
                  <c:v>45373</c:v>
                </c:pt>
                <c:pt idx="163">
                  <c:v>45376</c:v>
                </c:pt>
                <c:pt idx="164">
                  <c:v>45377</c:v>
                </c:pt>
                <c:pt idx="165">
                  <c:v>45378</c:v>
                </c:pt>
                <c:pt idx="166">
                  <c:v>45379</c:v>
                </c:pt>
                <c:pt idx="167">
                  <c:v>45380</c:v>
                </c:pt>
                <c:pt idx="168">
                  <c:v>45383</c:v>
                </c:pt>
                <c:pt idx="169">
                  <c:v>45384</c:v>
                </c:pt>
                <c:pt idx="170">
                  <c:v>45385</c:v>
                </c:pt>
                <c:pt idx="171">
                  <c:v>45390</c:v>
                </c:pt>
                <c:pt idx="172">
                  <c:v>45391</c:v>
                </c:pt>
                <c:pt idx="173">
                  <c:v>45392</c:v>
                </c:pt>
                <c:pt idx="174">
                  <c:v>45393</c:v>
                </c:pt>
                <c:pt idx="175">
                  <c:v>45394</c:v>
                </c:pt>
                <c:pt idx="176">
                  <c:v>45397</c:v>
                </c:pt>
                <c:pt idx="177">
                  <c:v>45398</c:v>
                </c:pt>
                <c:pt idx="178">
                  <c:v>45399</c:v>
                </c:pt>
                <c:pt idx="179">
                  <c:v>45400</c:v>
                </c:pt>
                <c:pt idx="180">
                  <c:v>45401</c:v>
                </c:pt>
                <c:pt idx="181">
                  <c:v>45404</c:v>
                </c:pt>
                <c:pt idx="182">
                  <c:v>45405</c:v>
                </c:pt>
                <c:pt idx="183">
                  <c:v>45406</c:v>
                </c:pt>
                <c:pt idx="184">
                  <c:v>45407</c:v>
                </c:pt>
                <c:pt idx="185">
                  <c:v>45408</c:v>
                </c:pt>
                <c:pt idx="186">
                  <c:v>45411</c:v>
                </c:pt>
                <c:pt idx="187">
                  <c:v>45412</c:v>
                </c:pt>
                <c:pt idx="188">
                  <c:v>45418</c:v>
                </c:pt>
                <c:pt idx="189">
                  <c:v>45419</c:v>
                </c:pt>
                <c:pt idx="190">
                  <c:v>45420</c:v>
                </c:pt>
                <c:pt idx="191">
                  <c:v>45421</c:v>
                </c:pt>
                <c:pt idx="192">
                  <c:v>45422</c:v>
                </c:pt>
                <c:pt idx="193">
                  <c:v>45425</c:v>
                </c:pt>
                <c:pt idx="194">
                  <c:v>45426</c:v>
                </c:pt>
                <c:pt idx="195">
                  <c:v>45427</c:v>
                </c:pt>
                <c:pt idx="196">
                  <c:v>45428</c:v>
                </c:pt>
                <c:pt idx="197">
                  <c:v>45429</c:v>
                </c:pt>
                <c:pt idx="198">
                  <c:v>45432</c:v>
                </c:pt>
                <c:pt idx="199">
                  <c:v>45433</c:v>
                </c:pt>
                <c:pt idx="200">
                  <c:v>45434</c:v>
                </c:pt>
                <c:pt idx="201">
                  <c:v>45435</c:v>
                </c:pt>
                <c:pt idx="202">
                  <c:v>45436</c:v>
                </c:pt>
                <c:pt idx="203">
                  <c:v>45439</c:v>
                </c:pt>
                <c:pt idx="204">
                  <c:v>45440</c:v>
                </c:pt>
                <c:pt idx="205">
                  <c:v>45441</c:v>
                </c:pt>
                <c:pt idx="206">
                  <c:v>45442</c:v>
                </c:pt>
                <c:pt idx="207">
                  <c:v>45443</c:v>
                </c:pt>
                <c:pt idx="208">
                  <c:v>45446</c:v>
                </c:pt>
                <c:pt idx="209">
                  <c:v>45447</c:v>
                </c:pt>
                <c:pt idx="210">
                  <c:v>45448</c:v>
                </c:pt>
                <c:pt idx="211">
                  <c:v>45449</c:v>
                </c:pt>
                <c:pt idx="212">
                  <c:v>45450</c:v>
                </c:pt>
                <c:pt idx="213">
                  <c:v>45454</c:v>
                </c:pt>
                <c:pt idx="214">
                  <c:v>45455</c:v>
                </c:pt>
                <c:pt idx="215">
                  <c:v>45456</c:v>
                </c:pt>
                <c:pt idx="216">
                  <c:v>45457</c:v>
                </c:pt>
                <c:pt idx="217">
                  <c:v>45460</c:v>
                </c:pt>
                <c:pt idx="218">
                  <c:v>45461</c:v>
                </c:pt>
                <c:pt idx="219">
                  <c:v>45462</c:v>
                </c:pt>
                <c:pt idx="220">
                  <c:v>45463</c:v>
                </c:pt>
                <c:pt idx="221">
                  <c:v>45464</c:v>
                </c:pt>
                <c:pt idx="222">
                  <c:v>45467</c:v>
                </c:pt>
                <c:pt idx="223">
                  <c:v>45468</c:v>
                </c:pt>
                <c:pt idx="224">
                  <c:v>45469</c:v>
                </c:pt>
                <c:pt idx="225">
                  <c:v>45470</c:v>
                </c:pt>
                <c:pt idx="226">
                  <c:v>45471</c:v>
                </c:pt>
                <c:pt idx="227">
                  <c:v>45474</c:v>
                </c:pt>
                <c:pt idx="228">
                  <c:v>45475</c:v>
                </c:pt>
                <c:pt idx="229">
                  <c:v>45476</c:v>
                </c:pt>
                <c:pt idx="230">
                  <c:v>45477</c:v>
                </c:pt>
                <c:pt idx="231">
                  <c:v>45478</c:v>
                </c:pt>
                <c:pt idx="232">
                  <c:v>45481</c:v>
                </c:pt>
                <c:pt idx="233">
                  <c:v>45482</c:v>
                </c:pt>
                <c:pt idx="234">
                  <c:v>45483</c:v>
                </c:pt>
                <c:pt idx="235">
                  <c:v>45484</c:v>
                </c:pt>
                <c:pt idx="236">
                  <c:v>45485</c:v>
                </c:pt>
                <c:pt idx="237">
                  <c:v>45488</c:v>
                </c:pt>
                <c:pt idx="238">
                  <c:v>45489</c:v>
                </c:pt>
                <c:pt idx="239">
                  <c:v>45490</c:v>
                </c:pt>
                <c:pt idx="240">
                  <c:v>45491</c:v>
                </c:pt>
                <c:pt idx="241">
                  <c:v>45492</c:v>
                </c:pt>
                <c:pt idx="242">
                  <c:v>45495</c:v>
                </c:pt>
                <c:pt idx="243">
                  <c:v>45496</c:v>
                </c:pt>
                <c:pt idx="244">
                  <c:v>45497</c:v>
                </c:pt>
                <c:pt idx="245">
                  <c:v>45498</c:v>
                </c:pt>
                <c:pt idx="246">
                  <c:v>45499</c:v>
                </c:pt>
                <c:pt idx="247">
                  <c:v>45502</c:v>
                </c:pt>
                <c:pt idx="248">
                  <c:v>45503</c:v>
                </c:pt>
                <c:pt idx="249">
                  <c:v>45504</c:v>
                </c:pt>
                <c:pt idx="250">
                  <c:v>45505</c:v>
                </c:pt>
                <c:pt idx="251">
                  <c:v>45506</c:v>
                </c:pt>
                <c:pt idx="252">
                  <c:v>45509</c:v>
                </c:pt>
                <c:pt idx="253">
                  <c:v>45510</c:v>
                </c:pt>
                <c:pt idx="254">
                  <c:v>45511</c:v>
                </c:pt>
                <c:pt idx="255">
                  <c:v>45512</c:v>
                </c:pt>
                <c:pt idx="256">
                  <c:v>45513</c:v>
                </c:pt>
                <c:pt idx="257">
                  <c:v>45516</c:v>
                </c:pt>
                <c:pt idx="258">
                  <c:v>45517</c:v>
                </c:pt>
                <c:pt idx="259">
                  <c:v>45518</c:v>
                </c:pt>
                <c:pt idx="260">
                  <c:v>45519</c:v>
                </c:pt>
                <c:pt idx="261">
                  <c:v>45520</c:v>
                </c:pt>
                <c:pt idx="262">
                  <c:v>45523</c:v>
                </c:pt>
                <c:pt idx="263">
                  <c:v>45524</c:v>
                </c:pt>
                <c:pt idx="264">
                  <c:v>45525</c:v>
                </c:pt>
                <c:pt idx="265">
                  <c:v>45526</c:v>
                </c:pt>
                <c:pt idx="266">
                  <c:v>45527</c:v>
                </c:pt>
                <c:pt idx="267">
                  <c:v>45530</c:v>
                </c:pt>
                <c:pt idx="268">
                  <c:v>45531</c:v>
                </c:pt>
                <c:pt idx="269">
                  <c:v>45532</c:v>
                </c:pt>
                <c:pt idx="270">
                  <c:v>45533</c:v>
                </c:pt>
                <c:pt idx="271">
                  <c:v>45534</c:v>
                </c:pt>
                <c:pt idx="272">
                  <c:v>45537</c:v>
                </c:pt>
                <c:pt idx="273">
                  <c:v>45538</c:v>
                </c:pt>
                <c:pt idx="274">
                  <c:v>45539</c:v>
                </c:pt>
                <c:pt idx="275">
                  <c:v>45540</c:v>
                </c:pt>
                <c:pt idx="276">
                  <c:v>45541</c:v>
                </c:pt>
                <c:pt idx="277">
                  <c:v>45544</c:v>
                </c:pt>
                <c:pt idx="278">
                  <c:v>45545</c:v>
                </c:pt>
                <c:pt idx="279">
                  <c:v>45546</c:v>
                </c:pt>
                <c:pt idx="280">
                  <c:v>45547</c:v>
                </c:pt>
                <c:pt idx="281">
                  <c:v>45548</c:v>
                </c:pt>
                <c:pt idx="282">
                  <c:v>45553</c:v>
                </c:pt>
                <c:pt idx="283">
                  <c:v>45554</c:v>
                </c:pt>
                <c:pt idx="284">
                  <c:v>45555</c:v>
                </c:pt>
                <c:pt idx="285">
                  <c:v>45558</c:v>
                </c:pt>
                <c:pt idx="286">
                  <c:v>45559</c:v>
                </c:pt>
                <c:pt idx="287">
                  <c:v>45560</c:v>
                </c:pt>
                <c:pt idx="288">
                  <c:v>45561</c:v>
                </c:pt>
                <c:pt idx="289">
                  <c:v>45562</c:v>
                </c:pt>
                <c:pt idx="290">
                  <c:v>45565</c:v>
                </c:pt>
                <c:pt idx="291">
                  <c:v>45573</c:v>
                </c:pt>
                <c:pt idx="292">
                  <c:v>45574</c:v>
                </c:pt>
                <c:pt idx="293">
                  <c:v>45575</c:v>
                </c:pt>
                <c:pt idx="294">
                  <c:v>45576</c:v>
                </c:pt>
                <c:pt idx="295">
                  <c:v>45579</c:v>
                </c:pt>
                <c:pt idx="296">
                  <c:v>45580</c:v>
                </c:pt>
                <c:pt idx="297">
                  <c:v>45581</c:v>
                </c:pt>
                <c:pt idx="298">
                  <c:v>45582</c:v>
                </c:pt>
                <c:pt idx="299">
                  <c:v>45583</c:v>
                </c:pt>
                <c:pt idx="300">
                  <c:v>45586</c:v>
                </c:pt>
                <c:pt idx="301">
                  <c:v>45587</c:v>
                </c:pt>
                <c:pt idx="302">
                  <c:v>45588</c:v>
                </c:pt>
                <c:pt idx="303">
                  <c:v>45589</c:v>
                </c:pt>
                <c:pt idx="304">
                  <c:v>45590</c:v>
                </c:pt>
                <c:pt idx="305">
                  <c:v>45593</c:v>
                </c:pt>
                <c:pt idx="306">
                  <c:v>45594</c:v>
                </c:pt>
                <c:pt idx="307">
                  <c:v>45595</c:v>
                </c:pt>
                <c:pt idx="308">
                  <c:v>45596</c:v>
                </c:pt>
                <c:pt idx="309">
                  <c:v>45597</c:v>
                </c:pt>
                <c:pt idx="310">
                  <c:v>45600</c:v>
                </c:pt>
                <c:pt idx="311">
                  <c:v>45601</c:v>
                </c:pt>
                <c:pt idx="312">
                  <c:v>45602</c:v>
                </c:pt>
                <c:pt idx="313">
                  <c:v>45603</c:v>
                </c:pt>
                <c:pt idx="314">
                  <c:v>45604</c:v>
                </c:pt>
                <c:pt idx="315">
                  <c:v>45607</c:v>
                </c:pt>
                <c:pt idx="316">
                  <c:v>45608</c:v>
                </c:pt>
                <c:pt idx="317">
                  <c:v>45609</c:v>
                </c:pt>
                <c:pt idx="318">
                  <c:v>45610</c:v>
                </c:pt>
                <c:pt idx="319">
                  <c:v>45611</c:v>
                </c:pt>
                <c:pt idx="320">
                  <c:v>45614</c:v>
                </c:pt>
                <c:pt idx="321">
                  <c:v>45615</c:v>
                </c:pt>
                <c:pt idx="322">
                  <c:v>45616</c:v>
                </c:pt>
                <c:pt idx="323">
                  <c:v>45617</c:v>
                </c:pt>
                <c:pt idx="324">
                  <c:v>45618</c:v>
                </c:pt>
                <c:pt idx="325">
                  <c:v>45621</c:v>
                </c:pt>
                <c:pt idx="326">
                  <c:v>45622</c:v>
                </c:pt>
                <c:pt idx="327">
                  <c:v>45623</c:v>
                </c:pt>
                <c:pt idx="328">
                  <c:v>45624</c:v>
                </c:pt>
                <c:pt idx="329">
                  <c:v>45625</c:v>
                </c:pt>
                <c:pt idx="330">
                  <c:v>45628</c:v>
                </c:pt>
                <c:pt idx="331">
                  <c:v>45629</c:v>
                </c:pt>
                <c:pt idx="332">
                  <c:v>45630</c:v>
                </c:pt>
                <c:pt idx="333">
                  <c:v>45631</c:v>
                </c:pt>
                <c:pt idx="334">
                  <c:v>45632</c:v>
                </c:pt>
                <c:pt idx="335">
                  <c:v>45635</c:v>
                </c:pt>
                <c:pt idx="336">
                  <c:v>45636</c:v>
                </c:pt>
                <c:pt idx="337">
                  <c:v>45637</c:v>
                </c:pt>
                <c:pt idx="338">
                  <c:v>45638</c:v>
                </c:pt>
                <c:pt idx="339">
                  <c:v>45639</c:v>
                </c:pt>
                <c:pt idx="340">
                  <c:v>45642</c:v>
                </c:pt>
                <c:pt idx="341">
                  <c:v>45643</c:v>
                </c:pt>
                <c:pt idx="342">
                  <c:v>45644</c:v>
                </c:pt>
                <c:pt idx="343">
                  <c:v>45645</c:v>
                </c:pt>
                <c:pt idx="344">
                  <c:v>45646</c:v>
                </c:pt>
                <c:pt idx="345">
                  <c:v>45649</c:v>
                </c:pt>
                <c:pt idx="346">
                  <c:v>45650</c:v>
                </c:pt>
                <c:pt idx="347">
                  <c:v>45651</c:v>
                </c:pt>
                <c:pt idx="348">
                  <c:v>45652</c:v>
                </c:pt>
                <c:pt idx="349">
                  <c:v>45653</c:v>
                </c:pt>
                <c:pt idx="350">
                  <c:v>45656</c:v>
                </c:pt>
                <c:pt idx="351">
                  <c:v>45657</c:v>
                </c:pt>
                <c:pt idx="352">
                  <c:v>45659</c:v>
                </c:pt>
                <c:pt idx="353">
                  <c:v>45660</c:v>
                </c:pt>
                <c:pt idx="354">
                  <c:v>45663</c:v>
                </c:pt>
                <c:pt idx="355">
                  <c:v>45664</c:v>
                </c:pt>
                <c:pt idx="356">
                  <c:v>45665</c:v>
                </c:pt>
                <c:pt idx="357">
                  <c:v>45666</c:v>
                </c:pt>
                <c:pt idx="358">
                  <c:v>45667</c:v>
                </c:pt>
                <c:pt idx="359">
                  <c:v>45670</c:v>
                </c:pt>
                <c:pt idx="360">
                  <c:v>45671</c:v>
                </c:pt>
                <c:pt idx="361">
                  <c:v>45672</c:v>
                </c:pt>
                <c:pt idx="362">
                  <c:v>45673</c:v>
                </c:pt>
                <c:pt idx="363">
                  <c:v>45674</c:v>
                </c:pt>
                <c:pt idx="364">
                  <c:v>45677</c:v>
                </c:pt>
                <c:pt idx="365">
                  <c:v>45678</c:v>
                </c:pt>
                <c:pt idx="366">
                  <c:v>45679</c:v>
                </c:pt>
                <c:pt idx="367">
                  <c:v>45680</c:v>
                </c:pt>
                <c:pt idx="368">
                  <c:v>45681</c:v>
                </c:pt>
                <c:pt idx="369">
                  <c:v>45684</c:v>
                </c:pt>
                <c:pt idx="370">
                  <c:v>45693</c:v>
                </c:pt>
                <c:pt idx="371">
                  <c:v>45694</c:v>
                </c:pt>
                <c:pt idx="372">
                  <c:v>45695</c:v>
                </c:pt>
                <c:pt idx="373">
                  <c:v>45698</c:v>
                </c:pt>
                <c:pt idx="374">
                  <c:v>45699</c:v>
                </c:pt>
                <c:pt idx="375">
                  <c:v>45700</c:v>
                </c:pt>
                <c:pt idx="376">
                  <c:v>45701</c:v>
                </c:pt>
                <c:pt idx="377">
                  <c:v>45702</c:v>
                </c:pt>
                <c:pt idx="378">
                  <c:v>45705</c:v>
                </c:pt>
                <c:pt idx="379">
                  <c:v>45706</c:v>
                </c:pt>
                <c:pt idx="380">
                  <c:v>45707</c:v>
                </c:pt>
                <c:pt idx="381">
                  <c:v>45708</c:v>
                </c:pt>
                <c:pt idx="382">
                  <c:v>45709</c:v>
                </c:pt>
                <c:pt idx="383">
                  <c:v>45712</c:v>
                </c:pt>
                <c:pt idx="384">
                  <c:v>45713</c:v>
                </c:pt>
                <c:pt idx="385">
                  <c:v>45714</c:v>
                </c:pt>
                <c:pt idx="386">
                  <c:v>45715</c:v>
                </c:pt>
                <c:pt idx="387">
                  <c:v>45716</c:v>
                </c:pt>
                <c:pt idx="388">
                  <c:v>45719</c:v>
                </c:pt>
                <c:pt idx="389">
                  <c:v>45720</c:v>
                </c:pt>
                <c:pt idx="390">
                  <c:v>45721</c:v>
                </c:pt>
                <c:pt idx="391">
                  <c:v>45722</c:v>
                </c:pt>
                <c:pt idx="392">
                  <c:v>45723</c:v>
                </c:pt>
                <c:pt idx="393">
                  <c:v>45726</c:v>
                </c:pt>
                <c:pt idx="394">
                  <c:v>45727</c:v>
                </c:pt>
                <c:pt idx="395">
                  <c:v>45728</c:v>
                </c:pt>
                <c:pt idx="396">
                  <c:v>45729</c:v>
                </c:pt>
                <c:pt idx="397">
                  <c:v>45730</c:v>
                </c:pt>
                <c:pt idx="398">
                  <c:v>45733</c:v>
                </c:pt>
                <c:pt idx="399">
                  <c:v>45734</c:v>
                </c:pt>
                <c:pt idx="400">
                  <c:v>45735</c:v>
                </c:pt>
                <c:pt idx="401">
                  <c:v>45736</c:v>
                </c:pt>
                <c:pt idx="402">
                  <c:v>45737</c:v>
                </c:pt>
                <c:pt idx="403">
                  <c:v>45740</c:v>
                </c:pt>
                <c:pt idx="404">
                  <c:v>45741</c:v>
                </c:pt>
                <c:pt idx="405">
                  <c:v>45742</c:v>
                </c:pt>
                <c:pt idx="406">
                  <c:v>45743</c:v>
                </c:pt>
                <c:pt idx="407">
                  <c:v>45744</c:v>
                </c:pt>
                <c:pt idx="408">
                  <c:v>45747</c:v>
                </c:pt>
                <c:pt idx="409">
                  <c:v>45748</c:v>
                </c:pt>
                <c:pt idx="410">
                  <c:v>45749</c:v>
                </c:pt>
                <c:pt idx="411">
                  <c:v>45750</c:v>
                </c:pt>
                <c:pt idx="412">
                  <c:v>45754</c:v>
                </c:pt>
                <c:pt idx="413">
                  <c:v>45755</c:v>
                </c:pt>
                <c:pt idx="414">
                  <c:v>45756</c:v>
                </c:pt>
                <c:pt idx="415">
                  <c:v>45757</c:v>
                </c:pt>
                <c:pt idx="416">
                  <c:v>45758</c:v>
                </c:pt>
                <c:pt idx="417">
                  <c:v>45761</c:v>
                </c:pt>
                <c:pt idx="418">
                  <c:v>45762</c:v>
                </c:pt>
                <c:pt idx="419">
                  <c:v>45763</c:v>
                </c:pt>
                <c:pt idx="420">
                  <c:v>45764</c:v>
                </c:pt>
                <c:pt idx="421">
                  <c:v>45765</c:v>
                </c:pt>
                <c:pt idx="422">
                  <c:v>45768</c:v>
                </c:pt>
                <c:pt idx="423">
                  <c:v>45769</c:v>
                </c:pt>
                <c:pt idx="424">
                  <c:v>45770</c:v>
                </c:pt>
                <c:pt idx="425">
                  <c:v>45771</c:v>
                </c:pt>
                <c:pt idx="426">
                  <c:v>45772</c:v>
                </c:pt>
                <c:pt idx="427">
                  <c:v>45775</c:v>
                </c:pt>
                <c:pt idx="428">
                  <c:v>45776</c:v>
                </c:pt>
                <c:pt idx="429">
                  <c:v>45777</c:v>
                </c:pt>
                <c:pt idx="430">
                  <c:v>45783</c:v>
                </c:pt>
                <c:pt idx="431">
                  <c:v>45784</c:v>
                </c:pt>
                <c:pt idx="432">
                  <c:v>45785</c:v>
                </c:pt>
                <c:pt idx="433">
                  <c:v>45786</c:v>
                </c:pt>
                <c:pt idx="434">
                  <c:v>45789</c:v>
                </c:pt>
                <c:pt idx="435">
                  <c:v>45790</c:v>
                </c:pt>
                <c:pt idx="436">
                  <c:v>45791</c:v>
                </c:pt>
                <c:pt idx="437">
                  <c:v>45792</c:v>
                </c:pt>
                <c:pt idx="438">
                  <c:v>45793</c:v>
                </c:pt>
                <c:pt idx="439">
                  <c:v>45796</c:v>
                </c:pt>
                <c:pt idx="440">
                  <c:v>45797</c:v>
                </c:pt>
                <c:pt idx="441">
                  <c:v>45798</c:v>
                </c:pt>
                <c:pt idx="442">
                  <c:v>45799</c:v>
                </c:pt>
                <c:pt idx="443">
                  <c:v>45800</c:v>
                </c:pt>
                <c:pt idx="444">
                  <c:v>45803</c:v>
                </c:pt>
                <c:pt idx="445">
                  <c:v>45804</c:v>
                </c:pt>
                <c:pt idx="446">
                  <c:v>45805</c:v>
                </c:pt>
                <c:pt idx="447">
                  <c:v>45806</c:v>
                </c:pt>
                <c:pt idx="448">
                  <c:v>45807</c:v>
                </c:pt>
                <c:pt idx="449">
                  <c:v>45811</c:v>
                </c:pt>
                <c:pt idx="450">
                  <c:v>45812</c:v>
                </c:pt>
                <c:pt idx="451">
                  <c:v>45813</c:v>
                </c:pt>
                <c:pt idx="452">
                  <c:v>45814</c:v>
                </c:pt>
                <c:pt idx="453">
                  <c:v>45817</c:v>
                </c:pt>
                <c:pt idx="454">
                  <c:v>45818</c:v>
                </c:pt>
                <c:pt idx="455">
                  <c:v>45819</c:v>
                </c:pt>
                <c:pt idx="456">
                  <c:v>45820</c:v>
                </c:pt>
                <c:pt idx="457">
                  <c:v>45821</c:v>
                </c:pt>
                <c:pt idx="458">
                  <c:v>45824</c:v>
                </c:pt>
                <c:pt idx="459">
                  <c:v>45825</c:v>
                </c:pt>
                <c:pt idx="460">
                  <c:v>45826</c:v>
                </c:pt>
                <c:pt idx="461">
                  <c:v>45827</c:v>
                </c:pt>
                <c:pt idx="462">
                  <c:v>45828</c:v>
                </c:pt>
                <c:pt idx="463">
                  <c:v>45831</c:v>
                </c:pt>
                <c:pt idx="464">
                  <c:v>45832</c:v>
                </c:pt>
                <c:pt idx="465">
                  <c:v>45833</c:v>
                </c:pt>
                <c:pt idx="466">
                  <c:v>45834</c:v>
                </c:pt>
                <c:pt idx="467">
                  <c:v>45835</c:v>
                </c:pt>
                <c:pt idx="468">
                  <c:v>45838</c:v>
                </c:pt>
                <c:pt idx="469">
                  <c:v>45839</c:v>
                </c:pt>
                <c:pt idx="470">
                  <c:v>45840</c:v>
                </c:pt>
                <c:pt idx="471">
                  <c:v>45841</c:v>
                </c:pt>
                <c:pt idx="472">
                  <c:v>45842</c:v>
                </c:pt>
                <c:pt idx="473">
                  <c:v>45845</c:v>
                </c:pt>
                <c:pt idx="474">
                  <c:v>45846</c:v>
                </c:pt>
                <c:pt idx="475">
                  <c:v>45847</c:v>
                </c:pt>
                <c:pt idx="476">
                  <c:v>45848</c:v>
                </c:pt>
                <c:pt idx="477">
                  <c:v>45849</c:v>
                </c:pt>
                <c:pt idx="478">
                  <c:v>45852</c:v>
                </c:pt>
                <c:pt idx="479">
                  <c:v>45853</c:v>
                </c:pt>
                <c:pt idx="480">
                  <c:v>45854</c:v>
                </c:pt>
                <c:pt idx="481">
                  <c:v>45855</c:v>
                </c:pt>
                <c:pt idx="482">
                  <c:v>45856</c:v>
                </c:pt>
                <c:pt idx="483">
                  <c:v>45859</c:v>
                </c:pt>
                <c:pt idx="484">
                  <c:v>45860</c:v>
                </c:pt>
                <c:pt idx="485">
                  <c:v>45861</c:v>
                </c:pt>
                <c:pt idx="486">
                  <c:v>45862</c:v>
                </c:pt>
                <c:pt idx="487">
                  <c:v>45863</c:v>
                </c:pt>
                <c:pt idx="488">
                  <c:v>45866</c:v>
                </c:pt>
                <c:pt idx="489">
                  <c:v>45867</c:v>
                </c:pt>
                <c:pt idx="490">
                  <c:v>45868</c:v>
                </c:pt>
                <c:pt idx="491">
                  <c:v>45869</c:v>
                </c:pt>
                <c:pt idx="492">
                  <c:v>45870</c:v>
                </c:pt>
                <c:pt idx="493">
                  <c:v>45873</c:v>
                </c:pt>
                <c:pt idx="494">
                  <c:v>45874</c:v>
                </c:pt>
                <c:pt idx="495">
                  <c:v>45875</c:v>
                </c:pt>
                <c:pt idx="496">
                  <c:v>45876</c:v>
                </c:pt>
                <c:pt idx="497">
                  <c:v>45877</c:v>
                </c:pt>
                <c:pt idx="498">
                  <c:v>45880</c:v>
                </c:pt>
                <c:pt idx="499">
                  <c:v>45881</c:v>
                </c:pt>
                <c:pt idx="500">
                  <c:v>45882</c:v>
                </c:pt>
                <c:pt idx="501">
                  <c:v>45883</c:v>
                </c:pt>
                <c:pt idx="502">
                  <c:v>45884</c:v>
                </c:pt>
                <c:pt idx="503">
                  <c:v>45887</c:v>
                </c:pt>
                <c:pt idx="504">
                  <c:v>45888</c:v>
                </c:pt>
                <c:pt idx="505">
                  <c:v>45889</c:v>
                </c:pt>
                <c:pt idx="506">
                  <c:v>45890</c:v>
                </c:pt>
                <c:pt idx="507">
                  <c:v>45891</c:v>
                </c:pt>
                <c:pt idx="508">
                  <c:v>45894</c:v>
                </c:pt>
                <c:pt idx="509">
                  <c:v>45895</c:v>
                </c:pt>
                <c:pt idx="510">
                  <c:v>45896</c:v>
                </c:pt>
                <c:pt idx="511">
                  <c:v>45897</c:v>
                </c:pt>
                <c:pt idx="512">
                  <c:v>45898</c:v>
                </c:pt>
                <c:pt idx="513">
                  <c:v>45901</c:v>
                </c:pt>
                <c:pt idx="514">
                  <c:v>45902</c:v>
                </c:pt>
                <c:pt idx="515">
                  <c:v>45903</c:v>
                </c:pt>
                <c:pt idx="516">
                  <c:v>45904</c:v>
                </c:pt>
                <c:pt idx="517">
                  <c:v>45905</c:v>
                </c:pt>
                <c:pt idx="518">
                  <c:v>45908</c:v>
                </c:pt>
                <c:pt idx="519">
                  <c:v>45909</c:v>
                </c:pt>
                <c:pt idx="520">
                  <c:v>45910</c:v>
                </c:pt>
                <c:pt idx="521">
                  <c:v>45911</c:v>
                </c:pt>
                <c:pt idx="522">
                  <c:v>45912</c:v>
                </c:pt>
                <c:pt idx="523">
                  <c:v>45915</c:v>
                </c:pt>
                <c:pt idx="524">
                  <c:v>45916</c:v>
                </c:pt>
                <c:pt idx="525">
                  <c:v>45917</c:v>
                </c:pt>
                <c:pt idx="526">
                  <c:v>45918</c:v>
                </c:pt>
                <c:pt idx="527">
                  <c:v>45919</c:v>
                </c:pt>
                <c:pt idx="528">
                  <c:v>45922</c:v>
                </c:pt>
                <c:pt idx="529">
                  <c:v>45923</c:v>
                </c:pt>
                <c:pt idx="530">
                  <c:v>45924</c:v>
                </c:pt>
                <c:pt idx="531">
                  <c:v>45925</c:v>
                </c:pt>
                <c:pt idx="532">
                  <c:v>45926</c:v>
                </c:pt>
                <c:pt idx="533">
                  <c:v>45929</c:v>
                </c:pt>
                <c:pt idx="534">
                  <c:v>45930</c:v>
                </c:pt>
                <c:pt idx="535">
                  <c:v>45931</c:v>
                </c:pt>
                <c:pt idx="536">
                  <c:v>45932</c:v>
                </c:pt>
                <c:pt idx="537">
                  <c:v>45933</c:v>
                </c:pt>
                <c:pt idx="538">
                  <c:v>45936</c:v>
                </c:pt>
                <c:pt idx="539">
                  <c:v>45937</c:v>
                </c:pt>
                <c:pt idx="540">
                  <c:v>45938</c:v>
                </c:pt>
                <c:pt idx="541">
                  <c:v>45939</c:v>
                </c:pt>
                <c:pt idx="542">
                  <c:v>45940</c:v>
                </c:pt>
                <c:pt idx="543">
                  <c:v>45943</c:v>
                </c:pt>
                <c:pt idx="544">
                  <c:v>45944</c:v>
                </c:pt>
                <c:pt idx="545">
                  <c:v>45945</c:v>
                </c:pt>
                <c:pt idx="546">
                  <c:v>45946</c:v>
                </c:pt>
                <c:pt idx="547">
                  <c:v>45947</c:v>
                </c:pt>
                <c:pt idx="548">
                  <c:v>45950</c:v>
                </c:pt>
                <c:pt idx="549">
                  <c:v>45951</c:v>
                </c:pt>
                <c:pt idx="550">
                  <c:v>45952</c:v>
                </c:pt>
                <c:pt idx="551">
                  <c:v>45953</c:v>
                </c:pt>
                <c:pt idx="552">
                  <c:v>45954</c:v>
                </c:pt>
                <c:pt idx="553">
                  <c:v>45957</c:v>
                </c:pt>
                <c:pt idx="554">
                  <c:v>45958</c:v>
                </c:pt>
                <c:pt idx="555">
                  <c:v>45959</c:v>
                </c:pt>
                <c:pt idx="556">
                  <c:v>45960</c:v>
                </c:pt>
                <c:pt idx="557">
                  <c:v>45961</c:v>
                </c:pt>
                <c:pt idx="558">
                  <c:v>45964</c:v>
                </c:pt>
                <c:pt idx="559">
                  <c:v>45965</c:v>
                </c:pt>
                <c:pt idx="560">
                  <c:v>45966</c:v>
                </c:pt>
                <c:pt idx="561">
                  <c:v>45967</c:v>
                </c:pt>
                <c:pt idx="562">
                  <c:v>45968</c:v>
                </c:pt>
                <c:pt idx="563">
                  <c:v>45971</c:v>
                </c:pt>
                <c:pt idx="564">
                  <c:v>45972</c:v>
                </c:pt>
                <c:pt idx="565">
                  <c:v>45973</c:v>
                </c:pt>
                <c:pt idx="566">
                  <c:v>45974</c:v>
                </c:pt>
                <c:pt idx="567">
                  <c:v>45975</c:v>
                </c:pt>
                <c:pt idx="568">
                  <c:v>45978</c:v>
                </c:pt>
                <c:pt idx="569">
                  <c:v>45979</c:v>
                </c:pt>
                <c:pt idx="570">
                  <c:v>45980</c:v>
                </c:pt>
                <c:pt idx="571">
                  <c:v>45981</c:v>
                </c:pt>
                <c:pt idx="572">
                  <c:v>45982</c:v>
                </c:pt>
                <c:pt idx="573">
                  <c:v>45985</c:v>
                </c:pt>
                <c:pt idx="574">
                  <c:v>45986</c:v>
                </c:pt>
                <c:pt idx="575">
                  <c:v>45987</c:v>
                </c:pt>
                <c:pt idx="576">
                  <c:v>45988</c:v>
                </c:pt>
                <c:pt idx="577">
                  <c:v>45989</c:v>
                </c:pt>
                <c:pt idx="578">
                  <c:v>45992</c:v>
                </c:pt>
                <c:pt idx="579">
                  <c:v>45993</c:v>
                </c:pt>
                <c:pt idx="580">
                  <c:v>45994</c:v>
                </c:pt>
                <c:pt idx="581">
                  <c:v>45995</c:v>
                </c:pt>
                <c:pt idx="582">
                  <c:v>45996</c:v>
                </c:pt>
                <c:pt idx="583">
                  <c:v>45999</c:v>
                </c:pt>
                <c:pt idx="584">
                  <c:v>46000</c:v>
                </c:pt>
                <c:pt idx="585">
                  <c:v>46001</c:v>
                </c:pt>
                <c:pt idx="586">
                  <c:v>46002</c:v>
                </c:pt>
                <c:pt idx="587">
                  <c:v>46003</c:v>
                </c:pt>
                <c:pt idx="588">
                  <c:v>46006</c:v>
                </c:pt>
                <c:pt idx="589">
                  <c:v>46007</c:v>
                </c:pt>
                <c:pt idx="590">
                  <c:v>46008</c:v>
                </c:pt>
                <c:pt idx="591">
                  <c:v>46009</c:v>
                </c:pt>
                <c:pt idx="592">
                  <c:v>46010</c:v>
                </c:pt>
                <c:pt idx="593">
                  <c:v>46013</c:v>
                </c:pt>
                <c:pt idx="594">
                  <c:v>46014</c:v>
                </c:pt>
                <c:pt idx="595">
                  <c:v>46015</c:v>
                </c:pt>
                <c:pt idx="596">
                  <c:v>46016</c:v>
                </c:pt>
                <c:pt idx="597">
                  <c:v>46017</c:v>
                </c:pt>
                <c:pt idx="598">
                  <c:v>46020</c:v>
                </c:pt>
                <c:pt idx="599">
                  <c:v>46021</c:v>
                </c:pt>
                <c:pt idx="600">
                  <c:v>46022</c:v>
                </c:pt>
                <c:pt idx="601">
                  <c:v>46023</c:v>
                </c:pt>
                <c:pt idx="602">
                  <c:v>46024</c:v>
                </c:pt>
                <c:pt idx="603">
                  <c:v>46027</c:v>
                </c:pt>
                <c:pt idx="604">
                  <c:v>46028</c:v>
                </c:pt>
                <c:pt idx="605">
                  <c:v>46029</c:v>
                </c:pt>
                <c:pt idx="606">
                  <c:v>46030</c:v>
                </c:pt>
                <c:pt idx="607">
                  <c:v>46031</c:v>
                </c:pt>
                <c:pt idx="608">
                  <c:v>46034</c:v>
                </c:pt>
                <c:pt idx="609">
                  <c:v>46035</c:v>
                </c:pt>
                <c:pt idx="610">
                  <c:v>46036</c:v>
                </c:pt>
                <c:pt idx="611">
                  <c:v>46037</c:v>
                </c:pt>
                <c:pt idx="612">
                  <c:v>46038</c:v>
                </c:pt>
                <c:pt idx="613">
                  <c:v>46041</c:v>
                </c:pt>
                <c:pt idx="614">
                  <c:v>46042</c:v>
                </c:pt>
                <c:pt idx="615">
                  <c:v>46043</c:v>
                </c:pt>
                <c:pt idx="616">
                  <c:v>46044</c:v>
                </c:pt>
                <c:pt idx="617">
                  <c:v>46045</c:v>
                </c:pt>
                <c:pt idx="618">
                  <c:v>46048</c:v>
                </c:pt>
                <c:pt idx="619">
                  <c:v>46049</c:v>
                </c:pt>
                <c:pt idx="620">
                  <c:v>46050</c:v>
                </c:pt>
                <c:pt idx="621">
                  <c:v>46051</c:v>
                </c:pt>
                <c:pt idx="622">
                  <c:v>46052</c:v>
                </c:pt>
                <c:pt idx="623">
                  <c:v>46055</c:v>
                </c:pt>
                <c:pt idx="624">
                  <c:v>46056</c:v>
                </c:pt>
                <c:pt idx="625">
                  <c:v>46057</c:v>
                </c:pt>
                <c:pt idx="626">
                  <c:v>46058</c:v>
                </c:pt>
                <c:pt idx="627">
                  <c:v>46059</c:v>
                </c:pt>
                <c:pt idx="628">
                  <c:v>46062</c:v>
                </c:pt>
                <c:pt idx="629">
                  <c:v>46063</c:v>
                </c:pt>
                <c:pt idx="630">
                  <c:v>46064</c:v>
                </c:pt>
                <c:pt idx="631">
                  <c:v>46065</c:v>
                </c:pt>
                <c:pt idx="632">
                  <c:v>46066</c:v>
                </c:pt>
                <c:pt idx="633">
                  <c:v>46069</c:v>
                </c:pt>
                <c:pt idx="634">
                  <c:v>46070</c:v>
                </c:pt>
                <c:pt idx="635">
                  <c:v>46071</c:v>
                </c:pt>
                <c:pt idx="636">
                  <c:v>46072</c:v>
                </c:pt>
                <c:pt idx="637">
                  <c:v>46073</c:v>
                </c:pt>
                <c:pt idx="638">
                  <c:v>46076</c:v>
                </c:pt>
                <c:pt idx="639">
                  <c:v>46077</c:v>
                </c:pt>
                <c:pt idx="640">
                  <c:v>46078</c:v>
                </c:pt>
                <c:pt idx="641">
                  <c:v>46079</c:v>
                </c:pt>
                <c:pt idx="642">
                  <c:v>46080</c:v>
                </c:pt>
                <c:pt idx="643">
                  <c:v>46083</c:v>
                </c:pt>
                <c:pt idx="644">
                  <c:v>46084</c:v>
                </c:pt>
                <c:pt idx="645">
                  <c:v>46085</c:v>
                </c:pt>
                <c:pt idx="646">
                  <c:v>46086</c:v>
                </c:pt>
                <c:pt idx="647">
                  <c:v>46087</c:v>
                </c:pt>
                <c:pt idx="648">
                  <c:v>46090</c:v>
                </c:pt>
                <c:pt idx="649">
                  <c:v>46091</c:v>
                </c:pt>
                <c:pt idx="650">
                  <c:v>46092</c:v>
                </c:pt>
                <c:pt idx="651">
                  <c:v>46093</c:v>
                </c:pt>
                <c:pt idx="652">
                  <c:v>46094</c:v>
                </c:pt>
                <c:pt idx="653">
                  <c:v>46097</c:v>
                </c:pt>
                <c:pt idx="654">
                  <c:v>46098</c:v>
                </c:pt>
                <c:pt idx="655">
                  <c:v>46099</c:v>
                </c:pt>
                <c:pt idx="656">
                  <c:v>46100</c:v>
                </c:pt>
                <c:pt idx="657">
                  <c:v>46101</c:v>
                </c:pt>
                <c:pt idx="658">
                  <c:v>46104</c:v>
                </c:pt>
                <c:pt idx="659">
                  <c:v>46105</c:v>
                </c:pt>
                <c:pt idx="660">
                  <c:v>46106</c:v>
                </c:pt>
                <c:pt idx="661">
                  <c:v>46107</c:v>
                </c:pt>
                <c:pt idx="662">
                  <c:v>46108</c:v>
                </c:pt>
                <c:pt idx="663">
                  <c:v>46111</c:v>
                </c:pt>
                <c:pt idx="664">
                  <c:v>46112</c:v>
                </c:pt>
                <c:pt idx="665">
                  <c:v>46113</c:v>
                </c:pt>
                <c:pt idx="666">
                  <c:v>46114</c:v>
                </c:pt>
                <c:pt idx="667">
                  <c:v>46115</c:v>
                </c:pt>
                <c:pt idx="668">
                  <c:v>46118</c:v>
                </c:pt>
                <c:pt idx="669">
                  <c:v>46119</c:v>
                </c:pt>
                <c:pt idx="670">
                  <c:v>46120</c:v>
                </c:pt>
                <c:pt idx="671">
                  <c:v>46121</c:v>
                </c:pt>
                <c:pt idx="672">
                  <c:v>46122</c:v>
                </c:pt>
                <c:pt idx="673">
                  <c:v>46125</c:v>
                </c:pt>
                <c:pt idx="674">
                  <c:v>46126</c:v>
                </c:pt>
                <c:pt idx="675">
                  <c:v>46127</c:v>
                </c:pt>
                <c:pt idx="676">
                  <c:v>46128</c:v>
                </c:pt>
                <c:pt idx="677">
                  <c:v>46129</c:v>
                </c:pt>
                <c:pt idx="678">
                  <c:v>46132</c:v>
                </c:pt>
                <c:pt idx="679">
                  <c:v>46133</c:v>
                </c:pt>
                <c:pt idx="680">
                  <c:v>46134</c:v>
                </c:pt>
                <c:pt idx="681">
                  <c:v>46135</c:v>
                </c:pt>
                <c:pt idx="682">
                  <c:v>46136</c:v>
                </c:pt>
                <c:pt idx="683">
                  <c:v>46139</c:v>
                </c:pt>
                <c:pt idx="684">
                  <c:v>46140</c:v>
                </c:pt>
                <c:pt idx="685">
                  <c:v>46141</c:v>
                </c:pt>
                <c:pt idx="686">
                  <c:v>46142</c:v>
                </c:pt>
                <c:pt idx="687">
                  <c:v>46143</c:v>
                </c:pt>
                <c:pt idx="688">
                  <c:v>46146</c:v>
                </c:pt>
                <c:pt idx="689">
                  <c:v>46147</c:v>
                </c:pt>
                <c:pt idx="690">
                  <c:v>46148</c:v>
                </c:pt>
                <c:pt idx="691">
                  <c:v>46149</c:v>
                </c:pt>
                <c:pt idx="692">
                  <c:v>46150</c:v>
                </c:pt>
                <c:pt idx="693">
                  <c:v>46153</c:v>
                </c:pt>
                <c:pt idx="694">
                  <c:v>46154</c:v>
                </c:pt>
                <c:pt idx="695">
                  <c:v>46155</c:v>
                </c:pt>
                <c:pt idx="696">
                  <c:v>46156</c:v>
                </c:pt>
                <c:pt idx="697">
                  <c:v>46157</c:v>
                </c:pt>
                <c:pt idx="698">
                  <c:v>46160</c:v>
                </c:pt>
                <c:pt idx="699">
                  <c:v>46161</c:v>
                </c:pt>
                <c:pt idx="700">
                  <c:v>46162</c:v>
                </c:pt>
                <c:pt idx="701">
                  <c:v>46163</c:v>
                </c:pt>
                <c:pt idx="702">
                  <c:v>46164</c:v>
                </c:pt>
                <c:pt idx="703">
                  <c:v>46167</c:v>
                </c:pt>
                <c:pt idx="704">
                  <c:v>46168</c:v>
                </c:pt>
                <c:pt idx="705">
                  <c:v>46169</c:v>
                </c:pt>
                <c:pt idx="706">
                  <c:v>46170</c:v>
                </c:pt>
                <c:pt idx="707">
                  <c:v>46171</c:v>
                </c:pt>
                <c:pt idx="708">
                  <c:v>46174</c:v>
                </c:pt>
                <c:pt idx="709">
                  <c:v>46175</c:v>
                </c:pt>
                <c:pt idx="710">
                  <c:v>46176</c:v>
                </c:pt>
                <c:pt idx="711">
                  <c:v>46177</c:v>
                </c:pt>
                <c:pt idx="712">
                  <c:v>46178</c:v>
                </c:pt>
                <c:pt idx="713">
                  <c:v>46181</c:v>
                </c:pt>
                <c:pt idx="714">
                  <c:v>46182</c:v>
                </c:pt>
                <c:pt idx="715">
                  <c:v>46183</c:v>
                </c:pt>
                <c:pt idx="716">
                  <c:v>46184</c:v>
                </c:pt>
                <c:pt idx="717">
                  <c:v>46185</c:v>
                </c:pt>
                <c:pt idx="718">
                  <c:v>46188</c:v>
                </c:pt>
                <c:pt idx="719">
                  <c:v>46189</c:v>
                </c:pt>
                <c:pt idx="720">
                  <c:v>46190</c:v>
                </c:pt>
                <c:pt idx="721">
                  <c:v>46191</c:v>
                </c:pt>
                <c:pt idx="722">
                  <c:v>46192</c:v>
                </c:pt>
                <c:pt idx="723">
                  <c:v>46195</c:v>
                </c:pt>
                <c:pt idx="724">
                  <c:v>46196</c:v>
                </c:pt>
                <c:pt idx="725">
                  <c:v>46197</c:v>
                </c:pt>
                <c:pt idx="726">
                  <c:v>46198</c:v>
                </c:pt>
                <c:pt idx="727">
                  <c:v>46199</c:v>
                </c:pt>
                <c:pt idx="728">
                  <c:v>46202</c:v>
                </c:pt>
                <c:pt idx="729">
                  <c:v>46203</c:v>
                </c:pt>
                <c:pt idx="730">
                  <c:v>46204</c:v>
                </c:pt>
                <c:pt idx="731">
                  <c:v>46205</c:v>
                </c:pt>
                <c:pt idx="732">
                  <c:v>46206</c:v>
                </c:pt>
                <c:pt idx="733">
                  <c:v>46209</c:v>
                </c:pt>
                <c:pt idx="734">
                  <c:v>46210</c:v>
                </c:pt>
                <c:pt idx="735">
                  <c:v>46211</c:v>
                </c:pt>
                <c:pt idx="736">
                  <c:v>46212</c:v>
                </c:pt>
                <c:pt idx="737">
                  <c:v>46213</c:v>
                </c:pt>
                <c:pt idx="738">
                  <c:v>46216</c:v>
                </c:pt>
                <c:pt idx="739">
                  <c:v>46217</c:v>
                </c:pt>
                <c:pt idx="740">
                  <c:v>46218</c:v>
                </c:pt>
                <c:pt idx="741">
                  <c:v>46219</c:v>
                </c:pt>
                <c:pt idx="742">
                  <c:v>46220</c:v>
                </c:pt>
                <c:pt idx="743">
                  <c:v>46223</c:v>
                </c:pt>
                <c:pt idx="744">
                  <c:v>46224</c:v>
                </c:pt>
                <c:pt idx="745">
                  <c:v>46225</c:v>
                </c:pt>
                <c:pt idx="746">
                  <c:v>46226</c:v>
                </c:pt>
                <c:pt idx="747">
                  <c:v>46227</c:v>
                </c:pt>
                <c:pt idx="748">
                  <c:v>46230</c:v>
                </c:pt>
                <c:pt idx="749">
                  <c:v>46231</c:v>
                </c:pt>
                <c:pt idx="750">
                  <c:v>46232</c:v>
                </c:pt>
                <c:pt idx="751">
                  <c:v>46233</c:v>
                </c:pt>
                <c:pt idx="752">
                  <c:v>46234</c:v>
                </c:pt>
                <c:pt idx="753">
                  <c:v>46237</c:v>
                </c:pt>
                <c:pt idx="754">
                  <c:v>46238</c:v>
                </c:pt>
                <c:pt idx="755">
                  <c:v>46239</c:v>
                </c:pt>
                <c:pt idx="756">
                  <c:v>46240</c:v>
                </c:pt>
                <c:pt idx="757">
                  <c:v>46241</c:v>
                </c:pt>
                <c:pt idx="758">
                  <c:v>46244</c:v>
                </c:pt>
                <c:pt idx="759">
                  <c:v>46245</c:v>
                </c:pt>
                <c:pt idx="760">
                  <c:v>46246</c:v>
                </c:pt>
                <c:pt idx="761">
                  <c:v>46247</c:v>
                </c:pt>
                <c:pt idx="762">
                  <c:v>46248</c:v>
                </c:pt>
                <c:pt idx="763">
                  <c:v>46251</c:v>
                </c:pt>
                <c:pt idx="764">
                  <c:v>46252</c:v>
                </c:pt>
                <c:pt idx="765">
                  <c:v>46253</c:v>
                </c:pt>
                <c:pt idx="766">
                  <c:v>46254</c:v>
                </c:pt>
                <c:pt idx="767">
                  <c:v>46255</c:v>
                </c:pt>
                <c:pt idx="768">
                  <c:v>46258</c:v>
                </c:pt>
                <c:pt idx="769">
                  <c:v>46259</c:v>
                </c:pt>
                <c:pt idx="770">
                  <c:v>46260</c:v>
                </c:pt>
                <c:pt idx="771">
                  <c:v>46261</c:v>
                </c:pt>
                <c:pt idx="772">
                  <c:v>46262</c:v>
                </c:pt>
                <c:pt idx="773">
                  <c:v>46265</c:v>
                </c:pt>
                <c:pt idx="774">
                  <c:v>46266</c:v>
                </c:pt>
                <c:pt idx="775">
                  <c:v>46267</c:v>
                </c:pt>
                <c:pt idx="776">
                  <c:v>46268</c:v>
                </c:pt>
                <c:pt idx="777">
                  <c:v>46269</c:v>
                </c:pt>
                <c:pt idx="778">
                  <c:v>46272</c:v>
                </c:pt>
                <c:pt idx="779">
                  <c:v>46273</c:v>
                </c:pt>
                <c:pt idx="780">
                  <c:v>46274</c:v>
                </c:pt>
                <c:pt idx="781">
                  <c:v>46275</c:v>
                </c:pt>
                <c:pt idx="782">
                  <c:v>46276</c:v>
                </c:pt>
                <c:pt idx="783">
                  <c:v>46279</c:v>
                </c:pt>
                <c:pt idx="784">
                  <c:v>46280</c:v>
                </c:pt>
                <c:pt idx="785">
                  <c:v>46281</c:v>
                </c:pt>
                <c:pt idx="786">
                  <c:v>46282</c:v>
                </c:pt>
                <c:pt idx="787">
                  <c:v>46283</c:v>
                </c:pt>
                <c:pt idx="788">
                  <c:v>46286</c:v>
                </c:pt>
                <c:pt idx="789">
                  <c:v>46287</c:v>
                </c:pt>
                <c:pt idx="790">
                  <c:v>46288</c:v>
                </c:pt>
                <c:pt idx="791">
                  <c:v>46289</c:v>
                </c:pt>
                <c:pt idx="792">
                  <c:v>46290</c:v>
                </c:pt>
                <c:pt idx="793">
                  <c:v>46293</c:v>
                </c:pt>
                <c:pt idx="794">
                  <c:v>46294</c:v>
                </c:pt>
                <c:pt idx="795">
                  <c:v>46295</c:v>
                </c:pt>
                <c:pt idx="796">
                  <c:v>46296</c:v>
                </c:pt>
                <c:pt idx="797">
                  <c:v>46297</c:v>
                </c:pt>
                <c:pt idx="798">
                  <c:v>46300</c:v>
                </c:pt>
                <c:pt idx="799">
                  <c:v>46301</c:v>
                </c:pt>
                <c:pt idx="800">
                  <c:v>46302</c:v>
                </c:pt>
                <c:pt idx="801">
                  <c:v>46303</c:v>
                </c:pt>
                <c:pt idx="802">
                  <c:v>46304</c:v>
                </c:pt>
                <c:pt idx="803">
                  <c:v>46307</c:v>
                </c:pt>
                <c:pt idx="804">
                  <c:v>46308</c:v>
                </c:pt>
                <c:pt idx="805">
                  <c:v>46309</c:v>
                </c:pt>
                <c:pt idx="806">
                  <c:v>46310</c:v>
                </c:pt>
                <c:pt idx="807">
                  <c:v>46311</c:v>
                </c:pt>
                <c:pt idx="808">
                  <c:v>46314</c:v>
                </c:pt>
                <c:pt idx="809">
                  <c:v>46315</c:v>
                </c:pt>
                <c:pt idx="810">
                  <c:v>46316</c:v>
                </c:pt>
                <c:pt idx="811">
                  <c:v>46317</c:v>
                </c:pt>
                <c:pt idx="812">
                  <c:v>46318</c:v>
                </c:pt>
                <c:pt idx="813">
                  <c:v>46321</c:v>
                </c:pt>
                <c:pt idx="814">
                  <c:v>46322</c:v>
                </c:pt>
                <c:pt idx="815">
                  <c:v>46323</c:v>
                </c:pt>
                <c:pt idx="816">
                  <c:v>46324</c:v>
                </c:pt>
                <c:pt idx="817">
                  <c:v>46325</c:v>
                </c:pt>
                <c:pt idx="818">
                  <c:v>46328</c:v>
                </c:pt>
                <c:pt idx="819">
                  <c:v>46329</c:v>
                </c:pt>
                <c:pt idx="820">
                  <c:v>46330</c:v>
                </c:pt>
                <c:pt idx="821">
                  <c:v>46331</c:v>
                </c:pt>
                <c:pt idx="822">
                  <c:v>46332</c:v>
                </c:pt>
                <c:pt idx="823">
                  <c:v>46335</c:v>
                </c:pt>
                <c:pt idx="824">
                  <c:v>46336</c:v>
                </c:pt>
                <c:pt idx="825">
                  <c:v>46337</c:v>
                </c:pt>
                <c:pt idx="826">
                  <c:v>46338</c:v>
                </c:pt>
                <c:pt idx="827">
                  <c:v>46339</c:v>
                </c:pt>
                <c:pt idx="828">
                  <c:v>46342</c:v>
                </c:pt>
                <c:pt idx="829">
                  <c:v>46343</c:v>
                </c:pt>
                <c:pt idx="830">
                  <c:v>46344</c:v>
                </c:pt>
                <c:pt idx="831">
                  <c:v>46345</c:v>
                </c:pt>
                <c:pt idx="832">
                  <c:v>46346</c:v>
                </c:pt>
                <c:pt idx="833">
                  <c:v>46349</c:v>
                </c:pt>
                <c:pt idx="834">
                  <c:v>46350</c:v>
                </c:pt>
                <c:pt idx="835">
                  <c:v>46351</c:v>
                </c:pt>
                <c:pt idx="836">
                  <c:v>46352</c:v>
                </c:pt>
                <c:pt idx="837">
                  <c:v>46353</c:v>
                </c:pt>
                <c:pt idx="838">
                  <c:v>46356</c:v>
                </c:pt>
                <c:pt idx="839">
                  <c:v>46357</c:v>
                </c:pt>
                <c:pt idx="840">
                  <c:v>46358</c:v>
                </c:pt>
                <c:pt idx="841">
                  <c:v>46359</c:v>
                </c:pt>
                <c:pt idx="842">
                  <c:v>46360</c:v>
                </c:pt>
                <c:pt idx="843">
                  <c:v>46363</c:v>
                </c:pt>
                <c:pt idx="844">
                  <c:v>46364</c:v>
                </c:pt>
                <c:pt idx="845">
                  <c:v>46365</c:v>
                </c:pt>
                <c:pt idx="846">
                  <c:v>46366</c:v>
                </c:pt>
                <c:pt idx="847">
                  <c:v>46367</c:v>
                </c:pt>
                <c:pt idx="848">
                  <c:v>46370</c:v>
                </c:pt>
                <c:pt idx="849">
                  <c:v>46371</c:v>
                </c:pt>
                <c:pt idx="850">
                  <c:v>46372</c:v>
                </c:pt>
                <c:pt idx="851">
                  <c:v>46373</c:v>
                </c:pt>
                <c:pt idx="852">
                  <c:v>46374</c:v>
                </c:pt>
                <c:pt idx="853">
                  <c:v>46377</c:v>
                </c:pt>
                <c:pt idx="854">
                  <c:v>46378</c:v>
                </c:pt>
                <c:pt idx="855">
                  <c:v>46379</c:v>
                </c:pt>
                <c:pt idx="856">
                  <c:v>46380</c:v>
                </c:pt>
                <c:pt idx="857">
                  <c:v>46381</c:v>
                </c:pt>
                <c:pt idx="858">
                  <c:v>46384</c:v>
                </c:pt>
                <c:pt idx="859">
                  <c:v>46385</c:v>
                </c:pt>
                <c:pt idx="860">
                  <c:v>46386</c:v>
                </c:pt>
                <c:pt idx="861">
                  <c:v>46387</c:v>
                </c:pt>
                <c:pt idx="862">
                  <c:v>46388</c:v>
                </c:pt>
                <c:pt idx="863">
                  <c:v>46391</c:v>
                </c:pt>
                <c:pt idx="864">
                  <c:v>46392</c:v>
                </c:pt>
                <c:pt idx="865">
                  <c:v>46393</c:v>
                </c:pt>
                <c:pt idx="866">
                  <c:v>46394</c:v>
                </c:pt>
                <c:pt idx="867">
                  <c:v>46395</c:v>
                </c:pt>
                <c:pt idx="868">
                  <c:v>46398</c:v>
                </c:pt>
                <c:pt idx="869">
                  <c:v>46399</c:v>
                </c:pt>
                <c:pt idx="870">
                  <c:v>46400</c:v>
                </c:pt>
                <c:pt idx="871">
                  <c:v>46401</c:v>
                </c:pt>
                <c:pt idx="872">
                  <c:v>46402</c:v>
                </c:pt>
                <c:pt idx="873">
                  <c:v>46405</c:v>
                </c:pt>
                <c:pt idx="874">
                  <c:v>46406</c:v>
                </c:pt>
                <c:pt idx="875">
                  <c:v>46407</c:v>
                </c:pt>
                <c:pt idx="876">
                  <c:v>46408</c:v>
                </c:pt>
                <c:pt idx="877">
                  <c:v>46409</c:v>
                </c:pt>
                <c:pt idx="878">
                  <c:v>46412</c:v>
                </c:pt>
                <c:pt idx="879">
                  <c:v>46413</c:v>
                </c:pt>
                <c:pt idx="880">
                  <c:v>46414</c:v>
                </c:pt>
                <c:pt idx="881">
                  <c:v>46415</c:v>
                </c:pt>
                <c:pt idx="882">
                  <c:v>46416</c:v>
                </c:pt>
                <c:pt idx="883">
                  <c:v>46419</c:v>
                </c:pt>
                <c:pt idx="884">
                  <c:v>46420</c:v>
                </c:pt>
                <c:pt idx="885">
                  <c:v>46421</c:v>
                </c:pt>
                <c:pt idx="886">
                  <c:v>46422</c:v>
                </c:pt>
                <c:pt idx="887">
                  <c:v>46423</c:v>
                </c:pt>
                <c:pt idx="888">
                  <c:v>46426</c:v>
                </c:pt>
                <c:pt idx="889">
                  <c:v>46427</c:v>
                </c:pt>
                <c:pt idx="890">
                  <c:v>46428</c:v>
                </c:pt>
                <c:pt idx="891">
                  <c:v>46429</c:v>
                </c:pt>
                <c:pt idx="892">
                  <c:v>46430</c:v>
                </c:pt>
                <c:pt idx="893">
                  <c:v>46433</c:v>
                </c:pt>
                <c:pt idx="894">
                  <c:v>46434</c:v>
                </c:pt>
                <c:pt idx="895">
                  <c:v>46435</c:v>
                </c:pt>
                <c:pt idx="896">
                  <c:v>46436</c:v>
                </c:pt>
                <c:pt idx="897">
                  <c:v>46437</c:v>
                </c:pt>
                <c:pt idx="898">
                  <c:v>46440</c:v>
                </c:pt>
                <c:pt idx="899">
                  <c:v>46441</c:v>
                </c:pt>
                <c:pt idx="900">
                  <c:v>46442</c:v>
                </c:pt>
                <c:pt idx="901">
                  <c:v>46443</c:v>
                </c:pt>
                <c:pt idx="902">
                  <c:v>46444</c:v>
                </c:pt>
                <c:pt idx="903">
                  <c:v>46447</c:v>
                </c:pt>
                <c:pt idx="904">
                  <c:v>46448</c:v>
                </c:pt>
                <c:pt idx="905">
                  <c:v>46449</c:v>
                </c:pt>
                <c:pt idx="906">
                  <c:v>46450</c:v>
                </c:pt>
                <c:pt idx="907">
                  <c:v>46451</c:v>
                </c:pt>
                <c:pt idx="908">
                  <c:v>46454</c:v>
                </c:pt>
                <c:pt idx="909">
                  <c:v>46455</c:v>
                </c:pt>
                <c:pt idx="910">
                  <c:v>46456</c:v>
                </c:pt>
                <c:pt idx="911">
                  <c:v>46457</c:v>
                </c:pt>
                <c:pt idx="912">
                  <c:v>46458</c:v>
                </c:pt>
                <c:pt idx="913">
                  <c:v>46461</c:v>
                </c:pt>
                <c:pt idx="914">
                  <c:v>46462</c:v>
                </c:pt>
                <c:pt idx="915">
                  <c:v>46463</c:v>
                </c:pt>
                <c:pt idx="916">
                  <c:v>46464</c:v>
                </c:pt>
                <c:pt idx="917">
                  <c:v>46465</c:v>
                </c:pt>
                <c:pt idx="918">
                  <c:v>46468</c:v>
                </c:pt>
                <c:pt idx="919">
                  <c:v>46469</c:v>
                </c:pt>
                <c:pt idx="920">
                  <c:v>46470</c:v>
                </c:pt>
                <c:pt idx="921">
                  <c:v>46471</c:v>
                </c:pt>
                <c:pt idx="922">
                  <c:v>46472</c:v>
                </c:pt>
                <c:pt idx="923">
                  <c:v>46475</c:v>
                </c:pt>
                <c:pt idx="924">
                  <c:v>46476</c:v>
                </c:pt>
                <c:pt idx="925">
                  <c:v>46477</c:v>
                </c:pt>
                <c:pt idx="926">
                  <c:v>46478</c:v>
                </c:pt>
                <c:pt idx="927">
                  <c:v>46479</c:v>
                </c:pt>
                <c:pt idx="928">
                  <c:v>46482</c:v>
                </c:pt>
                <c:pt idx="929">
                  <c:v>46483</c:v>
                </c:pt>
                <c:pt idx="930">
                  <c:v>46484</c:v>
                </c:pt>
                <c:pt idx="931">
                  <c:v>46485</c:v>
                </c:pt>
                <c:pt idx="932">
                  <c:v>46486</c:v>
                </c:pt>
                <c:pt idx="933">
                  <c:v>46489</c:v>
                </c:pt>
                <c:pt idx="934">
                  <c:v>46490</c:v>
                </c:pt>
                <c:pt idx="935">
                  <c:v>46491</c:v>
                </c:pt>
                <c:pt idx="936">
                  <c:v>46492</c:v>
                </c:pt>
                <c:pt idx="937">
                  <c:v>46493</c:v>
                </c:pt>
                <c:pt idx="938">
                  <c:v>46496</c:v>
                </c:pt>
                <c:pt idx="939">
                  <c:v>46497</c:v>
                </c:pt>
                <c:pt idx="940">
                  <c:v>46498</c:v>
                </c:pt>
                <c:pt idx="941">
                  <c:v>46499</c:v>
                </c:pt>
                <c:pt idx="942">
                  <c:v>46500</c:v>
                </c:pt>
                <c:pt idx="943">
                  <c:v>46503</c:v>
                </c:pt>
                <c:pt idx="944">
                  <c:v>46504</c:v>
                </c:pt>
                <c:pt idx="945">
                  <c:v>46505</c:v>
                </c:pt>
                <c:pt idx="946">
                  <c:v>46506</c:v>
                </c:pt>
                <c:pt idx="947">
                  <c:v>46507</c:v>
                </c:pt>
                <c:pt idx="948">
                  <c:v>46510</c:v>
                </c:pt>
                <c:pt idx="949">
                  <c:v>46511</c:v>
                </c:pt>
                <c:pt idx="950">
                  <c:v>46512</c:v>
                </c:pt>
                <c:pt idx="951">
                  <c:v>46513</c:v>
                </c:pt>
                <c:pt idx="952">
                  <c:v>46514</c:v>
                </c:pt>
                <c:pt idx="953">
                  <c:v>46517</c:v>
                </c:pt>
                <c:pt idx="954">
                  <c:v>46518</c:v>
                </c:pt>
                <c:pt idx="955">
                  <c:v>46519</c:v>
                </c:pt>
                <c:pt idx="956">
                  <c:v>46520</c:v>
                </c:pt>
                <c:pt idx="957">
                  <c:v>46521</c:v>
                </c:pt>
                <c:pt idx="958">
                  <c:v>46524</c:v>
                </c:pt>
                <c:pt idx="959">
                  <c:v>46525</c:v>
                </c:pt>
                <c:pt idx="960">
                  <c:v>46526</c:v>
                </c:pt>
                <c:pt idx="961">
                  <c:v>46527</c:v>
                </c:pt>
                <c:pt idx="962">
                  <c:v>46528</c:v>
                </c:pt>
                <c:pt idx="963">
                  <c:v>46531</c:v>
                </c:pt>
                <c:pt idx="964">
                  <c:v>46532</c:v>
                </c:pt>
                <c:pt idx="965">
                  <c:v>46533</c:v>
                </c:pt>
                <c:pt idx="966">
                  <c:v>46534</c:v>
                </c:pt>
                <c:pt idx="967">
                  <c:v>46535</c:v>
                </c:pt>
                <c:pt idx="968">
                  <c:v>46538</c:v>
                </c:pt>
                <c:pt idx="969">
                  <c:v>46539</c:v>
                </c:pt>
                <c:pt idx="970">
                  <c:v>46540</c:v>
                </c:pt>
                <c:pt idx="971">
                  <c:v>46541</c:v>
                </c:pt>
                <c:pt idx="972">
                  <c:v>46542</c:v>
                </c:pt>
                <c:pt idx="973">
                  <c:v>46545</c:v>
                </c:pt>
                <c:pt idx="974">
                  <c:v>46546</c:v>
                </c:pt>
                <c:pt idx="975">
                  <c:v>46547</c:v>
                </c:pt>
                <c:pt idx="976">
                  <c:v>46548</c:v>
                </c:pt>
                <c:pt idx="977">
                  <c:v>46549</c:v>
                </c:pt>
                <c:pt idx="978">
                  <c:v>46552</c:v>
                </c:pt>
                <c:pt idx="979">
                  <c:v>46553</c:v>
                </c:pt>
                <c:pt idx="980">
                  <c:v>46554</c:v>
                </c:pt>
                <c:pt idx="981">
                  <c:v>46555</c:v>
                </c:pt>
                <c:pt idx="982">
                  <c:v>46556</c:v>
                </c:pt>
                <c:pt idx="983">
                  <c:v>46559</c:v>
                </c:pt>
                <c:pt idx="984">
                  <c:v>46560</c:v>
                </c:pt>
                <c:pt idx="985">
                  <c:v>46561</c:v>
                </c:pt>
                <c:pt idx="986">
                  <c:v>46562</c:v>
                </c:pt>
                <c:pt idx="987">
                  <c:v>46563</c:v>
                </c:pt>
                <c:pt idx="988">
                  <c:v>46566</c:v>
                </c:pt>
                <c:pt idx="989">
                  <c:v>46567</c:v>
                </c:pt>
                <c:pt idx="990">
                  <c:v>46568</c:v>
                </c:pt>
                <c:pt idx="991">
                  <c:v>46569</c:v>
                </c:pt>
                <c:pt idx="992">
                  <c:v>46570</c:v>
                </c:pt>
                <c:pt idx="993">
                  <c:v>46573</c:v>
                </c:pt>
                <c:pt idx="994">
                  <c:v>46574</c:v>
                </c:pt>
                <c:pt idx="995">
                  <c:v>46575</c:v>
                </c:pt>
                <c:pt idx="996">
                  <c:v>46576</c:v>
                </c:pt>
                <c:pt idx="997">
                  <c:v>46577</c:v>
                </c:pt>
                <c:pt idx="998">
                  <c:v>46580</c:v>
                </c:pt>
              </c:numCache>
            </c:numRef>
          </c:cat>
          <c:val>
            <c:numRef>
              <c:f>Daily!$G$2:$G$1057</c:f>
            </c:numRef>
          </c:val>
          <c:smooth val="1"/>
          <c:extLst>
            <c:ext xmlns:c16="http://schemas.microsoft.com/office/drawing/2014/chart" uri="{C3380CC4-5D6E-409C-BE32-E72D297353CC}">
              <c16:uniqueId val="{0000000C-094D-4E29-B010-D717A2A1A293}"/>
            </c:ext>
          </c:extLst>
        </c:ser>
        <c:ser>
          <c:idx val="6"/>
          <c:order val="6"/>
          <c:tx>
            <c:strRef>
              <c:f>Daily!$H$1</c:f>
              <c:strCache>
                <c:ptCount val="1"/>
                <c:pt idx="0">
                  <c:v>M+6</c:v>
                </c:pt>
              </c:strCache>
            </c:strRef>
          </c:tx>
          <c:spPr>
            <a:ln w="28575" cap="rnd" cmpd="sng" algn="ctr">
              <a:solidFill>
                <a:schemeClr val="accent1">
                  <a:lumMod val="60000"/>
                  <a:shade val="95000"/>
                  <a:satMod val="105000"/>
                </a:schemeClr>
              </a:solidFill>
              <a:prstDash val="solid"/>
              <a:round/>
            </a:ln>
            <a:effectLst/>
          </c:spPr>
          <c:marker>
            <c:symbol val="none"/>
          </c:marker>
          <c:cat>
            <c:numRef>
              <c:f>Daily!$A$2:$A$1000</c:f>
              <c:numCache>
                <c:formatCode>d\-mmm\-yy</c:formatCode>
                <c:ptCount val="999"/>
                <c:pt idx="0">
                  <c:v>45128</c:v>
                </c:pt>
                <c:pt idx="1">
                  <c:v>45131</c:v>
                </c:pt>
                <c:pt idx="2">
                  <c:v>45132</c:v>
                </c:pt>
                <c:pt idx="3">
                  <c:v>45133</c:v>
                </c:pt>
                <c:pt idx="4">
                  <c:v>45134</c:v>
                </c:pt>
                <c:pt idx="5">
                  <c:v>45135</c:v>
                </c:pt>
                <c:pt idx="6">
                  <c:v>45138</c:v>
                </c:pt>
                <c:pt idx="7">
                  <c:v>45139</c:v>
                </c:pt>
                <c:pt idx="8">
                  <c:v>45140</c:v>
                </c:pt>
                <c:pt idx="9">
                  <c:v>45141</c:v>
                </c:pt>
                <c:pt idx="10">
                  <c:v>45142</c:v>
                </c:pt>
                <c:pt idx="11">
                  <c:v>45145</c:v>
                </c:pt>
                <c:pt idx="12">
                  <c:v>45146</c:v>
                </c:pt>
                <c:pt idx="13">
                  <c:v>45147</c:v>
                </c:pt>
                <c:pt idx="14">
                  <c:v>45148</c:v>
                </c:pt>
                <c:pt idx="15">
                  <c:v>45149</c:v>
                </c:pt>
                <c:pt idx="16">
                  <c:v>45152</c:v>
                </c:pt>
                <c:pt idx="17">
                  <c:v>45153</c:v>
                </c:pt>
                <c:pt idx="18">
                  <c:v>45154</c:v>
                </c:pt>
                <c:pt idx="19">
                  <c:v>45155</c:v>
                </c:pt>
                <c:pt idx="20">
                  <c:v>45156</c:v>
                </c:pt>
                <c:pt idx="21">
                  <c:v>45159</c:v>
                </c:pt>
                <c:pt idx="22">
                  <c:v>45160</c:v>
                </c:pt>
                <c:pt idx="23">
                  <c:v>45161</c:v>
                </c:pt>
                <c:pt idx="24">
                  <c:v>45162</c:v>
                </c:pt>
                <c:pt idx="25">
                  <c:v>45163</c:v>
                </c:pt>
                <c:pt idx="26">
                  <c:v>45166</c:v>
                </c:pt>
                <c:pt idx="27">
                  <c:v>45167</c:v>
                </c:pt>
                <c:pt idx="28">
                  <c:v>45168</c:v>
                </c:pt>
                <c:pt idx="29">
                  <c:v>45169</c:v>
                </c:pt>
                <c:pt idx="30">
                  <c:v>45170</c:v>
                </c:pt>
                <c:pt idx="31">
                  <c:v>45173</c:v>
                </c:pt>
                <c:pt idx="32">
                  <c:v>45174</c:v>
                </c:pt>
                <c:pt idx="33">
                  <c:v>45175</c:v>
                </c:pt>
                <c:pt idx="34">
                  <c:v>45176</c:v>
                </c:pt>
                <c:pt idx="35">
                  <c:v>45177</c:v>
                </c:pt>
                <c:pt idx="36">
                  <c:v>45180</c:v>
                </c:pt>
                <c:pt idx="37">
                  <c:v>45181</c:v>
                </c:pt>
                <c:pt idx="38">
                  <c:v>45182</c:v>
                </c:pt>
                <c:pt idx="39">
                  <c:v>45183</c:v>
                </c:pt>
                <c:pt idx="40">
                  <c:v>45184</c:v>
                </c:pt>
                <c:pt idx="41">
                  <c:v>45187</c:v>
                </c:pt>
                <c:pt idx="42">
                  <c:v>45188</c:v>
                </c:pt>
                <c:pt idx="43">
                  <c:v>45189</c:v>
                </c:pt>
                <c:pt idx="44">
                  <c:v>45190</c:v>
                </c:pt>
                <c:pt idx="45">
                  <c:v>45191</c:v>
                </c:pt>
                <c:pt idx="46">
                  <c:v>45194</c:v>
                </c:pt>
                <c:pt idx="47">
                  <c:v>45195</c:v>
                </c:pt>
                <c:pt idx="48">
                  <c:v>45196</c:v>
                </c:pt>
                <c:pt idx="49">
                  <c:v>45197</c:v>
                </c:pt>
                <c:pt idx="50">
                  <c:v>45208</c:v>
                </c:pt>
                <c:pt idx="51">
                  <c:v>45209</c:v>
                </c:pt>
                <c:pt idx="52">
                  <c:v>45210</c:v>
                </c:pt>
                <c:pt idx="53">
                  <c:v>45211</c:v>
                </c:pt>
                <c:pt idx="54">
                  <c:v>45212</c:v>
                </c:pt>
                <c:pt idx="55">
                  <c:v>45215</c:v>
                </c:pt>
                <c:pt idx="56">
                  <c:v>45216</c:v>
                </c:pt>
                <c:pt idx="57">
                  <c:v>45217</c:v>
                </c:pt>
                <c:pt idx="58">
                  <c:v>45218</c:v>
                </c:pt>
                <c:pt idx="59">
                  <c:v>45219</c:v>
                </c:pt>
                <c:pt idx="60">
                  <c:v>45222</c:v>
                </c:pt>
                <c:pt idx="61">
                  <c:v>45223</c:v>
                </c:pt>
                <c:pt idx="62">
                  <c:v>45224</c:v>
                </c:pt>
                <c:pt idx="63">
                  <c:v>45225</c:v>
                </c:pt>
                <c:pt idx="64">
                  <c:v>45226</c:v>
                </c:pt>
                <c:pt idx="65">
                  <c:v>45229</c:v>
                </c:pt>
                <c:pt idx="66">
                  <c:v>45230</c:v>
                </c:pt>
                <c:pt idx="67">
                  <c:v>45231</c:v>
                </c:pt>
                <c:pt idx="68">
                  <c:v>45232</c:v>
                </c:pt>
                <c:pt idx="69">
                  <c:v>45233</c:v>
                </c:pt>
                <c:pt idx="70">
                  <c:v>45236</c:v>
                </c:pt>
                <c:pt idx="71">
                  <c:v>45237</c:v>
                </c:pt>
                <c:pt idx="72">
                  <c:v>45238</c:v>
                </c:pt>
                <c:pt idx="73">
                  <c:v>45239</c:v>
                </c:pt>
                <c:pt idx="74">
                  <c:v>45240</c:v>
                </c:pt>
                <c:pt idx="75">
                  <c:v>45243</c:v>
                </c:pt>
                <c:pt idx="76">
                  <c:v>45244</c:v>
                </c:pt>
                <c:pt idx="77">
                  <c:v>45245</c:v>
                </c:pt>
                <c:pt idx="78">
                  <c:v>45246</c:v>
                </c:pt>
                <c:pt idx="79">
                  <c:v>45247</c:v>
                </c:pt>
                <c:pt idx="80">
                  <c:v>45250</c:v>
                </c:pt>
                <c:pt idx="81">
                  <c:v>45251</c:v>
                </c:pt>
                <c:pt idx="82">
                  <c:v>45252</c:v>
                </c:pt>
                <c:pt idx="83">
                  <c:v>45253</c:v>
                </c:pt>
                <c:pt idx="84">
                  <c:v>45254</c:v>
                </c:pt>
                <c:pt idx="85">
                  <c:v>45257</c:v>
                </c:pt>
                <c:pt idx="86">
                  <c:v>45258</c:v>
                </c:pt>
                <c:pt idx="87">
                  <c:v>45259</c:v>
                </c:pt>
                <c:pt idx="88">
                  <c:v>45260</c:v>
                </c:pt>
                <c:pt idx="89">
                  <c:v>45261</c:v>
                </c:pt>
                <c:pt idx="90">
                  <c:v>45264</c:v>
                </c:pt>
                <c:pt idx="91">
                  <c:v>45265</c:v>
                </c:pt>
                <c:pt idx="92">
                  <c:v>45266</c:v>
                </c:pt>
                <c:pt idx="93">
                  <c:v>45267</c:v>
                </c:pt>
                <c:pt idx="94">
                  <c:v>45268</c:v>
                </c:pt>
                <c:pt idx="95">
                  <c:v>45271</c:v>
                </c:pt>
                <c:pt idx="96">
                  <c:v>45272</c:v>
                </c:pt>
                <c:pt idx="97">
                  <c:v>45273</c:v>
                </c:pt>
                <c:pt idx="98">
                  <c:v>45274</c:v>
                </c:pt>
                <c:pt idx="99">
                  <c:v>45275</c:v>
                </c:pt>
                <c:pt idx="100">
                  <c:v>45278</c:v>
                </c:pt>
                <c:pt idx="101">
                  <c:v>45279</c:v>
                </c:pt>
                <c:pt idx="102">
                  <c:v>45280</c:v>
                </c:pt>
                <c:pt idx="103">
                  <c:v>45281</c:v>
                </c:pt>
                <c:pt idx="104">
                  <c:v>45282</c:v>
                </c:pt>
                <c:pt idx="105">
                  <c:v>45285</c:v>
                </c:pt>
                <c:pt idx="106">
                  <c:v>45286</c:v>
                </c:pt>
                <c:pt idx="107">
                  <c:v>45287</c:v>
                </c:pt>
                <c:pt idx="108">
                  <c:v>45288</c:v>
                </c:pt>
                <c:pt idx="109">
                  <c:v>45289</c:v>
                </c:pt>
                <c:pt idx="110">
                  <c:v>45293</c:v>
                </c:pt>
                <c:pt idx="111">
                  <c:v>45294</c:v>
                </c:pt>
                <c:pt idx="112">
                  <c:v>45295</c:v>
                </c:pt>
                <c:pt idx="113">
                  <c:v>45296</c:v>
                </c:pt>
                <c:pt idx="114">
                  <c:v>45299</c:v>
                </c:pt>
                <c:pt idx="115">
                  <c:v>45300</c:v>
                </c:pt>
                <c:pt idx="116">
                  <c:v>45301</c:v>
                </c:pt>
                <c:pt idx="117">
                  <c:v>45302</c:v>
                </c:pt>
                <c:pt idx="118">
                  <c:v>45303</c:v>
                </c:pt>
                <c:pt idx="119">
                  <c:v>45306</c:v>
                </c:pt>
                <c:pt idx="120">
                  <c:v>45307</c:v>
                </c:pt>
                <c:pt idx="121">
                  <c:v>45308</c:v>
                </c:pt>
                <c:pt idx="122">
                  <c:v>45309</c:v>
                </c:pt>
                <c:pt idx="123">
                  <c:v>45310</c:v>
                </c:pt>
                <c:pt idx="124">
                  <c:v>45313</c:v>
                </c:pt>
                <c:pt idx="125">
                  <c:v>45314</c:v>
                </c:pt>
                <c:pt idx="126">
                  <c:v>45315</c:v>
                </c:pt>
                <c:pt idx="127">
                  <c:v>45316</c:v>
                </c:pt>
                <c:pt idx="128">
                  <c:v>45317</c:v>
                </c:pt>
                <c:pt idx="129">
                  <c:v>45320</c:v>
                </c:pt>
                <c:pt idx="130">
                  <c:v>45321</c:v>
                </c:pt>
                <c:pt idx="131">
                  <c:v>45322</c:v>
                </c:pt>
                <c:pt idx="132">
                  <c:v>45323</c:v>
                </c:pt>
                <c:pt idx="133">
                  <c:v>45324</c:v>
                </c:pt>
                <c:pt idx="134">
                  <c:v>45327</c:v>
                </c:pt>
                <c:pt idx="135">
                  <c:v>45328</c:v>
                </c:pt>
                <c:pt idx="136">
                  <c:v>45329</c:v>
                </c:pt>
                <c:pt idx="137">
                  <c:v>45330</c:v>
                </c:pt>
                <c:pt idx="138">
                  <c:v>45341</c:v>
                </c:pt>
                <c:pt idx="139">
                  <c:v>45342</c:v>
                </c:pt>
                <c:pt idx="140">
                  <c:v>45343</c:v>
                </c:pt>
                <c:pt idx="141">
                  <c:v>45344</c:v>
                </c:pt>
                <c:pt idx="142">
                  <c:v>45345</c:v>
                </c:pt>
                <c:pt idx="143">
                  <c:v>45348</c:v>
                </c:pt>
                <c:pt idx="144">
                  <c:v>45349</c:v>
                </c:pt>
                <c:pt idx="145">
                  <c:v>45350</c:v>
                </c:pt>
                <c:pt idx="146">
                  <c:v>45351</c:v>
                </c:pt>
                <c:pt idx="147">
                  <c:v>45352</c:v>
                </c:pt>
                <c:pt idx="148">
                  <c:v>45355</c:v>
                </c:pt>
                <c:pt idx="149">
                  <c:v>45356</c:v>
                </c:pt>
                <c:pt idx="150">
                  <c:v>45357</c:v>
                </c:pt>
                <c:pt idx="151">
                  <c:v>45358</c:v>
                </c:pt>
                <c:pt idx="152">
                  <c:v>45359</c:v>
                </c:pt>
                <c:pt idx="153">
                  <c:v>45362</c:v>
                </c:pt>
                <c:pt idx="154">
                  <c:v>45363</c:v>
                </c:pt>
                <c:pt idx="155">
                  <c:v>45364</c:v>
                </c:pt>
                <c:pt idx="156">
                  <c:v>45365</c:v>
                </c:pt>
                <c:pt idx="157">
                  <c:v>45366</c:v>
                </c:pt>
                <c:pt idx="158">
                  <c:v>45369</c:v>
                </c:pt>
                <c:pt idx="159">
                  <c:v>45370</c:v>
                </c:pt>
                <c:pt idx="160">
                  <c:v>45371</c:v>
                </c:pt>
                <c:pt idx="161">
                  <c:v>45372</c:v>
                </c:pt>
                <c:pt idx="162">
                  <c:v>45373</c:v>
                </c:pt>
                <c:pt idx="163">
                  <c:v>45376</c:v>
                </c:pt>
                <c:pt idx="164">
                  <c:v>45377</c:v>
                </c:pt>
                <c:pt idx="165">
                  <c:v>45378</c:v>
                </c:pt>
                <c:pt idx="166">
                  <c:v>45379</c:v>
                </c:pt>
                <c:pt idx="167">
                  <c:v>45380</c:v>
                </c:pt>
                <c:pt idx="168">
                  <c:v>45383</c:v>
                </c:pt>
                <c:pt idx="169">
                  <c:v>45384</c:v>
                </c:pt>
                <c:pt idx="170">
                  <c:v>45385</c:v>
                </c:pt>
                <c:pt idx="171">
                  <c:v>45390</c:v>
                </c:pt>
                <c:pt idx="172">
                  <c:v>45391</c:v>
                </c:pt>
                <c:pt idx="173">
                  <c:v>45392</c:v>
                </c:pt>
                <c:pt idx="174">
                  <c:v>45393</c:v>
                </c:pt>
                <c:pt idx="175">
                  <c:v>45394</c:v>
                </c:pt>
                <c:pt idx="176">
                  <c:v>45397</c:v>
                </c:pt>
                <c:pt idx="177">
                  <c:v>45398</c:v>
                </c:pt>
                <c:pt idx="178">
                  <c:v>45399</c:v>
                </c:pt>
                <c:pt idx="179">
                  <c:v>45400</c:v>
                </c:pt>
                <c:pt idx="180">
                  <c:v>45401</c:v>
                </c:pt>
                <c:pt idx="181">
                  <c:v>45404</c:v>
                </c:pt>
                <c:pt idx="182">
                  <c:v>45405</c:v>
                </c:pt>
                <c:pt idx="183">
                  <c:v>45406</c:v>
                </c:pt>
                <c:pt idx="184">
                  <c:v>45407</c:v>
                </c:pt>
                <c:pt idx="185">
                  <c:v>45408</c:v>
                </c:pt>
                <c:pt idx="186">
                  <c:v>45411</c:v>
                </c:pt>
                <c:pt idx="187">
                  <c:v>45412</c:v>
                </c:pt>
                <c:pt idx="188">
                  <c:v>45418</c:v>
                </c:pt>
                <c:pt idx="189">
                  <c:v>45419</c:v>
                </c:pt>
                <c:pt idx="190">
                  <c:v>45420</c:v>
                </c:pt>
                <c:pt idx="191">
                  <c:v>45421</c:v>
                </c:pt>
                <c:pt idx="192">
                  <c:v>45422</c:v>
                </c:pt>
                <c:pt idx="193">
                  <c:v>45425</c:v>
                </c:pt>
                <c:pt idx="194">
                  <c:v>45426</c:v>
                </c:pt>
                <c:pt idx="195">
                  <c:v>45427</c:v>
                </c:pt>
                <c:pt idx="196">
                  <c:v>45428</c:v>
                </c:pt>
                <c:pt idx="197">
                  <c:v>45429</c:v>
                </c:pt>
                <c:pt idx="198">
                  <c:v>45432</c:v>
                </c:pt>
                <c:pt idx="199">
                  <c:v>45433</c:v>
                </c:pt>
                <c:pt idx="200">
                  <c:v>45434</c:v>
                </c:pt>
                <c:pt idx="201">
                  <c:v>45435</c:v>
                </c:pt>
                <c:pt idx="202">
                  <c:v>45436</c:v>
                </c:pt>
                <c:pt idx="203">
                  <c:v>45439</c:v>
                </c:pt>
                <c:pt idx="204">
                  <c:v>45440</c:v>
                </c:pt>
                <c:pt idx="205">
                  <c:v>45441</c:v>
                </c:pt>
                <c:pt idx="206">
                  <c:v>45442</c:v>
                </c:pt>
                <c:pt idx="207">
                  <c:v>45443</c:v>
                </c:pt>
                <c:pt idx="208">
                  <c:v>45446</c:v>
                </c:pt>
                <c:pt idx="209">
                  <c:v>45447</c:v>
                </c:pt>
                <c:pt idx="210">
                  <c:v>45448</c:v>
                </c:pt>
                <c:pt idx="211">
                  <c:v>45449</c:v>
                </c:pt>
                <c:pt idx="212">
                  <c:v>45450</c:v>
                </c:pt>
                <c:pt idx="213">
                  <c:v>45454</c:v>
                </c:pt>
                <c:pt idx="214">
                  <c:v>45455</c:v>
                </c:pt>
                <c:pt idx="215">
                  <c:v>45456</c:v>
                </c:pt>
                <c:pt idx="216">
                  <c:v>45457</c:v>
                </c:pt>
                <c:pt idx="217">
                  <c:v>45460</c:v>
                </c:pt>
                <c:pt idx="218">
                  <c:v>45461</c:v>
                </c:pt>
                <c:pt idx="219">
                  <c:v>45462</c:v>
                </c:pt>
                <c:pt idx="220">
                  <c:v>45463</c:v>
                </c:pt>
                <c:pt idx="221">
                  <c:v>45464</c:v>
                </c:pt>
                <c:pt idx="222">
                  <c:v>45467</c:v>
                </c:pt>
                <c:pt idx="223">
                  <c:v>45468</c:v>
                </c:pt>
                <c:pt idx="224">
                  <c:v>45469</c:v>
                </c:pt>
                <c:pt idx="225">
                  <c:v>45470</c:v>
                </c:pt>
                <c:pt idx="226">
                  <c:v>45471</c:v>
                </c:pt>
                <c:pt idx="227">
                  <c:v>45474</c:v>
                </c:pt>
                <c:pt idx="228">
                  <c:v>45475</c:v>
                </c:pt>
                <c:pt idx="229">
                  <c:v>45476</c:v>
                </c:pt>
                <c:pt idx="230">
                  <c:v>45477</c:v>
                </c:pt>
                <c:pt idx="231">
                  <c:v>45478</c:v>
                </c:pt>
                <c:pt idx="232">
                  <c:v>45481</c:v>
                </c:pt>
                <c:pt idx="233">
                  <c:v>45482</c:v>
                </c:pt>
                <c:pt idx="234">
                  <c:v>45483</c:v>
                </c:pt>
                <c:pt idx="235">
                  <c:v>45484</c:v>
                </c:pt>
                <c:pt idx="236">
                  <c:v>45485</c:v>
                </c:pt>
                <c:pt idx="237">
                  <c:v>45488</c:v>
                </c:pt>
                <c:pt idx="238">
                  <c:v>45489</c:v>
                </c:pt>
                <c:pt idx="239">
                  <c:v>45490</c:v>
                </c:pt>
                <c:pt idx="240">
                  <c:v>45491</c:v>
                </c:pt>
                <c:pt idx="241">
                  <c:v>45492</c:v>
                </c:pt>
                <c:pt idx="242">
                  <c:v>45495</c:v>
                </c:pt>
                <c:pt idx="243">
                  <c:v>45496</c:v>
                </c:pt>
                <c:pt idx="244">
                  <c:v>45497</c:v>
                </c:pt>
                <c:pt idx="245">
                  <c:v>45498</c:v>
                </c:pt>
                <c:pt idx="246">
                  <c:v>45499</c:v>
                </c:pt>
                <c:pt idx="247">
                  <c:v>45502</c:v>
                </c:pt>
                <c:pt idx="248">
                  <c:v>45503</c:v>
                </c:pt>
                <c:pt idx="249">
                  <c:v>45504</c:v>
                </c:pt>
                <c:pt idx="250">
                  <c:v>45505</c:v>
                </c:pt>
                <c:pt idx="251">
                  <c:v>45506</c:v>
                </c:pt>
                <c:pt idx="252">
                  <c:v>45509</c:v>
                </c:pt>
                <c:pt idx="253">
                  <c:v>45510</c:v>
                </c:pt>
                <c:pt idx="254">
                  <c:v>45511</c:v>
                </c:pt>
                <c:pt idx="255">
                  <c:v>45512</c:v>
                </c:pt>
                <c:pt idx="256">
                  <c:v>45513</c:v>
                </c:pt>
                <c:pt idx="257">
                  <c:v>45516</c:v>
                </c:pt>
                <c:pt idx="258">
                  <c:v>45517</c:v>
                </c:pt>
                <c:pt idx="259">
                  <c:v>45518</c:v>
                </c:pt>
                <c:pt idx="260">
                  <c:v>45519</c:v>
                </c:pt>
                <c:pt idx="261">
                  <c:v>45520</c:v>
                </c:pt>
                <c:pt idx="262">
                  <c:v>45523</c:v>
                </c:pt>
                <c:pt idx="263">
                  <c:v>45524</c:v>
                </c:pt>
                <c:pt idx="264">
                  <c:v>45525</c:v>
                </c:pt>
                <c:pt idx="265">
                  <c:v>45526</c:v>
                </c:pt>
                <c:pt idx="266">
                  <c:v>45527</c:v>
                </c:pt>
                <c:pt idx="267">
                  <c:v>45530</c:v>
                </c:pt>
                <c:pt idx="268">
                  <c:v>45531</c:v>
                </c:pt>
                <c:pt idx="269">
                  <c:v>45532</c:v>
                </c:pt>
                <c:pt idx="270">
                  <c:v>45533</c:v>
                </c:pt>
                <c:pt idx="271">
                  <c:v>45534</c:v>
                </c:pt>
                <c:pt idx="272">
                  <c:v>45537</c:v>
                </c:pt>
                <c:pt idx="273">
                  <c:v>45538</c:v>
                </c:pt>
                <c:pt idx="274">
                  <c:v>45539</c:v>
                </c:pt>
                <c:pt idx="275">
                  <c:v>45540</c:v>
                </c:pt>
                <c:pt idx="276">
                  <c:v>45541</c:v>
                </c:pt>
                <c:pt idx="277">
                  <c:v>45544</c:v>
                </c:pt>
                <c:pt idx="278">
                  <c:v>45545</c:v>
                </c:pt>
                <c:pt idx="279">
                  <c:v>45546</c:v>
                </c:pt>
                <c:pt idx="280">
                  <c:v>45547</c:v>
                </c:pt>
                <c:pt idx="281">
                  <c:v>45548</c:v>
                </c:pt>
                <c:pt idx="282">
                  <c:v>45553</c:v>
                </c:pt>
                <c:pt idx="283">
                  <c:v>45554</c:v>
                </c:pt>
                <c:pt idx="284">
                  <c:v>45555</c:v>
                </c:pt>
                <c:pt idx="285">
                  <c:v>45558</c:v>
                </c:pt>
                <c:pt idx="286">
                  <c:v>45559</c:v>
                </c:pt>
                <c:pt idx="287">
                  <c:v>45560</c:v>
                </c:pt>
                <c:pt idx="288">
                  <c:v>45561</c:v>
                </c:pt>
                <c:pt idx="289">
                  <c:v>45562</c:v>
                </c:pt>
                <c:pt idx="290">
                  <c:v>45565</c:v>
                </c:pt>
                <c:pt idx="291">
                  <c:v>45573</c:v>
                </c:pt>
                <c:pt idx="292">
                  <c:v>45574</c:v>
                </c:pt>
                <c:pt idx="293">
                  <c:v>45575</c:v>
                </c:pt>
                <c:pt idx="294">
                  <c:v>45576</c:v>
                </c:pt>
                <c:pt idx="295">
                  <c:v>45579</c:v>
                </c:pt>
                <c:pt idx="296">
                  <c:v>45580</c:v>
                </c:pt>
                <c:pt idx="297">
                  <c:v>45581</c:v>
                </c:pt>
                <c:pt idx="298">
                  <c:v>45582</c:v>
                </c:pt>
                <c:pt idx="299">
                  <c:v>45583</c:v>
                </c:pt>
                <c:pt idx="300">
                  <c:v>45586</c:v>
                </c:pt>
                <c:pt idx="301">
                  <c:v>45587</c:v>
                </c:pt>
                <c:pt idx="302">
                  <c:v>45588</c:v>
                </c:pt>
                <c:pt idx="303">
                  <c:v>45589</c:v>
                </c:pt>
                <c:pt idx="304">
                  <c:v>45590</c:v>
                </c:pt>
                <c:pt idx="305">
                  <c:v>45593</c:v>
                </c:pt>
                <c:pt idx="306">
                  <c:v>45594</c:v>
                </c:pt>
                <c:pt idx="307">
                  <c:v>45595</c:v>
                </c:pt>
                <c:pt idx="308">
                  <c:v>45596</c:v>
                </c:pt>
                <c:pt idx="309">
                  <c:v>45597</c:v>
                </c:pt>
                <c:pt idx="310">
                  <c:v>45600</c:v>
                </c:pt>
                <c:pt idx="311">
                  <c:v>45601</c:v>
                </c:pt>
                <c:pt idx="312">
                  <c:v>45602</c:v>
                </c:pt>
                <c:pt idx="313">
                  <c:v>45603</c:v>
                </c:pt>
                <c:pt idx="314">
                  <c:v>45604</c:v>
                </c:pt>
                <c:pt idx="315">
                  <c:v>45607</c:v>
                </c:pt>
                <c:pt idx="316">
                  <c:v>45608</c:v>
                </c:pt>
                <c:pt idx="317">
                  <c:v>45609</c:v>
                </c:pt>
                <c:pt idx="318">
                  <c:v>45610</c:v>
                </c:pt>
                <c:pt idx="319">
                  <c:v>45611</c:v>
                </c:pt>
                <c:pt idx="320">
                  <c:v>45614</c:v>
                </c:pt>
                <c:pt idx="321">
                  <c:v>45615</c:v>
                </c:pt>
                <c:pt idx="322">
                  <c:v>45616</c:v>
                </c:pt>
                <c:pt idx="323">
                  <c:v>45617</c:v>
                </c:pt>
                <c:pt idx="324">
                  <c:v>45618</c:v>
                </c:pt>
                <c:pt idx="325">
                  <c:v>45621</c:v>
                </c:pt>
                <c:pt idx="326">
                  <c:v>45622</c:v>
                </c:pt>
                <c:pt idx="327">
                  <c:v>45623</c:v>
                </c:pt>
                <c:pt idx="328">
                  <c:v>45624</c:v>
                </c:pt>
                <c:pt idx="329">
                  <c:v>45625</c:v>
                </c:pt>
                <c:pt idx="330">
                  <c:v>45628</c:v>
                </c:pt>
                <c:pt idx="331">
                  <c:v>45629</c:v>
                </c:pt>
                <c:pt idx="332">
                  <c:v>45630</c:v>
                </c:pt>
                <c:pt idx="333">
                  <c:v>45631</c:v>
                </c:pt>
                <c:pt idx="334">
                  <c:v>45632</c:v>
                </c:pt>
                <c:pt idx="335">
                  <c:v>45635</c:v>
                </c:pt>
                <c:pt idx="336">
                  <c:v>45636</c:v>
                </c:pt>
                <c:pt idx="337">
                  <c:v>45637</c:v>
                </c:pt>
                <c:pt idx="338">
                  <c:v>45638</c:v>
                </c:pt>
                <c:pt idx="339">
                  <c:v>45639</c:v>
                </c:pt>
                <c:pt idx="340">
                  <c:v>45642</c:v>
                </c:pt>
                <c:pt idx="341">
                  <c:v>45643</c:v>
                </c:pt>
                <c:pt idx="342">
                  <c:v>45644</c:v>
                </c:pt>
                <c:pt idx="343">
                  <c:v>45645</c:v>
                </c:pt>
                <c:pt idx="344">
                  <c:v>45646</c:v>
                </c:pt>
                <c:pt idx="345">
                  <c:v>45649</c:v>
                </c:pt>
                <c:pt idx="346">
                  <c:v>45650</c:v>
                </c:pt>
                <c:pt idx="347">
                  <c:v>45651</c:v>
                </c:pt>
                <c:pt idx="348">
                  <c:v>45652</c:v>
                </c:pt>
                <c:pt idx="349">
                  <c:v>45653</c:v>
                </c:pt>
                <c:pt idx="350">
                  <c:v>45656</c:v>
                </c:pt>
                <c:pt idx="351">
                  <c:v>45657</c:v>
                </c:pt>
                <c:pt idx="352">
                  <c:v>45659</c:v>
                </c:pt>
                <c:pt idx="353">
                  <c:v>45660</c:v>
                </c:pt>
                <c:pt idx="354">
                  <c:v>45663</c:v>
                </c:pt>
                <c:pt idx="355">
                  <c:v>45664</c:v>
                </c:pt>
                <c:pt idx="356">
                  <c:v>45665</c:v>
                </c:pt>
                <c:pt idx="357">
                  <c:v>45666</c:v>
                </c:pt>
                <c:pt idx="358">
                  <c:v>45667</c:v>
                </c:pt>
                <c:pt idx="359">
                  <c:v>45670</c:v>
                </c:pt>
                <c:pt idx="360">
                  <c:v>45671</c:v>
                </c:pt>
                <c:pt idx="361">
                  <c:v>45672</c:v>
                </c:pt>
                <c:pt idx="362">
                  <c:v>45673</c:v>
                </c:pt>
                <c:pt idx="363">
                  <c:v>45674</c:v>
                </c:pt>
                <c:pt idx="364">
                  <c:v>45677</c:v>
                </c:pt>
                <c:pt idx="365">
                  <c:v>45678</c:v>
                </c:pt>
                <c:pt idx="366">
                  <c:v>45679</c:v>
                </c:pt>
                <c:pt idx="367">
                  <c:v>45680</c:v>
                </c:pt>
                <c:pt idx="368">
                  <c:v>45681</c:v>
                </c:pt>
                <c:pt idx="369">
                  <c:v>45684</c:v>
                </c:pt>
                <c:pt idx="370">
                  <c:v>45693</c:v>
                </c:pt>
                <c:pt idx="371">
                  <c:v>45694</c:v>
                </c:pt>
                <c:pt idx="372">
                  <c:v>45695</c:v>
                </c:pt>
                <c:pt idx="373">
                  <c:v>45698</c:v>
                </c:pt>
                <c:pt idx="374">
                  <c:v>45699</c:v>
                </c:pt>
                <c:pt idx="375">
                  <c:v>45700</c:v>
                </c:pt>
                <c:pt idx="376">
                  <c:v>45701</c:v>
                </c:pt>
                <c:pt idx="377">
                  <c:v>45702</c:v>
                </c:pt>
                <c:pt idx="378">
                  <c:v>45705</c:v>
                </c:pt>
                <c:pt idx="379">
                  <c:v>45706</c:v>
                </c:pt>
                <c:pt idx="380">
                  <c:v>45707</c:v>
                </c:pt>
                <c:pt idx="381">
                  <c:v>45708</c:v>
                </c:pt>
                <c:pt idx="382">
                  <c:v>45709</c:v>
                </c:pt>
                <c:pt idx="383">
                  <c:v>45712</c:v>
                </c:pt>
                <c:pt idx="384">
                  <c:v>45713</c:v>
                </c:pt>
                <c:pt idx="385">
                  <c:v>45714</c:v>
                </c:pt>
                <c:pt idx="386">
                  <c:v>45715</c:v>
                </c:pt>
                <c:pt idx="387">
                  <c:v>45716</c:v>
                </c:pt>
                <c:pt idx="388">
                  <c:v>45719</c:v>
                </c:pt>
                <c:pt idx="389">
                  <c:v>45720</c:v>
                </c:pt>
                <c:pt idx="390">
                  <c:v>45721</c:v>
                </c:pt>
                <c:pt idx="391">
                  <c:v>45722</c:v>
                </c:pt>
                <c:pt idx="392">
                  <c:v>45723</c:v>
                </c:pt>
                <c:pt idx="393">
                  <c:v>45726</c:v>
                </c:pt>
                <c:pt idx="394">
                  <c:v>45727</c:v>
                </c:pt>
                <c:pt idx="395">
                  <c:v>45728</c:v>
                </c:pt>
                <c:pt idx="396">
                  <c:v>45729</c:v>
                </c:pt>
                <c:pt idx="397">
                  <c:v>45730</c:v>
                </c:pt>
                <c:pt idx="398">
                  <c:v>45733</c:v>
                </c:pt>
                <c:pt idx="399">
                  <c:v>45734</c:v>
                </c:pt>
                <c:pt idx="400">
                  <c:v>45735</c:v>
                </c:pt>
                <c:pt idx="401">
                  <c:v>45736</c:v>
                </c:pt>
                <c:pt idx="402">
                  <c:v>45737</c:v>
                </c:pt>
                <c:pt idx="403">
                  <c:v>45740</c:v>
                </c:pt>
                <c:pt idx="404">
                  <c:v>45741</c:v>
                </c:pt>
                <c:pt idx="405">
                  <c:v>45742</c:v>
                </c:pt>
                <c:pt idx="406">
                  <c:v>45743</c:v>
                </c:pt>
                <c:pt idx="407">
                  <c:v>45744</c:v>
                </c:pt>
                <c:pt idx="408">
                  <c:v>45747</c:v>
                </c:pt>
                <c:pt idx="409">
                  <c:v>45748</c:v>
                </c:pt>
                <c:pt idx="410">
                  <c:v>45749</c:v>
                </c:pt>
                <c:pt idx="411">
                  <c:v>45750</c:v>
                </c:pt>
                <c:pt idx="412">
                  <c:v>45754</c:v>
                </c:pt>
                <c:pt idx="413">
                  <c:v>45755</c:v>
                </c:pt>
                <c:pt idx="414">
                  <c:v>45756</c:v>
                </c:pt>
                <c:pt idx="415">
                  <c:v>45757</c:v>
                </c:pt>
                <c:pt idx="416">
                  <c:v>45758</c:v>
                </c:pt>
                <c:pt idx="417">
                  <c:v>45761</c:v>
                </c:pt>
                <c:pt idx="418">
                  <c:v>45762</c:v>
                </c:pt>
                <c:pt idx="419">
                  <c:v>45763</c:v>
                </c:pt>
                <c:pt idx="420">
                  <c:v>45764</c:v>
                </c:pt>
                <c:pt idx="421">
                  <c:v>45765</c:v>
                </c:pt>
                <c:pt idx="422">
                  <c:v>45768</c:v>
                </c:pt>
                <c:pt idx="423">
                  <c:v>45769</c:v>
                </c:pt>
                <c:pt idx="424">
                  <c:v>45770</c:v>
                </c:pt>
                <c:pt idx="425">
                  <c:v>45771</c:v>
                </c:pt>
                <c:pt idx="426">
                  <c:v>45772</c:v>
                </c:pt>
                <c:pt idx="427">
                  <c:v>45775</c:v>
                </c:pt>
                <c:pt idx="428">
                  <c:v>45776</c:v>
                </c:pt>
                <c:pt idx="429">
                  <c:v>45777</c:v>
                </c:pt>
                <c:pt idx="430">
                  <c:v>45783</c:v>
                </c:pt>
                <c:pt idx="431">
                  <c:v>45784</c:v>
                </c:pt>
                <c:pt idx="432">
                  <c:v>45785</c:v>
                </c:pt>
                <c:pt idx="433">
                  <c:v>45786</c:v>
                </c:pt>
                <c:pt idx="434">
                  <c:v>45789</c:v>
                </c:pt>
                <c:pt idx="435">
                  <c:v>45790</c:v>
                </c:pt>
                <c:pt idx="436">
                  <c:v>45791</c:v>
                </c:pt>
                <c:pt idx="437">
                  <c:v>45792</c:v>
                </c:pt>
                <c:pt idx="438">
                  <c:v>45793</c:v>
                </c:pt>
                <c:pt idx="439">
                  <c:v>45796</c:v>
                </c:pt>
                <c:pt idx="440">
                  <c:v>45797</c:v>
                </c:pt>
                <c:pt idx="441">
                  <c:v>45798</c:v>
                </c:pt>
                <c:pt idx="442">
                  <c:v>45799</c:v>
                </c:pt>
                <c:pt idx="443">
                  <c:v>45800</c:v>
                </c:pt>
                <c:pt idx="444">
                  <c:v>45803</c:v>
                </c:pt>
                <c:pt idx="445">
                  <c:v>45804</c:v>
                </c:pt>
                <c:pt idx="446">
                  <c:v>45805</c:v>
                </c:pt>
                <c:pt idx="447">
                  <c:v>45806</c:v>
                </c:pt>
                <c:pt idx="448">
                  <c:v>45807</c:v>
                </c:pt>
                <c:pt idx="449">
                  <c:v>45811</c:v>
                </c:pt>
                <c:pt idx="450">
                  <c:v>45812</c:v>
                </c:pt>
                <c:pt idx="451">
                  <c:v>45813</c:v>
                </c:pt>
                <c:pt idx="452">
                  <c:v>45814</c:v>
                </c:pt>
                <c:pt idx="453">
                  <c:v>45817</c:v>
                </c:pt>
                <c:pt idx="454">
                  <c:v>45818</c:v>
                </c:pt>
                <c:pt idx="455">
                  <c:v>45819</c:v>
                </c:pt>
                <c:pt idx="456">
                  <c:v>45820</c:v>
                </c:pt>
                <c:pt idx="457">
                  <c:v>45821</c:v>
                </c:pt>
                <c:pt idx="458">
                  <c:v>45824</c:v>
                </c:pt>
                <c:pt idx="459">
                  <c:v>45825</c:v>
                </c:pt>
                <c:pt idx="460">
                  <c:v>45826</c:v>
                </c:pt>
                <c:pt idx="461">
                  <c:v>45827</c:v>
                </c:pt>
                <c:pt idx="462">
                  <c:v>45828</c:v>
                </c:pt>
                <c:pt idx="463">
                  <c:v>45831</c:v>
                </c:pt>
                <c:pt idx="464">
                  <c:v>45832</c:v>
                </c:pt>
                <c:pt idx="465">
                  <c:v>45833</c:v>
                </c:pt>
                <c:pt idx="466">
                  <c:v>45834</c:v>
                </c:pt>
                <c:pt idx="467">
                  <c:v>45835</c:v>
                </c:pt>
                <c:pt idx="468">
                  <c:v>45838</c:v>
                </c:pt>
                <c:pt idx="469">
                  <c:v>45839</c:v>
                </c:pt>
                <c:pt idx="470">
                  <c:v>45840</c:v>
                </c:pt>
                <c:pt idx="471">
                  <c:v>45841</c:v>
                </c:pt>
                <c:pt idx="472">
                  <c:v>45842</c:v>
                </c:pt>
                <c:pt idx="473">
                  <c:v>45845</c:v>
                </c:pt>
                <c:pt idx="474">
                  <c:v>45846</c:v>
                </c:pt>
                <c:pt idx="475">
                  <c:v>45847</c:v>
                </c:pt>
                <c:pt idx="476">
                  <c:v>45848</c:v>
                </c:pt>
                <c:pt idx="477">
                  <c:v>45849</c:v>
                </c:pt>
                <c:pt idx="478">
                  <c:v>45852</c:v>
                </c:pt>
                <c:pt idx="479">
                  <c:v>45853</c:v>
                </c:pt>
                <c:pt idx="480">
                  <c:v>45854</c:v>
                </c:pt>
                <c:pt idx="481">
                  <c:v>45855</c:v>
                </c:pt>
                <c:pt idx="482">
                  <c:v>45856</c:v>
                </c:pt>
                <c:pt idx="483">
                  <c:v>45859</c:v>
                </c:pt>
                <c:pt idx="484">
                  <c:v>45860</c:v>
                </c:pt>
                <c:pt idx="485">
                  <c:v>45861</c:v>
                </c:pt>
                <c:pt idx="486">
                  <c:v>45862</c:v>
                </c:pt>
                <c:pt idx="487">
                  <c:v>45863</c:v>
                </c:pt>
                <c:pt idx="488">
                  <c:v>45866</c:v>
                </c:pt>
                <c:pt idx="489">
                  <c:v>45867</c:v>
                </c:pt>
                <c:pt idx="490">
                  <c:v>45868</c:v>
                </c:pt>
                <c:pt idx="491">
                  <c:v>45869</c:v>
                </c:pt>
                <c:pt idx="492">
                  <c:v>45870</c:v>
                </c:pt>
                <c:pt idx="493">
                  <c:v>45873</c:v>
                </c:pt>
                <c:pt idx="494">
                  <c:v>45874</c:v>
                </c:pt>
                <c:pt idx="495">
                  <c:v>45875</c:v>
                </c:pt>
                <c:pt idx="496">
                  <c:v>45876</c:v>
                </c:pt>
                <c:pt idx="497">
                  <c:v>45877</c:v>
                </c:pt>
                <c:pt idx="498">
                  <c:v>45880</c:v>
                </c:pt>
                <c:pt idx="499">
                  <c:v>45881</c:v>
                </c:pt>
                <c:pt idx="500">
                  <c:v>45882</c:v>
                </c:pt>
                <c:pt idx="501">
                  <c:v>45883</c:v>
                </c:pt>
                <c:pt idx="502">
                  <c:v>45884</c:v>
                </c:pt>
                <c:pt idx="503">
                  <c:v>45887</c:v>
                </c:pt>
                <c:pt idx="504">
                  <c:v>45888</c:v>
                </c:pt>
                <c:pt idx="505">
                  <c:v>45889</c:v>
                </c:pt>
                <c:pt idx="506">
                  <c:v>45890</c:v>
                </c:pt>
                <c:pt idx="507">
                  <c:v>45891</c:v>
                </c:pt>
                <c:pt idx="508">
                  <c:v>45894</c:v>
                </c:pt>
                <c:pt idx="509">
                  <c:v>45895</c:v>
                </c:pt>
                <c:pt idx="510">
                  <c:v>45896</c:v>
                </c:pt>
                <c:pt idx="511">
                  <c:v>45897</c:v>
                </c:pt>
                <c:pt idx="512">
                  <c:v>45898</c:v>
                </c:pt>
                <c:pt idx="513">
                  <c:v>45901</c:v>
                </c:pt>
                <c:pt idx="514">
                  <c:v>45902</c:v>
                </c:pt>
                <c:pt idx="515">
                  <c:v>45903</c:v>
                </c:pt>
                <c:pt idx="516">
                  <c:v>45904</c:v>
                </c:pt>
                <c:pt idx="517">
                  <c:v>45905</c:v>
                </c:pt>
                <c:pt idx="518">
                  <c:v>45908</c:v>
                </c:pt>
                <c:pt idx="519">
                  <c:v>45909</c:v>
                </c:pt>
                <c:pt idx="520">
                  <c:v>45910</c:v>
                </c:pt>
                <c:pt idx="521">
                  <c:v>45911</c:v>
                </c:pt>
                <c:pt idx="522">
                  <c:v>45912</c:v>
                </c:pt>
                <c:pt idx="523">
                  <c:v>45915</c:v>
                </c:pt>
                <c:pt idx="524">
                  <c:v>45916</c:v>
                </c:pt>
                <c:pt idx="525">
                  <c:v>45917</c:v>
                </c:pt>
                <c:pt idx="526">
                  <c:v>45918</c:v>
                </c:pt>
                <c:pt idx="527">
                  <c:v>45919</c:v>
                </c:pt>
                <c:pt idx="528">
                  <c:v>45922</c:v>
                </c:pt>
                <c:pt idx="529">
                  <c:v>45923</c:v>
                </c:pt>
                <c:pt idx="530">
                  <c:v>45924</c:v>
                </c:pt>
                <c:pt idx="531">
                  <c:v>45925</c:v>
                </c:pt>
                <c:pt idx="532">
                  <c:v>45926</c:v>
                </c:pt>
                <c:pt idx="533">
                  <c:v>45929</c:v>
                </c:pt>
                <c:pt idx="534">
                  <c:v>45930</c:v>
                </c:pt>
                <c:pt idx="535">
                  <c:v>45931</c:v>
                </c:pt>
                <c:pt idx="536">
                  <c:v>45932</c:v>
                </c:pt>
                <c:pt idx="537">
                  <c:v>45933</c:v>
                </c:pt>
                <c:pt idx="538">
                  <c:v>45936</c:v>
                </c:pt>
                <c:pt idx="539">
                  <c:v>45937</c:v>
                </c:pt>
                <c:pt idx="540">
                  <c:v>45938</c:v>
                </c:pt>
                <c:pt idx="541">
                  <c:v>45939</c:v>
                </c:pt>
                <c:pt idx="542">
                  <c:v>45940</c:v>
                </c:pt>
                <c:pt idx="543">
                  <c:v>45943</c:v>
                </c:pt>
                <c:pt idx="544">
                  <c:v>45944</c:v>
                </c:pt>
                <c:pt idx="545">
                  <c:v>45945</c:v>
                </c:pt>
                <c:pt idx="546">
                  <c:v>45946</c:v>
                </c:pt>
                <c:pt idx="547">
                  <c:v>45947</c:v>
                </c:pt>
                <c:pt idx="548">
                  <c:v>45950</c:v>
                </c:pt>
                <c:pt idx="549">
                  <c:v>45951</c:v>
                </c:pt>
                <c:pt idx="550">
                  <c:v>45952</c:v>
                </c:pt>
                <c:pt idx="551">
                  <c:v>45953</c:v>
                </c:pt>
                <c:pt idx="552">
                  <c:v>45954</c:v>
                </c:pt>
                <c:pt idx="553">
                  <c:v>45957</c:v>
                </c:pt>
                <c:pt idx="554">
                  <c:v>45958</c:v>
                </c:pt>
                <c:pt idx="555">
                  <c:v>45959</c:v>
                </c:pt>
                <c:pt idx="556">
                  <c:v>45960</c:v>
                </c:pt>
                <c:pt idx="557">
                  <c:v>45961</c:v>
                </c:pt>
                <c:pt idx="558">
                  <c:v>45964</c:v>
                </c:pt>
                <c:pt idx="559">
                  <c:v>45965</c:v>
                </c:pt>
                <c:pt idx="560">
                  <c:v>45966</c:v>
                </c:pt>
                <c:pt idx="561">
                  <c:v>45967</c:v>
                </c:pt>
                <c:pt idx="562">
                  <c:v>45968</c:v>
                </c:pt>
                <c:pt idx="563">
                  <c:v>45971</c:v>
                </c:pt>
                <c:pt idx="564">
                  <c:v>45972</c:v>
                </c:pt>
                <c:pt idx="565">
                  <c:v>45973</c:v>
                </c:pt>
                <c:pt idx="566">
                  <c:v>45974</c:v>
                </c:pt>
                <c:pt idx="567">
                  <c:v>45975</c:v>
                </c:pt>
                <c:pt idx="568">
                  <c:v>45978</c:v>
                </c:pt>
                <c:pt idx="569">
                  <c:v>45979</c:v>
                </c:pt>
                <c:pt idx="570">
                  <c:v>45980</c:v>
                </c:pt>
                <c:pt idx="571">
                  <c:v>45981</c:v>
                </c:pt>
                <c:pt idx="572">
                  <c:v>45982</c:v>
                </c:pt>
                <c:pt idx="573">
                  <c:v>45985</c:v>
                </c:pt>
                <c:pt idx="574">
                  <c:v>45986</c:v>
                </c:pt>
                <c:pt idx="575">
                  <c:v>45987</c:v>
                </c:pt>
                <c:pt idx="576">
                  <c:v>45988</c:v>
                </c:pt>
                <c:pt idx="577">
                  <c:v>45989</c:v>
                </c:pt>
                <c:pt idx="578">
                  <c:v>45992</c:v>
                </c:pt>
                <c:pt idx="579">
                  <c:v>45993</c:v>
                </c:pt>
                <c:pt idx="580">
                  <c:v>45994</c:v>
                </c:pt>
                <c:pt idx="581">
                  <c:v>45995</c:v>
                </c:pt>
                <c:pt idx="582">
                  <c:v>45996</c:v>
                </c:pt>
                <c:pt idx="583">
                  <c:v>45999</c:v>
                </c:pt>
                <c:pt idx="584">
                  <c:v>46000</c:v>
                </c:pt>
                <c:pt idx="585">
                  <c:v>46001</c:v>
                </c:pt>
                <c:pt idx="586">
                  <c:v>46002</c:v>
                </c:pt>
                <c:pt idx="587">
                  <c:v>46003</c:v>
                </c:pt>
                <c:pt idx="588">
                  <c:v>46006</c:v>
                </c:pt>
                <c:pt idx="589">
                  <c:v>46007</c:v>
                </c:pt>
                <c:pt idx="590">
                  <c:v>46008</c:v>
                </c:pt>
                <c:pt idx="591">
                  <c:v>46009</c:v>
                </c:pt>
                <c:pt idx="592">
                  <c:v>46010</c:v>
                </c:pt>
                <c:pt idx="593">
                  <c:v>46013</c:v>
                </c:pt>
                <c:pt idx="594">
                  <c:v>46014</c:v>
                </c:pt>
                <c:pt idx="595">
                  <c:v>46015</c:v>
                </c:pt>
                <c:pt idx="596">
                  <c:v>46016</c:v>
                </c:pt>
                <c:pt idx="597">
                  <c:v>46017</c:v>
                </c:pt>
                <c:pt idx="598">
                  <c:v>46020</c:v>
                </c:pt>
                <c:pt idx="599">
                  <c:v>46021</c:v>
                </c:pt>
                <c:pt idx="600">
                  <c:v>46022</c:v>
                </c:pt>
                <c:pt idx="601">
                  <c:v>46023</c:v>
                </c:pt>
                <c:pt idx="602">
                  <c:v>46024</c:v>
                </c:pt>
                <c:pt idx="603">
                  <c:v>46027</c:v>
                </c:pt>
                <c:pt idx="604">
                  <c:v>46028</c:v>
                </c:pt>
                <c:pt idx="605">
                  <c:v>46029</c:v>
                </c:pt>
                <c:pt idx="606">
                  <c:v>46030</c:v>
                </c:pt>
                <c:pt idx="607">
                  <c:v>46031</c:v>
                </c:pt>
                <c:pt idx="608">
                  <c:v>46034</c:v>
                </c:pt>
                <c:pt idx="609">
                  <c:v>46035</c:v>
                </c:pt>
                <c:pt idx="610">
                  <c:v>46036</c:v>
                </c:pt>
                <c:pt idx="611">
                  <c:v>46037</c:v>
                </c:pt>
                <c:pt idx="612">
                  <c:v>46038</c:v>
                </c:pt>
                <c:pt idx="613">
                  <c:v>46041</c:v>
                </c:pt>
                <c:pt idx="614">
                  <c:v>46042</c:v>
                </c:pt>
                <c:pt idx="615">
                  <c:v>46043</c:v>
                </c:pt>
                <c:pt idx="616">
                  <c:v>46044</c:v>
                </c:pt>
                <c:pt idx="617">
                  <c:v>46045</c:v>
                </c:pt>
                <c:pt idx="618">
                  <c:v>46048</c:v>
                </c:pt>
                <c:pt idx="619">
                  <c:v>46049</c:v>
                </c:pt>
                <c:pt idx="620">
                  <c:v>46050</c:v>
                </c:pt>
                <c:pt idx="621">
                  <c:v>46051</c:v>
                </c:pt>
                <c:pt idx="622">
                  <c:v>46052</c:v>
                </c:pt>
                <c:pt idx="623">
                  <c:v>46055</c:v>
                </c:pt>
                <c:pt idx="624">
                  <c:v>46056</c:v>
                </c:pt>
                <c:pt idx="625">
                  <c:v>46057</c:v>
                </c:pt>
                <c:pt idx="626">
                  <c:v>46058</c:v>
                </c:pt>
                <c:pt idx="627">
                  <c:v>46059</c:v>
                </c:pt>
                <c:pt idx="628">
                  <c:v>46062</c:v>
                </c:pt>
                <c:pt idx="629">
                  <c:v>46063</c:v>
                </c:pt>
                <c:pt idx="630">
                  <c:v>46064</c:v>
                </c:pt>
                <c:pt idx="631">
                  <c:v>46065</c:v>
                </c:pt>
                <c:pt idx="632">
                  <c:v>46066</c:v>
                </c:pt>
                <c:pt idx="633">
                  <c:v>46069</c:v>
                </c:pt>
                <c:pt idx="634">
                  <c:v>46070</c:v>
                </c:pt>
                <c:pt idx="635">
                  <c:v>46071</c:v>
                </c:pt>
                <c:pt idx="636">
                  <c:v>46072</c:v>
                </c:pt>
                <c:pt idx="637">
                  <c:v>46073</c:v>
                </c:pt>
                <c:pt idx="638">
                  <c:v>46076</c:v>
                </c:pt>
                <c:pt idx="639">
                  <c:v>46077</c:v>
                </c:pt>
                <c:pt idx="640">
                  <c:v>46078</c:v>
                </c:pt>
                <c:pt idx="641">
                  <c:v>46079</c:v>
                </c:pt>
                <c:pt idx="642">
                  <c:v>46080</c:v>
                </c:pt>
                <c:pt idx="643">
                  <c:v>46083</c:v>
                </c:pt>
                <c:pt idx="644">
                  <c:v>46084</c:v>
                </c:pt>
                <c:pt idx="645">
                  <c:v>46085</c:v>
                </c:pt>
                <c:pt idx="646">
                  <c:v>46086</c:v>
                </c:pt>
                <c:pt idx="647">
                  <c:v>46087</c:v>
                </c:pt>
                <c:pt idx="648">
                  <c:v>46090</c:v>
                </c:pt>
                <c:pt idx="649">
                  <c:v>46091</c:v>
                </c:pt>
                <c:pt idx="650">
                  <c:v>46092</c:v>
                </c:pt>
                <c:pt idx="651">
                  <c:v>46093</c:v>
                </c:pt>
                <c:pt idx="652">
                  <c:v>46094</c:v>
                </c:pt>
                <c:pt idx="653">
                  <c:v>46097</c:v>
                </c:pt>
                <c:pt idx="654">
                  <c:v>46098</c:v>
                </c:pt>
                <c:pt idx="655">
                  <c:v>46099</c:v>
                </c:pt>
                <c:pt idx="656">
                  <c:v>46100</c:v>
                </c:pt>
                <c:pt idx="657">
                  <c:v>46101</c:v>
                </c:pt>
                <c:pt idx="658">
                  <c:v>46104</c:v>
                </c:pt>
                <c:pt idx="659">
                  <c:v>46105</c:v>
                </c:pt>
                <c:pt idx="660">
                  <c:v>46106</c:v>
                </c:pt>
                <c:pt idx="661">
                  <c:v>46107</c:v>
                </c:pt>
                <c:pt idx="662">
                  <c:v>46108</c:v>
                </c:pt>
                <c:pt idx="663">
                  <c:v>46111</c:v>
                </c:pt>
                <c:pt idx="664">
                  <c:v>46112</c:v>
                </c:pt>
                <c:pt idx="665">
                  <c:v>46113</c:v>
                </c:pt>
                <c:pt idx="666">
                  <c:v>46114</c:v>
                </c:pt>
                <c:pt idx="667">
                  <c:v>46115</c:v>
                </c:pt>
                <c:pt idx="668">
                  <c:v>46118</c:v>
                </c:pt>
                <c:pt idx="669">
                  <c:v>46119</c:v>
                </c:pt>
                <c:pt idx="670">
                  <c:v>46120</c:v>
                </c:pt>
                <c:pt idx="671">
                  <c:v>46121</c:v>
                </c:pt>
                <c:pt idx="672">
                  <c:v>46122</c:v>
                </c:pt>
                <c:pt idx="673">
                  <c:v>46125</c:v>
                </c:pt>
                <c:pt idx="674">
                  <c:v>46126</c:v>
                </c:pt>
                <c:pt idx="675">
                  <c:v>46127</c:v>
                </c:pt>
                <c:pt idx="676">
                  <c:v>46128</c:v>
                </c:pt>
                <c:pt idx="677">
                  <c:v>46129</c:v>
                </c:pt>
                <c:pt idx="678">
                  <c:v>46132</c:v>
                </c:pt>
                <c:pt idx="679">
                  <c:v>46133</c:v>
                </c:pt>
                <c:pt idx="680">
                  <c:v>46134</c:v>
                </c:pt>
                <c:pt idx="681">
                  <c:v>46135</c:v>
                </c:pt>
                <c:pt idx="682">
                  <c:v>46136</c:v>
                </c:pt>
                <c:pt idx="683">
                  <c:v>46139</c:v>
                </c:pt>
                <c:pt idx="684">
                  <c:v>46140</c:v>
                </c:pt>
                <c:pt idx="685">
                  <c:v>46141</c:v>
                </c:pt>
                <c:pt idx="686">
                  <c:v>46142</c:v>
                </c:pt>
                <c:pt idx="687">
                  <c:v>46143</c:v>
                </c:pt>
                <c:pt idx="688">
                  <c:v>46146</c:v>
                </c:pt>
                <c:pt idx="689">
                  <c:v>46147</c:v>
                </c:pt>
                <c:pt idx="690">
                  <c:v>46148</c:v>
                </c:pt>
                <c:pt idx="691">
                  <c:v>46149</c:v>
                </c:pt>
                <c:pt idx="692">
                  <c:v>46150</c:v>
                </c:pt>
                <c:pt idx="693">
                  <c:v>46153</c:v>
                </c:pt>
                <c:pt idx="694">
                  <c:v>46154</c:v>
                </c:pt>
                <c:pt idx="695">
                  <c:v>46155</c:v>
                </c:pt>
                <c:pt idx="696">
                  <c:v>46156</c:v>
                </c:pt>
                <c:pt idx="697">
                  <c:v>46157</c:v>
                </c:pt>
                <c:pt idx="698">
                  <c:v>46160</c:v>
                </c:pt>
                <c:pt idx="699">
                  <c:v>46161</c:v>
                </c:pt>
                <c:pt idx="700">
                  <c:v>46162</c:v>
                </c:pt>
                <c:pt idx="701">
                  <c:v>46163</c:v>
                </c:pt>
                <c:pt idx="702">
                  <c:v>46164</c:v>
                </c:pt>
                <c:pt idx="703">
                  <c:v>46167</c:v>
                </c:pt>
                <c:pt idx="704">
                  <c:v>46168</c:v>
                </c:pt>
                <c:pt idx="705">
                  <c:v>46169</c:v>
                </c:pt>
                <c:pt idx="706">
                  <c:v>46170</c:v>
                </c:pt>
                <c:pt idx="707">
                  <c:v>46171</c:v>
                </c:pt>
                <c:pt idx="708">
                  <c:v>46174</c:v>
                </c:pt>
                <c:pt idx="709">
                  <c:v>46175</c:v>
                </c:pt>
                <c:pt idx="710">
                  <c:v>46176</c:v>
                </c:pt>
                <c:pt idx="711">
                  <c:v>46177</c:v>
                </c:pt>
                <c:pt idx="712">
                  <c:v>46178</c:v>
                </c:pt>
                <c:pt idx="713">
                  <c:v>46181</c:v>
                </c:pt>
                <c:pt idx="714">
                  <c:v>46182</c:v>
                </c:pt>
                <c:pt idx="715">
                  <c:v>46183</c:v>
                </c:pt>
                <c:pt idx="716">
                  <c:v>46184</c:v>
                </c:pt>
                <c:pt idx="717">
                  <c:v>46185</c:v>
                </c:pt>
                <c:pt idx="718">
                  <c:v>46188</c:v>
                </c:pt>
                <c:pt idx="719">
                  <c:v>46189</c:v>
                </c:pt>
                <c:pt idx="720">
                  <c:v>46190</c:v>
                </c:pt>
                <c:pt idx="721">
                  <c:v>46191</c:v>
                </c:pt>
                <c:pt idx="722">
                  <c:v>46192</c:v>
                </c:pt>
                <c:pt idx="723">
                  <c:v>46195</c:v>
                </c:pt>
                <c:pt idx="724">
                  <c:v>46196</c:v>
                </c:pt>
                <c:pt idx="725">
                  <c:v>46197</c:v>
                </c:pt>
                <c:pt idx="726">
                  <c:v>46198</c:v>
                </c:pt>
                <c:pt idx="727">
                  <c:v>46199</c:v>
                </c:pt>
                <c:pt idx="728">
                  <c:v>46202</c:v>
                </c:pt>
                <c:pt idx="729">
                  <c:v>46203</c:v>
                </c:pt>
                <c:pt idx="730">
                  <c:v>46204</c:v>
                </c:pt>
                <c:pt idx="731">
                  <c:v>46205</c:v>
                </c:pt>
                <c:pt idx="732">
                  <c:v>46206</c:v>
                </c:pt>
                <c:pt idx="733">
                  <c:v>46209</c:v>
                </c:pt>
                <c:pt idx="734">
                  <c:v>46210</c:v>
                </c:pt>
                <c:pt idx="735">
                  <c:v>46211</c:v>
                </c:pt>
                <c:pt idx="736">
                  <c:v>46212</c:v>
                </c:pt>
                <c:pt idx="737">
                  <c:v>46213</c:v>
                </c:pt>
                <c:pt idx="738">
                  <c:v>46216</c:v>
                </c:pt>
                <c:pt idx="739">
                  <c:v>46217</c:v>
                </c:pt>
                <c:pt idx="740">
                  <c:v>46218</c:v>
                </c:pt>
                <c:pt idx="741">
                  <c:v>46219</c:v>
                </c:pt>
                <c:pt idx="742">
                  <c:v>46220</c:v>
                </c:pt>
                <c:pt idx="743">
                  <c:v>46223</c:v>
                </c:pt>
                <c:pt idx="744">
                  <c:v>46224</c:v>
                </c:pt>
                <c:pt idx="745">
                  <c:v>46225</c:v>
                </c:pt>
                <c:pt idx="746">
                  <c:v>46226</c:v>
                </c:pt>
                <c:pt idx="747">
                  <c:v>46227</c:v>
                </c:pt>
                <c:pt idx="748">
                  <c:v>46230</c:v>
                </c:pt>
                <c:pt idx="749">
                  <c:v>46231</c:v>
                </c:pt>
                <c:pt idx="750">
                  <c:v>46232</c:v>
                </c:pt>
                <c:pt idx="751">
                  <c:v>46233</c:v>
                </c:pt>
                <c:pt idx="752">
                  <c:v>46234</c:v>
                </c:pt>
                <c:pt idx="753">
                  <c:v>46237</c:v>
                </c:pt>
                <c:pt idx="754">
                  <c:v>46238</c:v>
                </c:pt>
                <c:pt idx="755">
                  <c:v>46239</c:v>
                </c:pt>
                <c:pt idx="756">
                  <c:v>46240</c:v>
                </c:pt>
                <c:pt idx="757">
                  <c:v>46241</c:v>
                </c:pt>
                <c:pt idx="758">
                  <c:v>46244</c:v>
                </c:pt>
                <c:pt idx="759">
                  <c:v>46245</c:v>
                </c:pt>
                <c:pt idx="760">
                  <c:v>46246</c:v>
                </c:pt>
                <c:pt idx="761">
                  <c:v>46247</c:v>
                </c:pt>
                <c:pt idx="762">
                  <c:v>46248</c:v>
                </c:pt>
                <c:pt idx="763">
                  <c:v>46251</c:v>
                </c:pt>
                <c:pt idx="764">
                  <c:v>46252</c:v>
                </c:pt>
                <c:pt idx="765">
                  <c:v>46253</c:v>
                </c:pt>
                <c:pt idx="766">
                  <c:v>46254</c:v>
                </c:pt>
                <c:pt idx="767">
                  <c:v>46255</c:v>
                </c:pt>
                <c:pt idx="768">
                  <c:v>46258</c:v>
                </c:pt>
                <c:pt idx="769">
                  <c:v>46259</c:v>
                </c:pt>
                <c:pt idx="770">
                  <c:v>46260</c:v>
                </c:pt>
                <c:pt idx="771">
                  <c:v>46261</c:v>
                </c:pt>
                <c:pt idx="772">
                  <c:v>46262</c:v>
                </c:pt>
                <c:pt idx="773">
                  <c:v>46265</c:v>
                </c:pt>
                <c:pt idx="774">
                  <c:v>46266</c:v>
                </c:pt>
                <c:pt idx="775">
                  <c:v>46267</c:v>
                </c:pt>
                <c:pt idx="776">
                  <c:v>46268</c:v>
                </c:pt>
                <c:pt idx="777">
                  <c:v>46269</c:v>
                </c:pt>
                <c:pt idx="778">
                  <c:v>46272</c:v>
                </c:pt>
                <c:pt idx="779">
                  <c:v>46273</c:v>
                </c:pt>
                <c:pt idx="780">
                  <c:v>46274</c:v>
                </c:pt>
                <c:pt idx="781">
                  <c:v>46275</c:v>
                </c:pt>
                <c:pt idx="782">
                  <c:v>46276</c:v>
                </c:pt>
                <c:pt idx="783">
                  <c:v>46279</c:v>
                </c:pt>
                <c:pt idx="784">
                  <c:v>46280</c:v>
                </c:pt>
                <c:pt idx="785">
                  <c:v>46281</c:v>
                </c:pt>
                <c:pt idx="786">
                  <c:v>46282</c:v>
                </c:pt>
                <c:pt idx="787">
                  <c:v>46283</c:v>
                </c:pt>
                <c:pt idx="788">
                  <c:v>46286</c:v>
                </c:pt>
                <c:pt idx="789">
                  <c:v>46287</c:v>
                </c:pt>
                <c:pt idx="790">
                  <c:v>46288</c:v>
                </c:pt>
                <c:pt idx="791">
                  <c:v>46289</c:v>
                </c:pt>
                <c:pt idx="792">
                  <c:v>46290</c:v>
                </c:pt>
                <c:pt idx="793">
                  <c:v>46293</c:v>
                </c:pt>
                <c:pt idx="794">
                  <c:v>46294</c:v>
                </c:pt>
                <c:pt idx="795">
                  <c:v>46295</c:v>
                </c:pt>
                <c:pt idx="796">
                  <c:v>46296</c:v>
                </c:pt>
                <c:pt idx="797">
                  <c:v>46297</c:v>
                </c:pt>
                <c:pt idx="798">
                  <c:v>46300</c:v>
                </c:pt>
                <c:pt idx="799">
                  <c:v>46301</c:v>
                </c:pt>
                <c:pt idx="800">
                  <c:v>46302</c:v>
                </c:pt>
                <c:pt idx="801">
                  <c:v>46303</c:v>
                </c:pt>
                <c:pt idx="802">
                  <c:v>46304</c:v>
                </c:pt>
                <c:pt idx="803">
                  <c:v>46307</c:v>
                </c:pt>
                <c:pt idx="804">
                  <c:v>46308</c:v>
                </c:pt>
                <c:pt idx="805">
                  <c:v>46309</c:v>
                </c:pt>
                <c:pt idx="806">
                  <c:v>46310</c:v>
                </c:pt>
                <c:pt idx="807">
                  <c:v>46311</c:v>
                </c:pt>
                <c:pt idx="808">
                  <c:v>46314</c:v>
                </c:pt>
                <c:pt idx="809">
                  <c:v>46315</c:v>
                </c:pt>
                <c:pt idx="810">
                  <c:v>46316</c:v>
                </c:pt>
                <c:pt idx="811">
                  <c:v>46317</c:v>
                </c:pt>
                <c:pt idx="812">
                  <c:v>46318</c:v>
                </c:pt>
                <c:pt idx="813">
                  <c:v>46321</c:v>
                </c:pt>
                <c:pt idx="814">
                  <c:v>46322</c:v>
                </c:pt>
                <c:pt idx="815">
                  <c:v>46323</c:v>
                </c:pt>
                <c:pt idx="816">
                  <c:v>46324</c:v>
                </c:pt>
                <c:pt idx="817">
                  <c:v>46325</c:v>
                </c:pt>
                <c:pt idx="818">
                  <c:v>46328</c:v>
                </c:pt>
                <c:pt idx="819">
                  <c:v>46329</c:v>
                </c:pt>
                <c:pt idx="820">
                  <c:v>46330</c:v>
                </c:pt>
                <c:pt idx="821">
                  <c:v>46331</c:v>
                </c:pt>
                <c:pt idx="822">
                  <c:v>46332</c:v>
                </c:pt>
                <c:pt idx="823">
                  <c:v>46335</c:v>
                </c:pt>
                <c:pt idx="824">
                  <c:v>46336</c:v>
                </c:pt>
                <c:pt idx="825">
                  <c:v>46337</c:v>
                </c:pt>
                <c:pt idx="826">
                  <c:v>46338</c:v>
                </c:pt>
                <c:pt idx="827">
                  <c:v>46339</c:v>
                </c:pt>
                <c:pt idx="828">
                  <c:v>46342</c:v>
                </c:pt>
                <c:pt idx="829">
                  <c:v>46343</c:v>
                </c:pt>
                <c:pt idx="830">
                  <c:v>46344</c:v>
                </c:pt>
                <c:pt idx="831">
                  <c:v>46345</c:v>
                </c:pt>
                <c:pt idx="832">
                  <c:v>46346</c:v>
                </c:pt>
                <c:pt idx="833">
                  <c:v>46349</c:v>
                </c:pt>
                <c:pt idx="834">
                  <c:v>46350</c:v>
                </c:pt>
                <c:pt idx="835">
                  <c:v>46351</c:v>
                </c:pt>
                <c:pt idx="836">
                  <c:v>46352</c:v>
                </c:pt>
                <c:pt idx="837">
                  <c:v>46353</c:v>
                </c:pt>
                <c:pt idx="838">
                  <c:v>46356</c:v>
                </c:pt>
                <c:pt idx="839">
                  <c:v>46357</c:v>
                </c:pt>
                <c:pt idx="840">
                  <c:v>46358</c:v>
                </c:pt>
                <c:pt idx="841">
                  <c:v>46359</c:v>
                </c:pt>
                <c:pt idx="842">
                  <c:v>46360</c:v>
                </c:pt>
                <c:pt idx="843">
                  <c:v>46363</c:v>
                </c:pt>
                <c:pt idx="844">
                  <c:v>46364</c:v>
                </c:pt>
                <c:pt idx="845">
                  <c:v>46365</c:v>
                </c:pt>
                <c:pt idx="846">
                  <c:v>46366</c:v>
                </c:pt>
                <c:pt idx="847">
                  <c:v>46367</c:v>
                </c:pt>
                <c:pt idx="848">
                  <c:v>46370</c:v>
                </c:pt>
                <c:pt idx="849">
                  <c:v>46371</c:v>
                </c:pt>
                <c:pt idx="850">
                  <c:v>46372</c:v>
                </c:pt>
                <c:pt idx="851">
                  <c:v>46373</c:v>
                </c:pt>
                <c:pt idx="852">
                  <c:v>46374</c:v>
                </c:pt>
                <c:pt idx="853">
                  <c:v>46377</c:v>
                </c:pt>
                <c:pt idx="854">
                  <c:v>46378</c:v>
                </c:pt>
                <c:pt idx="855">
                  <c:v>46379</c:v>
                </c:pt>
                <c:pt idx="856">
                  <c:v>46380</c:v>
                </c:pt>
                <c:pt idx="857">
                  <c:v>46381</c:v>
                </c:pt>
                <c:pt idx="858">
                  <c:v>46384</c:v>
                </c:pt>
                <c:pt idx="859">
                  <c:v>46385</c:v>
                </c:pt>
                <c:pt idx="860">
                  <c:v>46386</c:v>
                </c:pt>
                <c:pt idx="861">
                  <c:v>46387</c:v>
                </c:pt>
                <c:pt idx="862">
                  <c:v>46388</c:v>
                </c:pt>
                <c:pt idx="863">
                  <c:v>46391</c:v>
                </c:pt>
                <c:pt idx="864">
                  <c:v>46392</c:v>
                </c:pt>
                <c:pt idx="865">
                  <c:v>46393</c:v>
                </c:pt>
                <c:pt idx="866">
                  <c:v>46394</c:v>
                </c:pt>
                <c:pt idx="867">
                  <c:v>46395</c:v>
                </c:pt>
                <c:pt idx="868">
                  <c:v>46398</c:v>
                </c:pt>
                <c:pt idx="869">
                  <c:v>46399</c:v>
                </c:pt>
                <c:pt idx="870">
                  <c:v>46400</c:v>
                </c:pt>
                <c:pt idx="871">
                  <c:v>46401</c:v>
                </c:pt>
                <c:pt idx="872">
                  <c:v>46402</c:v>
                </c:pt>
                <c:pt idx="873">
                  <c:v>46405</c:v>
                </c:pt>
                <c:pt idx="874">
                  <c:v>46406</c:v>
                </c:pt>
                <c:pt idx="875">
                  <c:v>46407</c:v>
                </c:pt>
                <c:pt idx="876">
                  <c:v>46408</c:v>
                </c:pt>
                <c:pt idx="877">
                  <c:v>46409</c:v>
                </c:pt>
                <c:pt idx="878">
                  <c:v>46412</c:v>
                </c:pt>
                <c:pt idx="879">
                  <c:v>46413</c:v>
                </c:pt>
                <c:pt idx="880">
                  <c:v>46414</c:v>
                </c:pt>
                <c:pt idx="881">
                  <c:v>46415</c:v>
                </c:pt>
                <c:pt idx="882">
                  <c:v>46416</c:v>
                </c:pt>
                <c:pt idx="883">
                  <c:v>46419</c:v>
                </c:pt>
                <c:pt idx="884">
                  <c:v>46420</c:v>
                </c:pt>
                <c:pt idx="885">
                  <c:v>46421</c:v>
                </c:pt>
                <c:pt idx="886">
                  <c:v>46422</c:v>
                </c:pt>
                <c:pt idx="887">
                  <c:v>46423</c:v>
                </c:pt>
                <c:pt idx="888">
                  <c:v>46426</c:v>
                </c:pt>
                <c:pt idx="889">
                  <c:v>46427</c:v>
                </c:pt>
                <c:pt idx="890">
                  <c:v>46428</c:v>
                </c:pt>
                <c:pt idx="891">
                  <c:v>46429</c:v>
                </c:pt>
                <c:pt idx="892">
                  <c:v>46430</c:v>
                </c:pt>
                <c:pt idx="893">
                  <c:v>46433</c:v>
                </c:pt>
                <c:pt idx="894">
                  <c:v>46434</c:v>
                </c:pt>
                <c:pt idx="895">
                  <c:v>46435</c:v>
                </c:pt>
                <c:pt idx="896">
                  <c:v>46436</c:v>
                </c:pt>
                <c:pt idx="897">
                  <c:v>46437</c:v>
                </c:pt>
                <c:pt idx="898">
                  <c:v>46440</c:v>
                </c:pt>
                <c:pt idx="899">
                  <c:v>46441</c:v>
                </c:pt>
                <c:pt idx="900">
                  <c:v>46442</c:v>
                </c:pt>
                <c:pt idx="901">
                  <c:v>46443</c:v>
                </c:pt>
                <c:pt idx="902">
                  <c:v>46444</c:v>
                </c:pt>
                <c:pt idx="903">
                  <c:v>46447</c:v>
                </c:pt>
                <c:pt idx="904">
                  <c:v>46448</c:v>
                </c:pt>
                <c:pt idx="905">
                  <c:v>46449</c:v>
                </c:pt>
                <c:pt idx="906">
                  <c:v>46450</c:v>
                </c:pt>
                <c:pt idx="907">
                  <c:v>46451</c:v>
                </c:pt>
                <c:pt idx="908">
                  <c:v>46454</c:v>
                </c:pt>
                <c:pt idx="909">
                  <c:v>46455</c:v>
                </c:pt>
                <c:pt idx="910">
                  <c:v>46456</c:v>
                </c:pt>
                <c:pt idx="911">
                  <c:v>46457</c:v>
                </c:pt>
                <c:pt idx="912">
                  <c:v>46458</c:v>
                </c:pt>
                <c:pt idx="913">
                  <c:v>46461</c:v>
                </c:pt>
                <c:pt idx="914">
                  <c:v>46462</c:v>
                </c:pt>
                <c:pt idx="915">
                  <c:v>46463</c:v>
                </c:pt>
                <c:pt idx="916">
                  <c:v>46464</c:v>
                </c:pt>
                <c:pt idx="917">
                  <c:v>46465</c:v>
                </c:pt>
                <c:pt idx="918">
                  <c:v>46468</c:v>
                </c:pt>
                <c:pt idx="919">
                  <c:v>46469</c:v>
                </c:pt>
                <c:pt idx="920">
                  <c:v>46470</c:v>
                </c:pt>
                <c:pt idx="921">
                  <c:v>46471</c:v>
                </c:pt>
                <c:pt idx="922">
                  <c:v>46472</c:v>
                </c:pt>
                <c:pt idx="923">
                  <c:v>46475</c:v>
                </c:pt>
                <c:pt idx="924">
                  <c:v>46476</c:v>
                </c:pt>
                <c:pt idx="925">
                  <c:v>46477</c:v>
                </c:pt>
                <c:pt idx="926">
                  <c:v>46478</c:v>
                </c:pt>
                <c:pt idx="927">
                  <c:v>46479</c:v>
                </c:pt>
                <c:pt idx="928">
                  <c:v>46482</c:v>
                </c:pt>
                <c:pt idx="929">
                  <c:v>46483</c:v>
                </c:pt>
                <c:pt idx="930">
                  <c:v>46484</c:v>
                </c:pt>
                <c:pt idx="931">
                  <c:v>46485</c:v>
                </c:pt>
                <c:pt idx="932">
                  <c:v>46486</c:v>
                </c:pt>
                <c:pt idx="933">
                  <c:v>46489</c:v>
                </c:pt>
                <c:pt idx="934">
                  <c:v>46490</c:v>
                </c:pt>
                <c:pt idx="935">
                  <c:v>46491</c:v>
                </c:pt>
                <c:pt idx="936">
                  <c:v>46492</c:v>
                </c:pt>
                <c:pt idx="937">
                  <c:v>46493</c:v>
                </c:pt>
                <c:pt idx="938">
                  <c:v>46496</c:v>
                </c:pt>
                <c:pt idx="939">
                  <c:v>46497</c:v>
                </c:pt>
                <c:pt idx="940">
                  <c:v>46498</c:v>
                </c:pt>
                <c:pt idx="941">
                  <c:v>46499</c:v>
                </c:pt>
                <c:pt idx="942">
                  <c:v>46500</c:v>
                </c:pt>
                <c:pt idx="943">
                  <c:v>46503</c:v>
                </c:pt>
                <c:pt idx="944">
                  <c:v>46504</c:v>
                </c:pt>
                <c:pt idx="945">
                  <c:v>46505</c:v>
                </c:pt>
                <c:pt idx="946">
                  <c:v>46506</c:v>
                </c:pt>
                <c:pt idx="947">
                  <c:v>46507</c:v>
                </c:pt>
                <c:pt idx="948">
                  <c:v>46510</c:v>
                </c:pt>
                <c:pt idx="949">
                  <c:v>46511</c:v>
                </c:pt>
                <c:pt idx="950">
                  <c:v>46512</c:v>
                </c:pt>
                <c:pt idx="951">
                  <c:v>46513</c:v>
                </c:pt>
                <c:pt idx="952">
                  <c:v>46514</c:v>
                </c:pt>
                <c:pt idx="953">
                  <c:v>46517</c:v>
                </c:pt>
                <c:pt idx="954">
                  <c:v>46518</c:v>
                </c:pt>
                <c:pt idx="955">
                  <c:v>46519</c:v>
                </c:pt>
                <c:pt idx="956">
                  <c:v>46520</c:v>
                </c:pt>
                <c:pt idx="957">
                  <c:v>46521</c:v>
                </c:pt>
                <c:pt idx="958">
                  <c:v>46524</c:v>
                </c:pt>
                <c:pt idx="959">
                  <c:v>46525</c:v>
                </c:pt>
                <c:pt idx="960">
                  <c:v>46526</c:v>
                </c:pt>
                <c:pt idx="961">
                  <c:v>46527</c:v>
                </c:pt>
                <c:pt idx="962">
                  <c:v>46528</c:v>
                </c:pt>
                <c:pt idx="963">
                  <c:v>46531</c:v>
                </c:pt>
                <c:pt idx="964">
                  <c:v>46532</c:v>
                </c:pt>
                <c:pt idx="965">
                  <c:v>46533</c:v>
                </c:pt>
                <c:pt idx="966">
                  <c:v>46534</c:v>
                </c:pt>
                <c:pt idx="967">
                  <c:v>46535</c:v>
                </c:pt>
                <c:pt idx="968">
                  <c:v>46538</c:v>
                </c:pt>
                <c:pt idx="969">
                  <c:v>46539</c:v>
                </c:pt>
                <c:pt idx="970">
                  <c:v>46540</c:v>
                </c:pt>
                <c:pt idx="971">
                  <c:v>46541</c:v>
                </c:pt>
                <c:pt idx="972">
                  <c:v>46542</c:v>
                </c:pt>
                <c:pt idx="973">
                  <c:v>46545</c:v>
                </c:pt>
                <c:pt idx="974">
                  <c:v>46546</c:v>
                </c:pt>
                <c:pt idx="975">
                  <c:v>46547</c:v>
                </c:pt>
                <c:pt idx="976">
                  <c:v>46548</c:v>
                </c:pt>
                <c:pt idx="977">
                  <c:v>46549</c:v>
                </c:pt>
                <c:pt idx="978">
                  <c:v>46552</c:v>
                </c:pt>
                <c:pt idx="979">
                  <c:v>46553</c:v>
                </c:pt>
                <c:pt idx="980">
                  <c:v>46554</c:v>
                </c:pt>
                <c:pt idx="981">
                  <c:v>46555</c:v>
                </c:pt>
                <c:pt idx="982">
                  <c:v>46556</c:v>
                </c:pt>
                <c:pt idx="983">
                  <c:v>46559</c:v>
                </c:pt>
                <c:pt idx="984">
                  <c:v>46560</c:v>
                </c:pt>
                <c:pt idx="985">
                  <c:v>46561</c:v>
                </c:pt>
                <c:pt idx="986">
                  <c:v>46562</c:v>
                </c:pt>
                <c:pt idx="987">
                  <c:v>46563</c:v>
                </c:pt>
                <c:pt idx="988">
                  <c:v>46566</c:v>
                </c:pt>
                <c:pt idx="989">
                  <c:v>46567</c:v>
                </c:pt>
                <c:pt idx="990">
                  <c:v>46568</c:v>
                </c:pt>
                <c:pt idx="991">
                  <c:v>46569</c:v>
                </c:pt>
                <c:pt idx="992">
                  <c:v>46570</c:v>
                </c:pt>
                <c:pt idx="993">
                  <c:v>46573</c:v>
                </c:pt>
                <c:pt idx="994">
                  <c:v>46574</c:v>
                </c:pt>
                <c:pt idx="995">
                  <c:v>46575</c:v>
                </c:pt>
                <c:pt idx="996">
                  <c:v>46576</c:v>
                </c:pt>
                <c:pt idx="997">
                  <c:v>46577</c:v>
                </c:pt>
                <c:pt idx="998">
                  <c:v>46580</c:v>
                </c:pt>
              </c:numCache>
            </c:numRef>
          </c:cat>
          <c:val>
            <c:numRef>
              <c:f>Daily!$H$2:$H$1057</c:f>
            </c:numRef>
          </c:val>
          <c:smooth val="0"/>
          <c:extLst>
            <c:ext xmlns:c16="http://schemas.microsoft.com/office/drawing/2014/chart" uri="{C3380CC4-5D6E-409C-BE32-E72D297353CC}">
              <c16:uniqueId val="{0000000D-094D-4E29-B010-D717A2A1A293}"/>
            </c:ext>
          </c:extLst>
        </c:ser>
        <c:ser>
          <c:idx val="7"/>
          <c:order val="7"/>
          <c:tx>
            <c:strRef>
              <c:f>Daily!$I$1</c:f>
              <c:strCache>
                <c:ptCount val="1"/>
                <c:pt idx="0">
                  <c:v>M+7</c:v>
                </c:pt>
              </c:strCache>
            </c:strRef>
          </c:tx>
          <c:spPr>
            <a:ln w="28575" cap="rnd" cmpd="sng" algn="ctr">
              <a:solidFill>
                <a:schemeClr val="accent2">
                  <a:lumMod val="60000"/>
                  <a:shade val="95000"/>
                  <a:satMod val="105000"/>
                </a:schemeClr>
              </a:solidFill>
              <a:prstDash val="solid"/>
              <a:round/>
            </a:ln>
            <a:effectLst/>
          </c:spPr>
          <c:marker>
            <c:symbol val="none"/>
          </c:marker>
          <c:cat>
            <c:numRef>
              <c:f>Daily!$A$2:$A$1000</c:f>
              <c:numCache>
                <c:formatCode>d\-mmm\-yy</c:formatCode>
                <c:ptCount val="999"/>
                <c:pt idx="0">
                  <c:v>45128</c:v>
                </c:pt>
                <c:pt idx="1">
                  <c:v>45131</c:v>
                </c:pt>
                <c:pt idx="2">
                  <c:v>45132</c:v>
                </c:pt>
                <c:pt idx="3">
                  <c:v>45133</c:v>
                </c:pt>
                <c:pt idx="4">
                  <c:v>45134</c:v>
                </c:pt>
                <c:pt idx="5">
                  <c:v>45135</c:v>
                </c:pt>
                <c:pt idx="6">
                  <c:v>45138</c:v>
                </c:pt>
                <c:pt idx="7">
                  <c:v>45139</c:v>
                </c:pt>
                <c:pt idx="8">
                  <c:v>45140</c:v>
                </c:pt>
                <c:pt idx="9">
                  <c:v>45141</c:v>
                </c:pt>
                <c:pt idx="10">
                  <c:v>45142</c:v>
                </c:pt>
                <c:pt idx="11">
                  <c:v>45145</c:v>
                </c:pt>
                <c:pt idx="12">
                  <c:v>45146</c:v>
                </c:pt>
                <c:pt idx="13">
                  <c:v>45147</c:v>
                </c:pt>
                <c:pt idx="14">
                  <c:v>45148</c:v>
                </c:pt>
                <c:pt idx="15">
                  <c:v>45149</c:v>
                </c:pt>
                <c:pt idx="16">
                  <c:v>45152</c:v>
                </c:pt>
                <c:pt idx="17">
                  <c:v>45153</c:v>
                </c:pt>
                <c:pt idx="18">
                  <c:v>45154</c:v>
                </c:pt>
                <c:pt idx="19">
                  <c:v>45155</c:v>
                </c:pt>
                <c:pt idx="20">
                  <c:v>45156</c:v>
                </c:pt>
                <c:pt idx="21">
                  <c:v>45159</c:v>
                </c:pt>
                <c:pt idx="22">
                  <c:v>45160</c:v>
                </c:pt>
                <c:pt idx="23">
                  <c:v>45161</c:v>
                </c:pt>
                <c:pt idx="24">
                  <c:v>45162</c:v>
                </c:pt>
                <c:pt idx="25">
                  <c:v>45163</c:v>
                </c:pt>
                <c:pt idx="26">
                  <c:v>45166</c:v>
                </c:pt>
                <c:pt idx="27">
                  <c:v>45167</c:v>
                </c:pt>
                <c:pt idx="28">
                  <c:v>45168</c:v>
                </c:pt>
                <c:pt idx="29">
                  <c:v>45169</c:v>
                </c:pt>
                <c:pt idx="30">
                  <c:v>45170</c:v>
                </c:pt>
                <c:pt idx="31">
                  <c:v>45173</c:v>
                </c:pt>
                <c:pt idx="32">
                  <c:v>45174</c:v>
                </c:pt>
                <c:pt idx="33">
                  <c:v>45175</c:v>
                </c:pt>
                <c:pt idx="34">
                  <c:v>45176</c:v>
                </c:pt>
                <c:pt idx="35">
                  <c:v>45177</c:v>
                </c:pt>
                <c:pt idx="36">
                  <c:v>45180</c:v>
                </c:pt>
                <c:pt idx="37">
                  <c:v>45181</c:v>
                </c:pt>
                <c:pt idx="38">
                  <c:v>45182</c:v>
                </c:pt>
                <c:pt idx="39">
                  <c:v>45183</c:v>
                </c:pt>
                <c:pt idx="40">
                  <c:v>45184</c:v>
                </c:pt>
                <c:pt idx="41">
                  <c:v>45187</c:v>
                </c:pt>
                <c:pt idx="42">
                  <c:v>45188</c:v>
                </c:pt>
                <c:pt idx="43">
                  <c:v>45189</c:v>
                </c:pt>
                <c:pt idx="44">
                  <c:v>45190</c:v>
                </c:pt>
                <c:pt idx="45">
                  <c:v>45191</c:v>
                </c:pt>
                <c:pt idx="46">
                  <c:v>45194</c:v>
                </c:pt>
                <c:pt idx="47">
                  <c:v>45195</c:v>
                </c:pt>
                <c:pt idx="48">
                  <c:v>45196</c:v>
                </c:pt>
                <c:pt idx="49">
                  <c:v>45197</c:v>
                </c:pt>
                <c:pt idx="50">
                  <c:v>45208</c:v>
                </c:pt>
                <c:pt idx="51">
                  <c:v>45209</c:v>
                </c:pt>
                <c:pt idx="52">
                  <c:v>45210</c:v>
                </c:pt>
                <c:pt idx="53">
                  <c:v>45211</c:v>
                </c:pt>
                <c:pt idx="54">
                  <c:v>45212</c:v>
                </c:pt>
                <c:pt idx="55">
                  <c:v>45215</c:v>
                </c:pt>
                <c:pt idx="56">
                  <c:v>45216</c:v>
                </c:pt>
                <c:pt idx="57">
                  <c:v>45217</c:v>
                </c:pt>
                <c:pt idx="58">
                  <c:v>45218</c:v>
                </c:pt>
                <c:pt idx="59">
                  <c:v>45219</c:v>
                </c:pt>
                <c:pt idx="60">
                  <c:v>45222</c:v>
                </c:pt>
                <c:pt idx="61">
                  <c:v>45223</c:v>
                </c:pt>
                <c:pt idx="62">
                  <c:v>45224</c:v>
                </c:pt>
                <c:pt idx="63">
                  <c:v>45225</c:v>
                </c:pt>
                <c:pt idx="64">
                  <c:v>45226</c:v>
                </c:pt>
                <c:pt idx="65">
                  <c:v>45229</c:v>
                </c:pt>
                <c:pt idx="66">
                  <c:v>45230</c:v>
                </c:pt>
                <c:pt idx="67">
                  <c:v>45231</c:v>
                </c:pt>
                <c:pt idx="68">
                  <c:v>45232</c:v>
                </c:pt>
                <c:pt idx="69">
                  <c:v>45233</c:v>
                </c:pt>
                <c:pt idx="70">
                  <c:v>45236</c:v>
                </c:pt>
                <c:pt idx="71">
                  <c:v>45237</c:v>
                </c:pt>
                <c:pt idx="72">
                  <c:v>45238</c:v>
                </c:pt>
                <c:pt idx="73">
                  <c:v>45239</c:v>
                </c:pt>
                <c:pt idx="74">
                  <c:v>45240</c:v>
                </c:pt>
                <c:pt idx="75">
                  <c:v>45243</c:v>
                </c:pt>
                <c:pt idx="76">
                  <c:v>45244</c:v>
                </c:pt>
                <c:pt idx="77">
                  <c:v>45245</c:v>
                </c:pt>
                <c:pt idx="78">
                  <c:v>45246</c:v>
                </c:pt>
                <c:pt idx="79">
                  <c:v>45247</c:v>
                </c:pt>
                <c:pt idx="80">
                  <c:v>45250</c:v>
                </c:pt>
                <c:pt idx="81">
                  <c:v>45251</c:v>
                </c:pt>
                <c:pt idx="82">
                  <c:v>45252</c:v>
                </c:pt>
                <c:pt idx="83">
                  <c:v>45253</c:v>
                </c:pt>
                <c:pt idx="84">
                  <c:v>45254</c:v>
                </c:pt>
                <c:pt idx="85">
                  <c:v>45257</c:v>
                </c:pt>
                <c:pt idx="86">
                  <c:v>45258</c:v>
                </c:pt>
                <c:pt idx="87">
                  <c:v>45259</c:v>
                </c:pt>
                <c:pt idx="88">
                  <c:v>45260</c:v>
                </c:pt>
                <c:pt idx="89">
                  <c:v>45261</c:v>
                </c:pt>
                <c:pt idx="90">
                  <c:v>45264</c:v>
                </c:pt>
                <c:pt idx="91">
                  <c:v>45265</c:v>
                </c:pt>
                <c:pt idx="92">
                  <c:v>45266</c:v>
                </c:pt>
                <c:pt idx="93">
                  <c:v>45267</c:v>
                </c:pt>
                <c:pt idx="94">
                  <c:v>45268</c:v>
                </c:pt>
                <c:pt idx="95">
                  <c:v>45271</c:v>
                </c:pt>
                <c:pt idx="96">
                  <c:v>45272</c:v>
                </c:pt>
                <c:pt idx="97">
                  <c:v>45273</c:v>
                </c:pt>
                <c:pt idx="98">
                  <c:v>45274</c:v>
                </c:pt>
                <c:pt idx="99">
                  <c:v>45275</c:v>
                </c:pt>
                <c:pt idx="100">
                  <c:v>45278</c:v>
                </c:pt>
                <c:pt idx="101">
                  <c:v>45279</c:v>
                </c:pt>
                <c:pt idx="102">
                  <c:v>45280</c:v>
                </c:pt>
                <c:pt idx="103">
                  <c:v>45281</c:v>
                </c:pt>
                <c:pt idx="104">
                  <c:v>45282</c:v>
                </c:pt>
                <c:pt idx="105">
                  <c:v>45285</c:v>
                </c:pt>
                <c:pt idx="106">
                  <c:v>45286</c:v>
                </c:pt>
                <c:pt idx="107">
                  <c:v>45287</c:v>
                </c:pt>
                <c:pt idx="108">
                  <c:v>45288</c:v>
                </c:pt>
                <c:pt idx="109">
                  <c:v>45289</c:v>
                </c:pt>
                <c:pt idx="110">
                  <c:v>45293</c:v>
                </c:pt>
                <c:pt idx="111">
                  <c:v>45294</c:v>
                </c:pt>
                <c:pt idx="112">
                  <c:v>45295</c:v>
                </c:pt>
                <c:pt idx="113">
                  <c:v>45296</c:v>
                </c:pt>
                <c:pt idx="114">
                  <c:v>45299</c:v>
                </c:pt>
                <c:pt idx="115">
                  <c:v>45300</c:v>
                </c:pt>
                <c:pt idx="116">
                  <c:v>45301</c:v>
                </c:pt>
                <c:pt idx="117">
                  <c:v>45302</c:v>
                </c:pt>
                <c:pt idx="118">
                  <c:v>45303</c:v>
                </c:pt>
                <c:pt idx="119">
                  <c:v>45306</c:v>
                </c:pt>
                <c:pt idx="120">
                  <c:v>45307</c:v>
                </c:pt>
                <c:pt idx="121">
                  <c:v>45308</c:v>
                </c:pt>
                <c:pt idx="122">
                  <c:v>45309</c:v>
                </c:pt>
                <c:pt idx="123">
                  <c:v>45310</c:v>
                </c:pt>
                <c:pt idx="124">
                  <c:v>45313</c:v>
                </c:pt>
                <c:pt idx="125">
                  <c:v>45314</c:v>
                </c:pt>
                <c:pt idx="126">
                  <c:v>45315</c:v>
                </c:pt>
                <c:pt idx="127">
                  <c:v>45316</c:v>
                </c:pt>
                <c:pt idx="128">
                  <c:v>45317</c:v>
                </c:pt>
                <c:pt idx="129">
                  <c:v>45320</c:v>
                </c:pt>
                <c:pt idx="130">
                  <c:v>45321</c:v>
                </c:pt>
                <c:pt idx="131">
                  <c:v>45322</c:v>
                </c:pt>
                <c:pt idx="132">
                  <c:v>45323</c:v>
                </c:pt>
                <c:pt idx="133">
                  <c:v>45324</c:v>
                </c:pt>
                <c:pt idx="134">
                  <c:v>45327</c:v>
                </c:pt>
                <c:pt idx="135">
                  <c:v>45328</c:v>
                </c:pt>
                <c:pt idx="136">
                  <c:v>45329</c:v>
                </c:pt>
                <c:pt idx="137">
                  <c:v>45330</c:v>
                </c:pt>
                <c:pt idx="138">
                  <c:v>45341</c:v>
                </c:pt>
                <c:pt idx="139">
                  <c:v>45342</c:v>
                </c:pt>
                <c:pt idx="140">
                  <c:v>45343</c:v>
                </c:pt>
                <c:pt idx="141">
                  <c:v>45344</c:v>
                </c:pt>
                <c:pt idx="142">
                  <c:v>45345</c:v>
                </c:pt>
                <c:pt idx="143">
                  <c:v>45348</c:v>
                </c:pt>
                <c:pt idx="144">
                  <c:v>45349</c:v>
                </c:pt>
                <c:pt idx="145">
                  <c:v>45350</c:v>
                </c:pt>
                <c:pt idx="146">
                  <c:v>45351</c:v>
                </c:pt>
                <c:pt idx="147">
                  <c:v>45352</c:v>
                </c:pt>
                <c:pt idx="148">
                  <c:v>45355</c:v>
                </c:pt>
                <c:pt idx="149">
                  <c:v>45356</c:v>
                </c:pt>
                <c:pt idx="150">
                  <c:v>45357</c:v>
                </c:pt>
                <c:pt idx="151">
                  <c:v>45358</c:v>
                </c:pt>
                <c:pt idx="152">
                  <c:v>45359</c:v>
                </c:pt>
                <c:pt idx="153">
                  <c:v>45362</c:v>
                </c:pt>
                <c:pt idx="154">
                  <c:v>45363</c:v>
                </c:pt>
                <c:pt idx="155">
                  <c:v>45364</c:v>
                </c:pt>
                <c:pt idx="156">
                  <c:v>45365</c:v>
                </c:pt>
                <c:pt idx="157">
                  <c:v>45366</c:v>
                </c:pt>
                <c:pt idx="158">
                  <c:v>45369</c:v>
                </c:pt>
                <c:pt idx="159">
                  <c:v>45370</c:v>
                </c:pt>
                <c:pt idx="160">
                  <c:v>45371</c:v>
                </c:pt>
                <c:pt idx="161">
                  <c:v>45372</c:v>
                </c:pt>
                <c:pt idx="162">
                  <c:v>45373</c:v>
                </c:pt>
                <c:pt idx="163">
                  <c:v>45376</c:v>
                </c:pt>
                <c:pt idx="164">
                  <c:v>45377</c:v>
                </c:pt>
                <c:pt idx="165">
                  <c:v>45378</c:v>
                </c:pt>
                <c:pt idx="166">
                  <c:v>45379</c:v>
                </c:pt>
                <c:pt idx="167">
                  <c:v>45380</c:v>
                </c:pt>
                <c:pt idx="168">
                  <c:v>45383</c:v>
                </c:pt>
                <c:pt idx="169">
                  <c:v>45384</c:v>
                </c:pt>
                <c:pt idx="170">
                  <c:v>45385</c:v>
                </c:pt>
                <c:pt idx="171">
                  <c:v>45390</c:v>
                </c:pt>
                <c:pt idx="172">
                  <c:v>45391</c:v>
                </c:pt>
                <c:pt idx="173">
                  <c:v>45392</c:v>
                </c:pt>
                <c:pt idx="174">
                  <c:v>45393</c:v>
                </c:pt>
                <c:pt idx="175">
                  <c:v>45394</c:v>
                </c:pt>
                <c:pt idx="176">
                  <c:v>45397</c:v>
                </c:pt>
                <c:pt idx="177">
                  <c:v>45398</c:v>
                </c:pt>
                <c:pt idx="178">
                  <c:v>45399</c:v>
                </c:pt>
                <c:pt idx="179">
                  <c:v>45400</c:v>
                </c:pt>
                <c:pt idx="180">
                  <c:v>45401</c:v>
                </c:pt>
                <c:pt idx="181">
                  <c:v>45404</c:v>
                </c:pt>
                <c:pt idx="182">
                  <c:v>45405</c:v>
                </c:pt>
                <c:pt idx="183">
                  <c:v>45406</c:v>
                </c:pt>
                <c:pt idx="184">
                  <c:v>45407</c:v>
                </c:pt>
                <c:pt idx="185">
                  <c:v>45408</c:v>
                </c:pt>
                <c:pt idx="186">
                  <c:v>45411</c:v>
                </c:pt>
                <c:pt idx="187">
                  <c:v>45412</c:v>
                </c:pt>
                <c:pt idx="188">
                  <c:v>45418</c:v>
                </c:pt>
                <c:pt idx="189">
                  <c:v>45419</c:v>
                </c:pt>
                <c:pt idx="190">
                  <c:v>45420</c:v>
                </c:pt>
                <c:pt idx="191">
                  <c:v>45421</c:v>
                </c:pt>
                <c:pt idx="192">
                  <c:v>45422</c:v>
                </c:pt>
                <c:pt idx="193">
                  <c:v>45425</c:v>
                </c:pt>
                <c:pt idx="194">
                  <c:v>45426</c:v>
                </c:pt>
                <c:pt idx="195">
                  <c:v>45427</c:v>
                </c:pt>
                <c:pt idx="196">
                  <c:v>45428</c:v>
                </c:pt>
                <c:pt idx="197">
                  <c:v>45429</c:v>
                </c:pt>
                <c:pt idx="198">
                  <c:v>45432</c:v>
                </c:pt>
                <c:pt idx="199">
                  <c:v>45433</c:v>
                </c:pt>
                <c:pt idx="200">
                  <c:v>45434</c:v>
                </c:pt>
                <c:pt idx="201">
                  <c:v>45435</c:v>
                </c:pt>
                <c:pt idx="202">
                  <c:v>45436</c:v>
                </c:pt>
                <c:pt idx="203">
                  <c:v>45439</c:v>
                </c:pt>
                <c:pt idx="204">
                  <c:v>45440</c:v>
                </c:pt>
                <c:pt idx="205">
                  <c:v>45441</c:v>
                </c:pt>
                <c:pt idx="206">
                  <c:v>45442</c:v>
                </c:pt>
                <c:pt idx="207">
                  <c:v>45443</c:v>
                </c:pt>
                <c:pt idx="208">
                  <c:v>45446</c:v>
                </c:pt>
                <c:pt idx="209">
                  <c:v>45447</c:v>
                </c:pt>
                <c:pt idx="210">
                  <c:v>45448</c:v>
                </c:pt>
                <c:pt idx="211">
                  <c:v>45449</c:v>
                </c:pt>
                <c:pt idx="212">
                  <c:v>45450</c:v>
                </c:pt>
                <c:pt idx="213">
                  <c:v>45454</c:v>
                </c:pt>
                <c:pt idx="214">
                  <c:v>45455</c:v>
                </c:pt>
                <c:pt idx="215">
                  <c:v>45456</c:v>
                </c:pt>
                <c:pt idx="216">
                  <c:v>45457</c:v>
                </c:pt>
                <c:pt idx="217">
                  <c:v>45460</c:v>
                </c:pt>
                <c:pt idx="218">
                  <c:v>45461</c:v>
                </c:pt>
                <c:pt idx="219">
                  <c:v>45462</c:v>
                </c:pt>
                <c:pt idx="220">
                  <c:v>45463</c:v>
                </c:pt>
                <c:pt idx="221">
                  <c:v>45464</c:v>
                </c:pt>
                <c:pt idx="222">
                  <c:v>45467</c:v>
                </c:pt>
                <c:pt idx="223">
                  <c:v>45468</c:v>
                </c:pt>
                <c:pt idx="224">
                  <c:v>45469</c:v>
                </c:pt>
                <c:pt idx="225">
                  <c:v>45470</c:v>
                </c:pt>
                <c:pt idx="226">
                  <c:v>45471</c:v>
                </c:pt>
                <c:pt idx="227">
                  <c:v>45474</c:v>
                </c:pt>
                <c:pt idx="228">
                  <c:v>45475</c:v>
                </c:pt>
                <c:pt idx="229">
                  <c:v>45476</c:v>
                </c:pt>
                <c:pt idx="230">
                  <c:v>45477</c:v>
                </c:pt>
                <c:pt idx="231">
                  <c:v>45478</c:v>
                </c:pt>
                <c:pt idx="232">
                  <c:v>45481</c:v>
                </c:pt>
                <c:pt idx="233">
                  <c:v>45482</c:v>
                </c:pt>
                <c:pt idx="234">
                  <c:v>45483</c:v>
                </c:pt>
                <c:pt idx="235">
                  <c:v>45484</c:v>
                </c:pt>
                <c:pt idx="236">
                  <c:v>45485</c:v>
                </c:pt>
                <c:pt idx="237">
                  <c:v>45488</c:v>
                </c:pt>
                <c:pt idx="238">
                  <c:v>45489</c:v>
                </c:pt>
                <c:pt idx="239">
                  <c:v>45490</c:v>
                </c:pt>
                <c:pt idx="240">
                  <c:v>45491</c:v>
                </c:pt>
                <c:pt idx="241">
                  <c:v>45492</c:v>
                </c:pt>
                <c:pt idx="242">
                  <c:v>45495</c:v>
                </c:pt>
                <c:pt idx="243">
                  <c:v>45496</c:v>
                </c:pt>
                <c:pt idx="244">
                  <c:v>45497</c:v>
                </c:pt>
                <c:pt idx="245">
                  <c:v>45498</c:v>
                </c:pt>
                <c:pt idx="246">
                  <c:v>45499</c:v>
                </c:pt>
                <c:pt idx="247">
                  <c:v>45502</c:v>
                </c:pt>
                <c:pt idx="248">
                  <c:v>45503</c:v>
                </c:pt>
                <c:pt idx="249">
                  <c:v>45504</c:v>
                </c:pt>
                <c:pt idx="250">
                  <c:v>45505</c:v>
                </c:pt>
                <c:pt idx="251">
                  <c:v>45506</c:v>
                </c:pt>
                <c:pt idx="252">
                  <c:v>45509</c:v>
                </c:pt>
                <c:pt idx="253">
                  <c:v>45510</c:v>
                </c:pt>
                <c:pt idx="254">
                  <c:v>45511</c:v>
                </c:pt>
                <c:pt idx="255">
                  <c:v>45512</c:v>
                </c:pt>
                <c:pt idx="256">
                  <c:v>45513</c:v>
                </c:pt>
                <c:pt idx="257">
                  <c:v>45516</c:v>
                </c:pt>
                <c:pt idx="258">
                  <c:v>45517</c:v>
                </c:pt>
                <c:pt idx="259">
                  <c:v>45518</c:v>
                </c:pt>
                <c:pt idx="260">
                  <c:v>45519</c:v>
                </c:pt>
                <c:pt idx="261">
                  <c:v>45520</c:v>
                </c:pt>
                <c:pt idx="262">
                  <c:v>45523</c:v>
                </c:pt>
                <c:pt idx="263">
                  <c:v>45524</c:v>
                </c:pt>
                <c:pt idx="264">
                  <c:v>45525</c:v>
                </c:pt>
                <c:pt idx="265">
                  <c:v>45526</c:v>
                </c:pt>
                <c:pt idx="266">
                  <c:v>45527</c:v>
                </c:pt>
                <c:pt idx="267">
                  <c:v>45530</c:v>
                </c:pt>
                <c:pt idx="268">
                  <c:v>45531</c:v>
                </c:pt>
                <c:pt idx="269">
                  <c:v>45532</c:v>
                </c:pt>
                <c:pt idx="270">
                  <c:v>45533</c:v>
                </c:pt>
                <c:pt idx="271">
                  <c:v>45534</c:v>
                </c:pt>
                <c:pt idx="272">
                  <c:v>45537</c:v>
                </c:pt>
                <c:pt idx="273">
                  <c:v>45538</c:v>
                </c:pt>
                <c:pt idx="274">
                  <c:v>45539</c:v>
                </c:pt>
                <c:pt idx="275">
                  <c:v>45540</c:v>
                </c:pt>
                <c:pt idx="276">
                  <c:v>45541</c:v>
                </c:pt>
                <c:pt idx="277">
                  <c:v>45544</c:v>
                </c:pt>
                <c:pt idx="278">
                  <c:v>45545</c:v>
                </c:pt>
                <c:pt idx="279">
                  <c:v>45546</c:v>
                </c:pt>
                <c:pt idx="280">
                  <c:v>45547</c:v>
                </c:pt>
                <c:pt idx="281">
                  <c:v>45548</c:v>
                </c:pt>
                <c:pt idx="282">
                  <c:v>45553</c:v>
                </c:pt>
                <c:pt idx="283">
                  <c:v>45554</c:v>
                </c:pt>
                <c:pt idx="284">
                  <c:v>45555</c:v>
                </c:pt>
                <c:pt idx="285">
                  <c:v>45558</c:v>
                </c:pt>
                <c:pt idx="286">
                  <c:v>45559</c:v>
                </c:pt>
                <c:pt idx="287">
                  <c:v>45560</c:v>
                </c:pt>
                <c:pt idx="288">
                  <c:v>45561</c:v>
                </c:pt>
                <c:pt idx="289">
                  <c:v>45562</c:v>
                </c:pt>
                <c:pt idx="290">
                  <c:v>45565</c:v>
                </c:pt>
                <c:pt idx="291">
                  <c:v>45573</c:v>
                </c:pt>
                <c:pt idx="292">
                  <c:v>45574</c:v>
                </c:pt>
                <c:pt idx="293">
                  <c:v>45575</c:v>
                </c:pt>
                <c:pt idx="294">
                  <c:v>45576</c:v>
                </c:pt>
                <c:pt idx="295">
                  <c:v>45579</c:v>
                </c:pt>
                <c:pt idx="296">
                  <c:v>45580</c:v>
                </c:pt>
                <c:pt idx="297">
                  <c:v>45581</c:v>
                </c:pt>
                <c:pt idx="298">
                  <c:v>45582</c:v>
                </c:pt>
                <c:pt idx="299">
                  <c:v>45583</c:v>
                </c:pt>
                <c:pt idx="300">
                  <c:v>45586</c:v>
                </c:pt>
                <c:pt idx="301">
                  <c:v>45587</c:v>
                </c:pt>
                <c:pt idx="302">
                  <c:v>45588</c:v>
                </c:pt>
                <c:pt idx="303">
                  <c:v>45589</c:v>
                </c:pt>
                <c:pt idx="304">
                  <c:v>45590</c:v>
                </c:pt>
                <c:pt idx="305">
                  <c:v>45593</c:v>
                </c:pt>
                <c:pt idx="306">
                  <c:v>45594</c:v>
                </c:pt>
                <c:pt idx="307">
                  <c:v>45595</c:v>
                </c:pt>
                <c:pt idx="308">
                  <c:v>45596</c:v>
                </c:pt>
                <c:pt idx="309">
                  <c:v>45597</c:v>
                </c:pt>
                <c:pt idx="310">
                  <c:v>45600</c:v>
                </c:pt>
                <c:pt idx="311">
                  <c:v>45601</c:v>
                </c:pt>
                <c:pt idx="312">
                  <c:v>45602</c:v>
                </c:pt>
                <c:pt idx="313">
                  <c:v>45603</c:v>
                </c:pt>
                <c:pt idx="314">
                  <c:v>45604</c:v>
                </c:pt>
                <c:pt idx="315">
                  <c:v>45607</c:v>
                </c:pt>
                <c:pt idx="316">
                  <c:v>45608</c:v>
                </c:pt>
                <c:pt idx="317">
                  <c:v>45609</c:v>
                </c:pt>
                <c:pt idx="318">
                  <c:v>45610</c:v>
                </c:pt>
                <c:pt idx="319">
                  <c:v>45611</c:v>
                </c:pt>
                <c:pt idx="320">
                  <c:v>45614</c:v>
                </c:pt>
                <c:pt idx="321">
                  <c:v>45615</c:v>
                </c:pt>
                <c:pt idx="322">
                  <c:v>45616</c:v>
                </c:pt>
                <c:pt idx="323">
                  <c:v>45617</c:v>
                </c:pt>
                <c:pt idx="324">
                  <c:v>45618</c:v>
                </c:pt>
                <c:pt idx="325">
                  <c:v>45621</c:v>
                </c:pt>
                <c:pt idx="326">
                  <c:v>45622</c:v>
                </c:pt>
                <c:pt idx="327">
                  <c:v>45623</c:v>
                </c:pt>
                <c:pt idx="328">
                  <c:v>45624</c:v>
                </c:pt>
                <c:pt idx="329">
                  <c:v>45625</c:v>
                </c:pt>
                <c:pt idx="330">
                  <c:v>45628</c:v>
                </c:pt>
                <c:pt idx="331">
                  <c:v>45629</c:v>
                </c:pt>
                <c:pt idx="332">
                  <c:v>45630</c:v>
                </c:pt>
                <c:pt idx="333">
                  <c:v>45631</c:v>
                </c:pt>
                <c:pt idx="334">
                  <c:v>45632</c:v>
                </c:pt>
                <c:pt idx="335">
                  <c:v>45635</c:v>
                </c:pt>
                <c:pt idx="336">
                  <c:v>45636</c:v>
                </c:pt>
                <c:pt idx="337">
                  <c:v>45637</c:v>
                </c:pt>
                <c:pt idx="338">
                  <c:v>45638</c:v>
                </c:pt>
                <c:pt idx="339">
                  <c:v>45639</c:v>
                </c:pt>
                <c:pt idx="340">
                  <c:v>45642</c:v>
                </c:pt>
                <c:pt idx="341">
                  <c:v>45643</c:v>
                </c:pt>
                <c:pt idx="342">
                  <c:v>45644</c:v>
                </c:pt>
                <c:pt idx="343">
                  <c:v>45645</c:v>
                </c:pt>
                <c:pt idx="344">
                  <c:v>45646</c:v>
                </c:pt>
                <c:pt idx="345">
                  <c:v>45649</c:v>
                </c:pt>
                <c:pt idx="346">
                  <c:v>45650</c:v>
                </c:pt>
                <c:pt idx="347">
                  <c:v>45651</c:v>
                </c:pt>
                <c:pt idx="348">
                  <c:v>45652</c:v>
                </c:pt>
                <c:pt idx="349">
                  <c:v>45653</c:v>
                </c:pt>
                <c:pt idx="350">
                  <c:v>45656</c:v>
                </c:pt>
                <c:pt idx="351">
                  <c:v>45657</c:v>
                </c:pt>
                <c:pt idx="352">
                  <c:v>45659</c:v>
                </c:pt>
                <c:pt idx="353">
                  <c:v>45660</c:v>
                </c:pt>
                <c:pt idx="354">
                  <c:v>45663</c:v>
                </c:pt>
                <c:pt idx="355">
                  <c:v>45664</c:v>
                </c:pt>
                <c:pt idx="356">
                  <c:v>45665</c:v>
                </c:pt>
                <c:pt idx="357">
                  <c:v>45666</c:v>
                </c:pt>
                <c:pt idx="358">
                  <c:v>45667</c:v>
                </c:pt>
                <c:pt idx="359">
                  <c:v>45670</c:v>
                </c:pt>
                <c:pt idx="360">
                  <c:v>45671</c:v>
                </c:pt>
                <c:pt idx="361">
                  <c:v>45672</c:v>
                </c:pt>
                <c:pt idx="362">
                  <c:v>45673</c:v>
                </c:pt>
                <c:pt idx="363">
                  <c:v>45674</c:v>
                </c:pt>
                <c:pt idx="364">
                  <c:v>45677</c:v>
                </c:pt>
                <c:pt idx="365">
                  <c:v>45678</c:v>
                </c:pt>
                <c:pt idx="366">
                  <c:v>45679</c:v>
                </c:pt>
                <c:pt idx="367">
                  <c:v>45680</c:v>
                </c:pt>
                <c:pt idx="368">
                  <c:v>45681</c:v>
                </c:pt>
                <c:pt idx="369">
                  <c:v>45684</c:v>
                </c:pt>
                <c:pt idx="370">
                  <c:v>45693</c:v>
                </c:pt>
                <c:pt idx="371">
                  <c:v>45694</c:v>
                </c:pt>
                <c:pt idx="372">
                  <c:v>45695</c:v>
                </c:pt>
                <c:pt idx="373">
                  <c:v>45698</c:v>
                </c:pt>
                <c:pt idx="374">
                  <c:v>45699</c:v>
                </c:pt>
                <c:pt idx="375">
                  <c:v>45700</c:v>
                </c:pt>
                <c:pt idx="376">
                  <c:v>45701</c:v>
                </c:pt>
                <c:pt idx="377">
                  <c:v>45702</c:v>
                </c:pt>
                <c:pt idx="378">
                  <c:v>45705</c:v>
                </c:pt>
                <c:pt idx="379">
                  <c:v>45706</c:v>
                </c:pt>
                <c:pt idx="380">
                  <c:v>45707</c:v>
                </c:pt>
                <c:pt idx="381">
                  <c:v>45708</c:v>
                </c:pt>
                <c:pt idx="382">
                  <c:v>45709</c:v>
                </c:pt>
                <c:pt idx="383">
                  <c:v>45712</c:v>
                </c:pt>
                <c:pt idx="384">
                  <c:v>45713</c:v>
                </c:pt>
                <c:pt idx="385">
                  <c:v>45714</c:v>
                </c:pt>
                <c:pt idx="386">
                  <c:v>45715</c:v>
                </c:pt>
                <c:pt idx="387">
                  <c:v>45716</c:v>
                </c:pt>
                <c:pt idx="388">
                  <c:v>45719</c:v>
                </c:pt>
                <c:pt idx="389">
                  <c:v>45720</c:v>
                </c:pt>
                <c:pt idx="390">
                  <c:v>45721</c:v>
                </c:pt>
                <c:pt idx="391">
                  <c:v>45722</c:v>
                </c:pt>
                <c:pt idx="392">
                  <c:v>45723</c:v>
                </c:pt>
                <c:pt idx="393">
                  <c:v>45726</c:v>
                </c:pt>
                <c:pt idx="394">
                  <c:v>45727</c:v>
                </c:pt>
                <c:pt idx="395">
                  <c:v>45728</c:v>
                </c:pt>
                <c:pt idx="396">
                  <c:v>45729</c:v>
                </c:pt>
                <c:pt idx="397">
                  <c:v>45730</c:v>
                </c:pt>
                <c:pt idx="398">
                  <c:v>45733</c:v>
                </c:pt>
                <c:pt idx="399">
                  <c:v>45734</c:v>
                </c:pt>
                <c:pt idx="400">
                  <c:v>45735</c:v>
                </c:pt>
                <c:pt idx="401">
                  <c:v>45736</c:v>
                </c:pt>
                <c:pt idx="402">
                  <c:v>45737</c:v>
                </c:pt>
                <c:pt idx="403">
                  <c:v>45740</c:v>
                </c:pt>
                <c:pt idx="404">
                  <c:v>45741</c:v>
                </c:pt>
                <c:pt idx="405">
                  <c:v>45742</c:v>
                </c:pt>
                <c:pt idx="406">
                  <c:v>45743</c:v>
                </c:pt>
                <c:pt idx="407">
                  <c:v>45744</c:v>
                </c:pt>
                <c:pt idx="408">
                  <c:v>45747</c:v>
                </c:pt>
                <c:pt idx="409">
                  <c:v>45748</c:v>
                </c:pt>
                <c:pt idx="410">
                  <c:v>45749</c:v>
                </c:pt>
                <c:pt idx="411">
                  <c:v>45750</c:v>
                </c:pt>
                <c:pt idx="412">
                  <c:v>45754</c:v>
                </c:pt>
                <c:pt idx="413">
                  <c:v>45755</c:v>
                </c:pt>
                <c:pt idx="414">
                  <c:v>45756</c:v>
                </c:pt>
                <c:pt idx="415">
                  <c:v>45757</c:v>
                </c:pt>
                <c:pt idx="416">
                  <c:v>45758</c:v>
                </c:pt>
                <c:pt idx="417">
                  <c:v>45761</c:v>
                </c:pt>
                <c:pt idx="418">
                  <c:v>45762</c:v>
                </c:pt>
                <c:pt idx="419">
                  <c:v>45763</c:v>
                </c:pt>
                <c:pt idx="420">
                  <c:v>45764</c:v>
                </c:pt>
                <c:pt idx="421">
                  <c:v>45765</c:v>
                </c:pt>
                <c:pt idx="422">
                  <c:v>45768</c:v>
                </c:pt>
                <c:pt idx="423">
                  <c:v>45769</c:v>
                </c:pt>
                <c:pt idx="424">
                  <c:v>45770</c:v>
                </c:pt>
                <c:pt idx="425">
                  <c:v>45771</c:v>
                </c:pt>
                <c:pt idx="426">
                  <c:v>45772</c:v>
                </c:pt>
                <c:pt idx="427">
                  <c:v>45775</c:v>
                </c:pt>
                <c:pt idx="428">
                  <c:v>45776</c:v>
                </c:pt>
                <c:pt idx="429">
                  <c:v>45777</c:v>
                </c:pt>
                <c:pt idx="430">
                  <c:v>45783</c:v>
                </c:pt>
                <c:pt idx="431">
                  <c:v>45784</c:v>
                </c:pt>
                <c:pt idx="432">
                  <c:v>45785</c:v>
                </c:pt>
                <c:pt idx="433">
                  <c:v>45786</c:v>
                </c:pt>
                <c:pt idx="434">
                  <c:v>45789</c:v>
                </c:pt>
                <c:pt idx="435">
                  <c:v>45790</c:v>
                </c:pt>
                <c:pt idx="436">
                  <c:v>45791</c:v>
                </c:pt>
                <c:pt idx="437">
                  <c:v>45792</c:v>
                </c:pt>
                <c:pt idx="438">
                  <c:v>45793</c:v>
                </c:pt>
                <c:pt idx="439">
                  <c:v>45796</c:v>
                </c:pt>
                <c:pt idx="440">
                  <c:v>45797</c:v>
                </c:pt>
                <c:pt idx="441">
                  <c:v>45798</c:v>
                </c:pt>
                <c:pt idx="442">
                  <c:v>45799</c:v>
                </c:pt>
                <c:pt idx="443">
                  <c:v>45800</c:v>
                </c:pt>
                <c:pt idx="444">
                  <c:v>45803</c:v>
                </c:pt>
                <c:pt idx="445">
                  <c:v>45804</c:v>
                </c:pt>
                <c:pt idx="446">
                  <c:v>45805</c:v>
                </c:pt>
                <c:pt idx="447">
                  <c:v>45806</c:v>
                </c:pt>
                <c:pt idx="448">
                  <c:v>45807</c:v>
                </c:pt>
                <c:pt idx="449">
                  <c:v>45811</c:v>
                </c:pt>
                <c:pt idx="450">
                  <c:v>45812</c:v>
                </c:pt>
                <c:pt idx="451">
                  <c:v>45813</c:v>
                </c:pt>
                <c:pt idx="452">
                  <c:v>45814</c:v>
                </c:pt>
                <c:pt idx="453">
                  <c:v>45817</c:v>
                </c:pt>
                <c:pt idx="454">
                  <c:v>45818</c:v>
                </c:pt>
                <c:pt idx="455">
                  <c:v>45819</c:v>
                </c:pt>
                <c:pt idx="456">
                  <c:v>45820</c:v>
                </c:pt>
                <c:pt idx="457">
                  <c:v>45821</c:v>
                </c:pt>
                <c:pt idx="458">
                  <c:v>45824</c:v>
                </c:pt>
                <c:pt idx="459">
                  <c:v>45825</c:v>
                </c:pt>
                <c:pt idx="460">
                  <c:v>45826</c:v>
                </c:pt>
                <c:pt idx="461">
                  <c:v>45827</c:v>
                </c:pt>
                <c:pt idx="462">
                  <c:v>45828</c:v>
                </c:pt>
                <c:pt idx="463">
                  <c:v>45831</c:v>
                </c:pt>
                <c:pt idx="464">
                  <c:v>45832</c:v>
                </c:pt>
                <c:pt idx="465">
                  <c:v>45833</c:v>
                </c:pt>
                <c:pt idx="466">
                  <c:v>45834</c:v>
                </c:pt>
                <c:pt idx="467">
                  <c:v>45835</c:v>
                </c:pt>
                <c:pt idx="468">
                  <c:v>45838</c:v>
                </c:pt>
                <c:pt idx="469">
                  <c:v>45839</c:v>
                </c:pt>
                <c:pt idx="470">
                  <c:v>45840</c:v>
                </c:pt>
                <c:pt idx="471">
                  <c:v>45841</c:v>
                </c:pt>
                <c:pt idx="472">
                  <c:v>45842</c:v>
                </c:pt>
                <c:pt idx="473">
                  <c:v>45845</c:v>
                </c:pt>
                <c:pt idx="474">
                  <c:v>45846</c:v>
                </c:pt>
                <c:pt idx="475">
                  <c:v>45847</c:v>
                </c:pt>
                <c:pt idx="476">
                  <c:v>45848</c:v>
                </c:pt>
                <c:pt idx="477">
                  <c:v>45849</c:v>
                </c:pt>
                <c:pt idx="478">
                  <c:v>45852</c:v>
                </c:pt>
                <c:pt idx="479">
                  <c:v>45853</c:v>
                </c:pt>
                <c:pt idx="480">
                  <c:v>45854</c:v>
                </c:pt>
                <c:pt idx="481">
                  <c:v>45855</c:v>
                </c:pt>
                <c:pt idx="482">
                  <c:v>45856</c:v>
                </c:pt>
                <c:pt idx="483">
                  <c:v>45859</c:v>
                </c:pt>
                <c:pt idx="484">
                  <c:v>45860</c:v>
                </c:pt>
                <c:pt idx="485">
                  <c:v>45861</c:v>
                </c:pt>
                <c:pt idx="486">
                  <c:v>45862</c:v>
                </c:pt>
                <c:pt idx="487">
                  <c:v>45863</c:v>
                </c:pt>
                <c:pt idx="488">
                  <c:v>45866</c:v>
                </c:pt>
                <c:pt idx="489">
                  <c:v>45867</c:v>
                </c:pt>
                <c:pt idx="490">
                  <c:v>45868</c:v>
                </c:pt>
                <c:pt idx="491">
                  <c:v>45869</c:v>
                </c:pt>
                <c:pt idx="492">
                  <c:v>45870</c:v>
                </c:pt>
                <c:pt idx="493">
                  <c:v>45873</c:v>
                </c:pt>
                <c:pt idx="494">
                  <c:v>45874</c:v>
                </c:pt>
                <c:pt idx="495">
                  <c:v>45875</c:v>
                </c:pt>
                <c:pt idx="496">
                  <c:v>45876</c:v>
                </c:pt>
                <c:pt idx="497">
                  <c:v>45877</c:v>
                </c:pt>
                <c:pt idx="498">
                  <c:v>45880</c:v>
                </c:pt>
                <c:pt idx="499">
                  <c:v>45881</c:v>
                </c:pt>
                <c:pt idx="500">
                  <c:v>45882</c:v>
                </c:pt>
                <c:pt idx="501">
                  <c:v>45883</c:v>
                </c:pt>
                <c:pt idx="502">
                  <c:v>45884</c:v>
                </c:pt>
                <c:pt idx="503">
                  <c:v>45887</c:v>
                </c:pt>
                <c:pt idx="504">
                  <c:v>45888</c:v>
                </c:pt>
                <c:pt idx="505">
                  <c:v>45889</c:v>
                </c:pt>
                <c:pt idx="506">
                  <c:v>45890</c:v>
                </c:pt>
                <c:pt idx="507">
                  <c:v>45891</c:v>
                </c:pt>
                <c:pt idx="508">
                  <c:v>45894</c:v>
                </c:pt>
                <c:pt idx="509">
                  <c:v>45895</c:v>
                </c:pt>
                <c:pt idx="510">
                  <c:v>45896</c:v>
                </c:pt>
                <c:pt idx="511">
                  <c:v>45897</c:v>
                </c:pt>
                <c:pt idx="512">
                  <c:v>45898</c:v>
                </c:pt>
                <c:pt idx="513">
                  <c:v>45901</c:v>
                </c:pt>
                <c:pt idx="514">
                  <c:v>45902</c:v>
                </c:pt>
                <c:pt idx="515">
                  <c:v>45903</c:v>
                </c:pt>
                <c:pt idx="516">
                  <c:v>45904</c:v>
                </c:pt>
                <c:pt idx="517">
                  <c:v>45905</c:v>
                </c:pt>
                <c:pt idx="518">
                  <c:v>45908</c:v>
                </c:pt>
                <c:pt idx="519">
                  <c:v>45909</c:v>
                </c:pt>
                <c:pt idx="520">
                  <c:v>45910</c:v>
                </c:pt>
                <c:pt idx="521">
                  <c:v>45911</c:v>
                </c:pt>
                <c:pt idx="522">
                  <c:v>45912</c:v>
                </c:pt>
                <c:pt idx="523">
                  <c:v>45915</c:v>
                </c:pt>
                <c:pt idx="524">
                  <c:v>45916</c:v>
                </c:pt>
                <c:pt idx="525">
                  <c:v>45917</c:v>
                </c:pt>
                <c:pt idx="526">
                  <c:v>45918</c:v>
                </c:pt>
                <c:pt idx="527">
                  <c:v>45919</c:v>
                </c:pt>
                <c:pt idx="528">
                  <c:v>45922</c:v>
                </c:pt>
                <c:pt idx="529">
                  <c:v>45923</c:v>
                </c:pt>
                <c:pt idx="530">
                  <c:v>45924</c:v>
                </c:pt>
                <c:pt idx="531">
                  <c:v>45925</c:v>
                </c:pt>
                <c:pt idx="532">
                  <c:v>45926</c:v>
                </c:pt>
                <c:pt idx="533">
                  <c:v>45929</c:v>
                </c:pt>
                <c:pt idx="534">
                  <c:v>45930</c:v>
                </c:pt>
                <c:pt idx="535">
                  <c:v>45931</c:v>
                </c:pt>
                <c:pt idx="536">
                  <c:v>45932</c:v>
                </c:pt>
                <c:pt idx="537">
                  <c:v>45933</c:v>
                </c:pt>
                <c:pt idx="538">
                  <c:v>45936</c:v>
                </c:pt>
                <c:pt idx="539">
                  <c:v>45937</c:v>
                </c:pt>
                <c:pt idx="540">
                  <c:v>45938</c:v>
                </c:pt>
                <c:pt idx="541">
                  <c:v>45939</c:v>
                </c:pt>
                <c:pt idx="542">
                  <c:v>45940</c:v>
                </c:pt>
                <c:pt idx="543">
                  <c:v>45943</c:v>
                </c:pt>
                <c:pt idx="544">
                  <c:v>45944</c:v>
                </c:pt>
                <c:pt idx="545">
                  <c:v>45945</c:v>
                </c:pt>
                <c:pt idx="546">
                  <c:v>45946</c:v>
                </c:pt>
                <c:pt idx="547">
                  <c:v>45947</c:v>
                </c:pt>
                <c:pt idx="548">
                  <c:v>45950</c:v>
                </c:pt>
                <c:pt idx="549">
                  <c:v>45951</c:v>
                </c:pt>
                <c:pt idx="550">
                  <c:v>45952</c:v>
                </c:pt>
                <c:pt idx="551">
                  <c:v>45953</c:v>
                </c:pt>
                <c:pt idx="552">
                  <c:v>45954</c:v>
                </c:pt>
                <c:pt idx="553">
                  <c:v>45957</c:v>
                </c:pt>
                <c:pt idx="554">
                  <c:v>45958</c:v>
                </c:pt>
                <c:pt idx="555">
                  <c:v>45959</c:v>
                </c:pt>
                <c:pt idx="556">
                  <c:v>45960</c:v>
                </c:pt>
                <c:pt idx="557">
                  <c:v>45961</c:v>
                </c:pt>
                <c:pt idx="558">
                  <c:v>45964</c:v>
                </c:pt>
                <c:pt idx="559">
                  <c:v>45965</c:v>
                </c:pt>
                <c:pt idx="560">
                  <c:v>45966</c:v>
                </c:pt>
                <c:pt idx="561">
                  <c:v>45967</c:v>
                </c:pt>
                <c:pt idx="562">
                  <c:v>45968</c:v>
                </c:pt>
                <c:pt idx="563">
                  <c:v>45971</c:v>
                </c:pt>
                <c:pt idx="564">
                  <c:v>45972</c:v>
                </c:pt>
                <c:pt idx="565">
                  <c:v>45973</c:v>
                </c:pt>
                <c:pt idx="566">
                  <c:v>45974</c:v>
                </c:pt>
                <c:pt idx="567">
                  <c:v>45975</c:v>
                </c:pt>
                <c:pt idx="568">
                  <c:v>45978</c:v>
                </c:pt>
                <c:pt idx="569">
                  <c:v>45979</c:v>
                </c:pt>
                <c:pt idx="570">
                  <c:v>45980</c:v>
                </c:pt>
                <c:pt idx="571">
                  <c:v>45981</c:v>
                </c:pt>
                <c:pt idx="572">
                  <c:v>45982</c:v>
                </c:pt>
                <c:pt idx="573">
                  <c:v>45985</c:v>
                </c:pt>
                <c:pt idx="574">
                  <c:v>45986</c:v>
                </c:pt>
                <c:pt idx="575">
                  <c:v>45987</c:v>
                </c:pt>
                <c:pt idx="576">
                  <c:v>45988</c:v>
                </c:pt>
                <c:pt idx="577">
                  <c:v>45989</c:v>
                </c:pt>
                <c:pt idx="578">
                  <c:v>45992</c:v>
                </c:pt>
                <c:pt idx="579">
                  <c:v>45993</c:v>
                </c:pt>
                <c:pt idx="580">
                  <c:v>45994</c:v>
                </c:pt>
                <c:pt idx="581">
                  <c:v>45995</c:v>
                </c:pt>
                <c:pt idx="582">
                  <c:v>45996</c:v>
                </c:pt>
                <c:pt idx="583">
                  <c:v>45999</c:v>
                </c:pt>
                <c:pt idx="584">
                  <c:v>46000</c:v>
                </c:pt>
                <c:pt idx="585">
                  <c:v>46001</c:v>
                </c:pt>
                <c:pt idx="586">
                  <c:v>46002</c:v>
                </c:pt>
                <c:pt idx="587">
                  <c:v>46003</c:v>
                </c:pt>
                <c:pt idx="588">
                  <c:v>46006</c:v>
                </c:pt>
                <c:pt idx="589">
                  <c:v>46007</c:v>
                </c:pt>
                <c:pt idx="590">
                  <c:v>46008</c:v>
                </c:pt>
                <c:pt idx="591">
                  <c:v>46009</c:v>
                </c:pt>
                <c:pt idx="592">
                  <c:v>46010</c:v>
                </c:pt>
                <c:pt idx="593">
                  <c:v>46013</c:v>
                </c:pt>
                <c:pt idx="594">
                  <c:v>46014</c:v>
                </c:pt>
                <c:pt idx="595">
                  <c:v>46015</c:v>
                </c:pt>
                <c:pt idx="596">
                  <c:v>46016</c:v>
                </c:pt>
                <c:pt idx="597">
                  <c:v>46017</c:v>
                </c:pt>
                <c:pt idx="598">
                  <c:v>46020</c:v>
                </c:pt>
                <c:pt idx="599">
                  <c:v>46021</c:v>
                </c:pt>
                <c:pt idx="600">
                  <c:v>46022</c:v>
                </c:pt>
                <c:pt idx="601">
                  <c:v>46023</c:v>
                </c:pt>
                <c:pt idx="602">
                  <c:v>46024</c:v>
                </c:pt>
                <c:pt idx="603">
                  <c:v>46027</c:v>
                </c:pt>
                <c:pt idx="604">
                  <c:v>46028</c:v>
                </c:pt>
                <c:pt idx="605">
                  <c:v>46029</c:v>
                </c:pt>
                <c:pt idx="606">
                  <c:v>46030</c:v>
                </c:pt>
                <c:pt idx="607">
                  <c:v>46031</c:v>
                </c:pt>
                <c:pt idx="608">
                  <c:v>46034</c:v>
                </c:pt>
                <c:pt idx="609">
                  <c:v>46035</c:v>
                </c:pt>
                <c:pt idx="610">
                  <c:v>46036</c:v>
                </c:pt>
                <c:pt idx="611">
                  <c:v>46037</c:v>
                </c:pt>
                <c:pt idx="612">
                  <c:v>46038</c:v>
                </c:pt>
                <c:pt idx="613">
                  <c:v>46041</c:v>
                </c:pt>
                <c:pt idx="614">
                  <c:v>46042</c:v>
                </c:pt>
                <c:pt idx="615">
                  <c:v>46043</c:v>
                </c:pt>
                <c:pt idx="616">
                  <c:v>46044</c:v>
                </c:pt>
                <c:pt idx="617">
                  <c:v>46045</c:v>
                </c:pt>
                <c:pt idx="618">
                  <c:v>46048</c:v>
                </c:pt>
                <c:pt idx="619">
                  <c:v>46049</c:v>
                </c:pt>
                <c:pt idx="620">
                  <c:v>46050</c:v>
                </c:pt>
                <c:pt idx="621">
                  <c:v>46051</c:v>
                </c:pt>
                <c:pt idx="622">
                  <c:v>46052</c:v>
                </c:pt>
                <c:pt idx="623">
                  <c:v>46055</c:v>
                </c:pt>
                <c:pt idx="624">
                  <c:v>46056</c:v>
                </c:pt>
                <c:pt idx="625">
                  <c:v>46057</c:v>
                </c:pt>
                <c:pt idx="626">
                  <c:v>46058</c:v>
                </c:pt>
                <c:pt idx="627">
                  <c:v>46059</c:v>
                </c:pt>
                <c:pt idx="628">
                  <c:v>46062</c:v>
                </c:pt>
                <c:pt idx="629">
                  <c:v>46063</c:v>
                </c:pt>
                <c:pt idx="630">
                  <c:v>46064</c:v>
                </c:pt>
                <c:pt idx="631">
                  <c:v>46065</c:v>
                </c:pt>
                <c:pt idx="632">
                  <c:v>46066</c:v>
                </c:pt>
                <c:pt idx="633">
                  <c:v>46069</c:v>
                </c:pt>
                <c:pt idx="634">
                  <c:v>46070</c:v>
                </c:pt>
                <c:pt idx="635">
                  <c:v>46071</c:v>
                </c:pt>
                <c:pt idx="636">
                  <c:v>46072</c:v>
                </c:pt>
                <c:pt idx="637">
                  <c:v>46073</c:v>
                </c:pt>
                <c:pt idx="638">
                  <c:v>46076</c:v>
                </c:pt>
                <c:pt idx="639">
                  <c:v>46077</c:v>
                </c:pt>
                <c:pt idx="640">
                  <c:v>46078</c:v>
                </c:pt>
                <c:pt idx="641">
                  <c:v>46079</c:v>
                </c:pt>
                <c:pt idx="642">
                  <c:v>46080</c:v>
                </c:pt>
                <c:pt idx="643">
                  <c:v>46083</c:v>
                </c:pt>
                <c:pt idx="644">
                  <c:v>46084</c:v>
                </c:pt>
                <c:pt idx="645">
                  <c:v>46085</c:v>
                </c:pt>
                <c:pt idx="646">
                  <c:v>46086</c:v>
                </c:pt>
                <c:pt idx="647">
                  <c:v>46087</c:v>
                </c:pt>
                <c:pt idx="648">
                  <c:v>46090</c:v>
                </c:pt>
                <c:pt idx="649">
                  <c:v>46091</c:v>
                </c:pt>
                <c:pt idx="650">
                  <c:v>46092</c:v>
                </c:pt>
                <c:pt idx="651">
                  <c:v>46093</c:v>
                </c:pt>
                <c:pt idx="652">
                  <c:v>46094</c:v>
                </c:pt>
                <c:pt idx="653">
                  <c:v>46097</c:v>
                </c:pt>
                <c:pt idx="654">
                  <c:v>46098</c:v>
                </c:pt>
                <c:pt idx="655">
                  <c:v>46099</c:v>
                </c:pt>
                <c:pt idx="656">
                  <c:v>46100</c:v>
                </c:pt>
                <c:pt idx="657">
                  <c:v>46101</c:v>
                </c:pt>
                <c:pt idx="658">
                  <c:v>46104</c:v>
                </c:pt>
                <c:pt idx="659">
                  <c:v>46105</c:v>
                </c:pt>
                <c:pt idx="660">
                  <c:v>46106</c:v>
                </c:pt>
                <c:pt idx="661">
                  <c:v>46107</c:v>
                </c:pt>
                <c:pt idx="662">
                  <c:v>46108</c:v>
                </c:pt>
                <c:pt idx="663">
                  <c:v>46111</c:v>
                </c:pt>
                <c:pt idx="664">
                  <c:v>46112</c:v>
                </c:pt>
                <c:pt idx="665">
                  <c:v>46113</c:v>
                </c:pt>
                <c:pt idx="666">
                  <c:v>46114</c:v>
                </c:pt>
                <c:pt idx="667">
                  <c:v>46115</c:v>
                </c:pt>
                <c:pt idx="668">
                  <c:v>46118</c:v>
                </c:pt>
                <c:pt idx="669">
                  <c:v>46119</c:v>
                </c:pt>
                <c:pt idx="670">
                  <c:v>46120</c:v>
                </c:pt>
                <c:pt idx="671">
                  <c:v>46121</c:v>
                </c:pt>
                <c:pt idx="672">
                  <c:v>46122</c:v>
                </c:pt>
                <c:pt idx="673">
                  <c:v>46125</c:v>
                </c:pt>
                <c:pt idx="674">
                  <c:v>46126</c:v>
                </c:pt>
                <c:pt idx="675">
                  <c:v>46127</c:v>
                </c:pt>
                <c:pt idx="676">
                  <c:v>46128</c:v>
                </c:pt>
                <c:pt idx="677">
                  <c:v>46129</c:v>
                </c:pt>
                <c:pt idx="678">
                  <c:v>46132</c:v>
                </c:pt>
                <c:pt idx="679">
                  <c:v>46133</c:v>
                </c:pt>
                <c:pt idx="680">
                  <c:v>46134</c:v>
                </c:pt>
                <c:pt idx="681">
                  <c:v>46135</c:v>
                </c:pt>
                <c:pt idx="682">
                  <c:v>46136</c:v>
                </c:pt>
                <c:pt idx="683">
                  <c:v>46139</c:v>
                </c:pt>
                <c:pt idx="684">
                  <c:v>46140</c:v>
                </c:pt>
                <c:pt idx="685">
                  <c:v>46141</c:v>
                </c:pt>
                <c:pt idx="686">
                  <c:v>46142</c:v>
                </c:pt>
                <c:pt idx="687">
                  <c:v>46143</c:v>
                </c:pt>
                <c:pt idx="688">
                  <c:v>46146</c:v>
                </c:pt>
                <c:pt idx="689">
                  <c:v>46147</c:v>
                </c:pt>
                <c:pt idx="690">
                  <c:v>46148</c:v>
                </c:pt>
                <c:pt idx="691">
                  <c:v>46149</c:v>
                </c:pt>
                <c:pt idx="692">
                  <c:v>46150</c:v>
                </c:pt>
                <c:pt idx="693">
                  <c:v>46153</c:v>
                </c:pt>
                <c:pt idx="694">
                  <c:v>46154</c:v>
                </c:pt>
                <c:pt idx="695">
                  <c:v>46155</c:v>
                </c:pt>
                <c:pt idx="696">
                  <c:v>46156</c:v>
                </c:pt>
                <c:pt idx="697">
                  <c:v>46157</c:v>
                </c:pt>
                <c:pt idx="698">
                  <c:v>46160</c:v>
                </c:pt>
                <c:pt idx="699">
                  <c:v>46161</c:v>
                </c:pt>
                <c:pt idx="700">
                  <c:v>46162</c:v>
                </c:pt>
                <c:pt idx="701">
                  <c:v>46163</c:v>
                </c:pt>
                <c:pt idx="702">
                  <c:v>46164</c:v>
                </c:pt>
                <c:pt idx="703">
                  <c:v>46167</c:v>
                </c:pt>
                <c:pt idx="704">
                  <c:v>46168</c:v>
                </c:pt>
                <c:pt idx="705">
                  <c:v>46169</c:v>
                </c:pt>
                <c:pt idx="706">
                  <c:v>46170</c:v>
                </c:pt>
                <c:pt idx="707">
                  <c:v>46171</c:v>
                </c:pt>
                <c:pt idx="708">
                  <c:v>46174</c:v>
                </c:pt>
                <c:pt idx="709">
                  <c:v>46175</c:v>
                </c:pt>
                <c:pt idx="710">
                  <c:v>46176</c:v>
                </c:pt>
                <c:pt idx="711">
                  <c:v>46177</c:v>
                </c:pt>
                <c:pt idx="712">
                  <c:v>46178</c:v>
                </c:pt>
                <c:pt idx="713">
                  <c:v>46181</c:v>
                </c:pt>
                <c:pt idx="714">
                  <c:v>46182</c:v>
                </c:pt>
                <c:pt idx="715">
                  <c:v>46183</c:v>
                </c:pt>
                <c:pt idx="716">
                  <c:v>46184</c:v>
                </c:pt>
                <c:pt idx="717">
                  <c:v>46185</c:v>
                </c:pt>
                <c:pt idx="718">
                  <c:v>46188</c:v>
                </c:pt>
                <c:pt idx="719">
                  <c:v>46189</c:v>
                </c:pt>
                <c:pt idx="720">
                  <c:v>46190</c:v>
                </c:pt>
                <c:pt idx="721">
                  <c:v>46191</c:v>
                </c:pt>
                <c:pt idx="722">
                  <c:v>46192</c:v>
                </c:pt>
                <c:pt idx="723">
                  <c:v>46195</c:v>
                </c:pt>
                <c:pt idx="724">
                  <c:v>46196</c:v>
                </c:pt>
                <c:pt idx="725">
                  <c:v>46197</c:v>
                </c:pt>
                <c:pt idx="726">
                  <c:v>46198</c:v>
                </c:pt>
                <c:pt idx="727">
                  <c:v>46199</c:v>
                </c:pt>
                <c:pt idx="728">
                  <c:v>46202</c:v>
                </c:pt>
                <c:pt idx="729">
                  <c:v>46203</c:v>
                </c:pt>
                <c:pt idx="730">
                  <c:v>46204</c:v>
                </c:pt>
                <c:pt idx="731">
                  <c:v>46205</c:v>
                </c:pt>
                <c:pt idx="732">
                  <c:v>46206</c:v>
                </c:pt>
                <c:pt idx="733">
                  <c:v>46209</c:v>
                </c:pt>
                <c:pt idx="734">
                  <c:v>46210</c:v>
                </c:pt>
                <c:pt idx="735">
                  <c:v>46211</c:v>
                </c:pt>
                <c:pt idx="736">
                  <c:v>46212</c:v>
                </c:pt>
                <c:pt idx="737">
                  <c:v>46213</c:v>
                </c:pt>
                <c:pt idx="738">
                  <c:v>46216</c:v>
                </c:pt>
                <c:pt idx="739">
                  <c:v>46217</c:v>
                </c:pt>
                <c:pt idx="740">
                  <c:v>46218</c:v>
                </c:pt>
                <c:pt idx="741">
                  <c:v>46219</c:v>
                </c:pt>
                <c:pt idx="742">
                  <c:v>46220</c:v>
                </c:pt>
                <c:pt idx="743">
                  <c:v>46223</c:v>
                </c:pt>
                <c:pt idx="744">
                  <c:v>46224</c:v>
                </c:pt>
                <c:pt idx="745">
                  <c:v>46225</c:v>
                </c:pt>
                <c:pt idx="746">
                  <c:v>46226</c:v>
                </c:pt>
                <c:pt idx="747">
                  <c:v>46227</c:v>
                </c:pt>
                <c:pt idx="748">
                  <c:v>46230</c:v>
                </c:pt>
                <c:pt idx="749">
                  <c:v>46231</c:v>
                </c:pt>
                <c:pt idx="750">
                  <c:v>46232</c:v>
                </c:pt>
                <c:pt idx="751">
                  <c:v>46233</c:v>
                </c:pt>
                <c:pt idx="752">
                  <c:v>46234</c:v>
                </c:pt>
                <c:pt idx="753">
                  <c:v>46237</c:v>
                </c:pt>
                <c:pt idx="754">
                  <c:v>46238</c:v>
                </c:pt>
                <c:pt idx="755">
                  <c:v>46239</c:v>
                </c:pt>
                <c:pt idx="756">
                  <c:v>46240</c:v>
                </c:pt>
                <c:pt idx="757">
                  <c:v>46241</c:v>
                </c:pt>
                <c:pt idx="758">
                  <c:v>46244</c:v>
                </c:pt>
                <c:pt idx="759">
                  <c:v>46245</c:v>
                </c:pt>
                <c:pt idx="760">
                  <c:v>46246</c:v>
                </c:pt>
                <c:pt idx="761">
                  <c:v>46247</c:v>
                </c:pt>
                <c:pt idx="762">
                  <c:v>46248</c:v>
                </c:pt>
                <c:pt idx="763">
                  <c:v>46251</c:v>
                </c:pt>
                <c:pt idx="764">
                  <c:v>46252</c:v>
                </c:pt>
                <c:pt idx="765">
                  <c:v>46253</c:v>
                </c:pt>
                <c:pt idx="766">
                  <c:v>46254</c:v>
                </c:pt>
                <c:pt idx="767">
                  <c:v>46255</c:v>
                </c:pt>
                <c:pt idx="768">
                  <c:v>46258</c:v>
                </c:pt>
                <c:pt idx="769">
                  <c:v>46259</c:v>
                </c:pt>
                <c:pt idx="770">
                  <c:v>46260</c:v>
                </c:pt>
                <c:pt idx="771">
                  <c:v>46261</c:v>
                </c:pt>
                <c:pt idx="772">
                  <c:v>46262</c:v>
                </c:pt>
                <c:pt idx="773">
                  <c:v>46265</c:v>
                </c:pt>
                <c:pt idx="774">
                  <c:v>46266</c:v>
                </c:pt>
                <c:pt idx="775">
                  <c:v>46267</c:v>
                </c:pt>
                <c:pt idx="776">
                  <c:v>46268</c:v>
                </c:pt>
                <c:pt idx="777">
                  <c:v>46269</c:v>
                </c:pt>
                <c:pt idx="778">
                  <c:v>46272</c:v>
                </c:pt>
                <c:pt idx="779">
                  <c:v>46273</c:v>
                </c:pt>
                <c:pt idx="780">
                  <c:v>46274</c:v>
                </c:pt>
                <c:pt idx="781">
                  <c:v>46275</c:v>
                </c:pt>
                <c:pt idx="782">
                  <c:v>46276</c:v>
                </c:pt>
                <c:pt idx="783">
                  <c:v>46279</c:v>
                </c:pt>
                <c:pt idx="784">
                  <c:v>46280</c:v>
                </c:pt>
                <c:pt idx="785">
                  <c:v>46281</c:v>
                </c:pt>
                <c:pt idx="786">
                  <c:v>46282</c:v>
                </c:pt>
                <c:pt idx="787">
                  <c:v>46283</c:v>
                </c:pt>
                <c:pt idx="788">
                  <c:v>46286</c:v>
                </c:pt>
                <c:pt idx="789">
                  <c:v>46287</c:v>
                </c:pt>
                <c:pt idx="790">
                  <c:v>46288</c:v>
                </c:pt>
                <c:pt idx="791">
                  <c:v>46289</c:v>
                </c:pt>
                <c:pt idx="792">
                  <c:v>46290</c:v>
                </c:pt>
                <c:pt idx="793">
                  <c:v>46293</c:v>
                </c:pt>
                <c:pt idx="794">
                  <c:v>46294</c:v>
                </c:pt>
                <c:pt idx="795">
                  <c:v>46295</c:v>
                </c:pt>
                <c:pt idx="796">
                  <c:v>46296</c:v>
                </c:pt>
                <c:pt idx="797">
                  <c:v>46297</c:v>
                </c:pt>
                <c:pt idx="798">
                  <c:v>46300</c:v>
                </c:pt>
                <c:pt idx="799">
                  <c:v>46301</c:v>
                </c:pt>
                <c:pt idx="800">
                  <c:v>46302</c:v>
                </c:pt>
                <c:pt idx="801">
                  <c:v>46303</c:v>
                </c:pt>
                <c:pt idx="802">
                  <c:v>46304</c:v>
                </c:pt>
                <c:pt idx="803">
                  <c:v>46307</c:v>
                </c:pt>
                <c:pt idx="804">
                  <c:v>46308</c:v>
                </c:pt>
                <c:pt idx="805">
                  <c:v>46309</c:v>
                </c:pt>
                <c:pt idx="806">
                  <c:v>46310</c:v>
                </c:pt>
                <c:pt idx="807">
                  <c:v>46311</c:v>
                </c:pt>
                <c:pt idx="808">
                  <c:v>46314</c:v>
                </c:pt>
                <c:pt idx="809">
                  <c:v>46315</c:v>
                </c:pt>
                <c:pt idx="810">
                  <c:v>46316</c:v>
                </c:pt>
                <c:pt idx="811">
                  <c:v>46317</c:v>
                </c:pt>
                <c:pt idx="812">
                  <c:v>46318</c:v>
                </c:pt>
                <c:pt idx="813">
                  <c:v>46321</c:v>
                </c:pt>
                <c:pt idx="814">
                  <c:v>46322</c:v>
                </c:pt>
                <c:pt idx="815">
                  <c:v>46323</c:v>
                </c:pt>
                <c:pt idx="816">
                  <c:v>46324</c:v>
                </c:pt>
                <c:pt idx="817">
                  <c:v>46325</c:v>
                </c:pt>
                <c:pt idx="818">
                  <c:v>46328</c:v>
                </c:pt>
                <c:pt idx="819">
                  <c:v>46329</c:v>
                </c:pt>
                <c:pt idx="820">
                  <c:v>46330</c:v>
                </c:pt>
                <c:pt idx="821">
                  <c:v>46331</c:v>
                </c:pt>
                <c:pt idx="822">
                  <c:v>46332</c:v>
                </c:pt>
                <c:pt idx="823">
                  <c:v>46335</c:v>
                </c:pt>
                <c:pt idx="824">
                  <c:v>46336</c:v>
                </c:pt>
                <c:pt idx="825">
                  <c:v>46337</c:v>
                </c:pt>
                <c:pt idx="826">
                  <c:v>46338</c:v>
                </c:pt>
                <c:pt idx="827">
                  <c:v>46339</c:v>
                </c:pt>
                <c:pt idx="828">
                  <c:v>46342</c:v>
                </c:pt>
                <c:pt idx="829">
                  <c:v>46343</c:v>
                </c:pt>
                <c:pt idx="830">
                  <c:v>46344</c:v>
                </c:pt>
                <c:pt idx="831">
                  <c:v>46345</c:v>
                </c:pt>
                <c:pt idx="832">
                  <c:v>46346</c:v>
                </c:pt>
                <c:pt idx="833">
                  <c:v>46349</c:v>
                </c:pt>
                <c:pt idx="834">
                  <c:v>46350</c:v>
                </c:pt>
                <c:pt idx="835">
                  <c:v>46351</c:v>
                </c:pt>
                <c:pt idx="836">
                  <c:v>46352</c:v>
                </c:pt>
                <c:pt idx="837">
                  <c:v>46353</c:v>
                </c:pt>
                <c:pt idx="838">
                  <c:v>46356</c:v>
                </c:pt>
                <c:pt idx="839">
                  <c:v>46357</c:v>
                </c:pt>
                <c:pt idx="840">
                  <c:v>46358</c:v>
                </c:pt>
                <c:pt idx="841">
                  <c:v>46359</c:v>
                </c:pt>
                <c:pt idx="842">
                  <c:v>46360</c:v>
                </c:pt>
                <c:pt idx="843">
                  <c:v>46363</c:v>
                </c:pt>
                <c:pt idx="844">
                  <c:v>46364</c:v>
                </c:pt>
                <c:pt idx="845">
                  <c:v>46365</c:v>
                </c:pt>
                <c:pt idx="846">
                  <c:v>46366</c:v>
                </c:pt>
                <c:pt idx="847">
                  <c:v>46367</c:v>
                </c:pt>
                <c:pt idx="848">
                  <c:v>46370</c:v>
                </c:pt>
                <c:pt idx="849">
                  <c:v>46371</c:v>
                </c:pt>
                <c:pt idx="850">
                  <c:v>46372</c:v>
                </c:pt>
                <c:pt idx="851">
                  <c:v>46373</c:v>
                </c:pt>
                <c:pt idx="852">
                  <c:v>46374</c:v>
                </c:pt>
                <c:pt idx="853">
                  <c:v>46377</c:v>
                </c:pt>
                <c:pt idx="854">
                  <c:v>46378</c:v>
                </c:pt>
                <c:pt idx="855">
                  <c:v>46379</c:v>
                </c:pt>
                <c:pt idx="856">
                  <c:v>46380</c:v>
                </c:pt>
                <c:pt idx="857">
                  <c:v>46381</c:v>
                </c:pt>
                <c:pt idx="858">
                  <c:v>46384</c:v>
                </c:pt>
                <c:pt idx="859">
                  <c:v>46385</c:v>
                </c:pt>
                <c:pt idx="860">
                  <c:v>46386</c:v>
                </c:pt>
                <c:pt idx="861">
                  <c:v>46387</c:v>
                </c:pt>
                <c:pt idx="862">
                  <c:v>46388</c:v>
                </c:pt>
                <c:pt idx="863">
                  <c:v>46391</c:v>
                </c:pt>
                <c:pt idx="864">
                  <c:v>46392</c:v>
                </c:pt>
                <c:pt idx="865">
                  <c:v>46393</c:v>
                </c:pt>
                <c:pt idx="866">
                  <c:v>46394</c:v>
                </c:pt>
                <c:pt idx="867">
                  <c:v>46395</c:v>
                </c:pt>
                <c:pt idx="868">
                  <c:v>46398</c:v>
                </c:pt>
                <c:pt idx="869">
                  <c:v>46399</c:v>
                </c:pt>
                <c:pt idx="870">
                  <c:v>46400</c:v>
                </c:pt>
                <c:pt idx="871">
                  <c:v>46401</c:v>
                </c:pt>
                <c:pt idx="872">
                  <c:v>46402</c:v>
                </c:pt>
                <c:pt idx="873">
                  <c:v>46405</c:v>
                </c:pt>
                <c:pt idx="874">
                  <c:v>46406</c:v>
                </c:pt>
                <c:pt idx="875">
                  <c:v>46407</c:v>
                </c:pt>
                <c:pt idx="876">
                  <c:v>46408</c:v>
                </c:pt>
                <c:pt idx="877">
                  <c:v>46409</c:v>
                </c:pt>
                <c:pt idx="878">
                  <c:v>46412</c:v>
                </c:pt>
                <c:pt idx="879">
                  <c:v>46413</c:v>
                </c:pt>
                <c:pt idx="880">
                  <c:v>46414</c:v>
                </c:pt>
                <c:pt idx="881">
                  <c:v>46415</c:v>
                </c:pt>
                <c:pt idx="882">
                  <c:v>46416</c:v>
                </c:pt>
                <c:pt idx="883">
                  <c:v>46419</c:v>
                </c:pt>
                <c:pt idx="884">
                  <c:v>46420</c:v>
                </c:pt>
                <c:pt idx="885">
                  <c:v>46421</c:v>
                </c:pt>
                <c:pt idx="886">
                  <c:v>46422</c:v>
                </c:pt>
                <c:pt idx="887">
                  <c:v>46423</c:v>
                </c:pt>
                <c:pt idx="888">
                  <c:v>46426</c:v>
                </c:pt>
                <c:pt idx="889">
                  <c:v>46427</c:v>
                </c:pt>
                <c:pt idx="890">
                  <c:v>46428</c:v>
                </c:pt>
                <c:pt idx="891">
                  <c:v>46429</c:v>
                </c:pt>
                <c:pt idx="892">
                  <c:v>46430</c:v>
                </c:pt>
                <c:pt idx="893">
                  <c:v>46433</c:v>
                </c:pt>
                <c:pt idx="894">
                  <c:v>46434</c:v>
                </c:pt>
                <c:pt idx="895">
                  <c:v>46435</c:v>
                </c:pt>
                <c:pt idx="896">
                  <c:v>46436</c:v>
                </c:pt>
                <c:pt idx="897">
                  <c:v>46437</c:v>
                </c:pt>
                <c:pt idx="898">
                  <c:v>46440</c:v>
                </c:pt>
                <c:pt idx="899">
                  <c:v>46441</c:v>
                </c:pt>
                <c:pt idx="900">
                  <c:v>46442</c:v>
                </c:pt>
                <c:pt idx="901">
                  <c:v>46443</c:v>
                </c:pt>
                <c:pt idx="902">
                  <c:v>46444</c:v>
                </c:pt>
                <c:pt idx="903">
                  <c:v>46447</c:v>
                </c:pt>
                <c:pt idx="904">
                  <c:v>46448</c:v>
                </c:pt>
                <c:pt idx="905">
                  <c:v>46449</c:v>
                </c:pt>
                <c:pt idx="906">
                  <c:v>46450</c:v>
                </c:pt>
                <c:pt idx="907">
                  <c:v>46451</c:v>
                </c:pt>
                <c:pt idx="908">
                  <c:v>46454</c:v>
                </c:pt>
                <c:pt idx="909">
                  <c:v>46455</c:v>
                </c:pt>
                <c:pt idx="910">
                  <c:v>46456</c:v>
                </c:pt>
                <c:pt idx="911">
                  <c:v>46457</c:v>
                </c:pt>
                <c:pt idx="912">
                  <c:v>46458</c:v>
                </c:pt>
                <c:pt idx="913">
                  <c:v>46461</c:v>
                </c:pt>
                <c:pt idx="914">
                  <c:v>46462</c:v>
                </c:pt>
                <c:pt idx="915">
                  <c:v>46463</c:v>
                </c:pt>
                <c:pt idx="916">
                  <c:v>46464</c:v>
                </c:pt>
                <c:pt idx="917">
                  <c:v>46465</c:v>
                </c:pt>
                <c:pt idx="918">
                  <c:v>46468</c:v>
                </c:pt>
                <c:pt idx="919">
                  <c:v>46469</c:v>
                </c:pt>
                <c:pt idx="920">
                  <c:v>46470</c:v>
                </c:pt>
                <c:pt idx="921">
                  <c:v>46471</c:v>
                </c:pt>
                <c:pt idx="922">
                  <c:v>46472</c:v>
                </c:pt>
                <c:pt idx="923">
                  <c:v>46475</c:v>
                </c:pt>
                <c:pt idx="924">
                  <c:v>46476</c:v>
                </c:pt>
                <c:pt idx="925">
                  <c:v>46477</c:v>
                </c:pt>
                <c:pt idx="926">
                  <c:v>46478</c:v>
                </c:pt>
                <c:pt idx="927">
                  <c:v>46479</c:v>
                </c:pt>
                <c:pt idx="928">
                  <c:v>46482</c:v>
                </c:pt>
                <c:pt idx="929">
                  <c:v>46483</c:v>
                </c:pt>
                <c:pt idx="930">
                  <c:v>46484</c:v>
                </c:pt>
                <c:pt idx="931">
                  <c:v>46485</c:v>
                </c:pt>
                <c:pt idx="932">
                  <c:v>46486</c:v>
                </c:pt>
                <c:pt idx="933">
                  <c:v>46489</c:v>
                </c:pt>
                <c:pt idx="934">
                  <c:v>46490</c:v>
                </c:pt>
                <c:pt idx="935">
                  <c:v>46491</c:v>
                </c:pt>
                <c:pt idx="936">
                  <c:v>46492</c:v>
                </c:pt>
                <c:pt idx="937">
                  <c:v>46493</c:v>
                </c:pt>
                <c:pt idx="938">
                  <c:v>46496</c:v>
                </c:pt>
                <c:pt idx="939">
                  <c:v>46497</c:v>
                </c:pt>
                <c:pt idx="940">
                  <c:v>46498</c:v>
                </c:pt>
                <c:pt idx="941">
                  <c:v>46499</c:v>
                </c:pt>
                <c:pt idx="942">
                  <c:v>46500</c:v>
                </c:pt>
                <c:pt idx="943">
                  <c:v>46503</c:v>
                </c:pt>
                <c:pt idx="944">
                  <c:v>46504</c:v>
                </c:pt>
                <c:pt idx="945">
                  <c:v>46505</c:v>
                </c:pt>
                <c:pt idx="946">
                  <c:v>46506</c:v>
                </c:pt>
                <c:pt idx="947">
                  <c:v>46507</c:v>
                </c:pt>
                <c:pt idx="948">
                  <c:v>46510</c:v>
                </c:pt>
                <c:pt idx="949">
                  <c:v>46511</c:v>
                </c:pt>
                <c:pt idx="950">
                  <c:v>46512</c:v>
                </c:pt>
                <c:pt idx="951">
                  <c:v>46513</c:v>
                </c:pt>
                <c:pt idx="952">
                  <c:v>46514</c:v>
                </c:pt>
                <c:pt idx="953">
                  <c:v>46517</c:v>
                </c:pt>
                <c:pt idx="954">
                  <c:v>46518</c:v>
                </c:pt>
                <c:pt idx="955">
                  <c:v>46519</c:v>
                </c:pt>
                <c:pt idx="956">
                  <c:v>46520</c:v>
                </c:pt>
                <c:pt idx="957">
                  <c:v>46521</c:v>
                </c:pt>
                <c:pt idx="958">
                  <c:v>46524</c:v>
                </c:pt>
                <c:pt idx="959">
                  <c:v>46525</c:v>
                </c:pt>
                <c:pt idx="960">
                  <c:v>46526</c:v>
                </c:pt>
                <c:pt idx="961">
                  <c:v>46527</c:v>
                </c:pt>
                <c:pt idx="962">
                  <c:v>46528</c:v>
                </c:pt>
                <c:pt idx="963">
                  <c:v>46531</c:v>
                </c:pt>
                <c:pt idx="964">
                  <c:v>46532</c:v>
                </c:pt>
                <c:pt idx="965">
                  <c:v>46533</c:v>
                </c:pt>
                <c:pt idx="966">
                  <c:v>46534</c:v>
                </c:pt>
                <c:pt idx="967">
                  <c:v>46535</c:v>
                </c:pt>
                <c:pt idx="968">
                  <c:v>46538</c:v>
                </c:pt>
                <c:pt idx="969">
                  <c:v>46539</c:v>
                </c:pt>
                <c:pt idx="970">
                  <c:v>46540</c:v>
                </c:pt>
                <c:pt idx="971">
                  <c:v>46541</c:v>
                </c:pt>
                <c:pt idx="972">
                  <c:v>46542</c:v>
                </c:pt>
                <c:pt idx="973">
                  <c:v>46545</c:v>
                </c:pt>
                <c:pt idx="974">
                  <c:v>46546</c:v>
                </c:pt>
                <c:pt idx="975">
                  <c:v>46547</c:v>
                </c:pt>
                <c:pt idx="976">
                  <c:v>46548</c:v>
                </c:pt>
                <c:pt idx="977">
                  <c:v>46549</c:v>
                </c:pt>
                <c:pt idx="978">
                  <c:v>46552</c:v>
                </c:pt>
                <c:pt idx="979">
                  <c:v>46553</c:v>
                </c:pt>
                <c:pt idx="980">
                  <c:v>46554</c:v>
                </c:pt>
                <c:pt idx="981">
                  <c:v>46555</c:v>
                </c:pt>
                <c:pt idx="982">
                  <c:v>46556</c:v>
                </c:pt>
                <c:pt idx="983">
                  <c:v>46559</c:v>
                </c:pt>
                <c:pt idx="984">
                  <c:v>46560</c:v>
                </c:pt>
                <c:pt idx="985">
                  <c:v>46561</c:v>
                </c:pt>
                <c:pt idx="986">
                  <c:v>46562</c:v>
                </c:pt>
                <c:pt idx="987">
                  <c:v>46563</c:v>
                </c:pt>
                <c:pt idx="988">
                  <c:v>46566</c:v>
                </c:pt>
                <c:pt idx="989">
                  <c:v>46567</c:v>
                </c:pt>
                <c:pt idx="990">
                  <c:v>46568</c:v>
                </c:pt>
                <c:pt idx="991">
                  <c:v>46569</c:v>
                </c:pt>
                <c:pt idx="992">
                  <c:v>46570</c:v>
                </c:pt>
                <c:pt idx="993">
                  <c:v>46573</c:v>
                </c:pt>
                <c:pt idx="994">
                  <c:v>46574</c:v>
                </c:pt>
                <c:pt idx="995">
                  <c:v>46575</c:v>
                </c:pt>
                <c:pt idx="996">
                  <c:v>46576</c:v>
                </c:pt>
                <c:pt idx="997">
                  <c:v>46577</c:v>
                </c:pt>
                <c:pt idx="998">
                  <c:v>46580</c:v>
                </c:pt>
              </c:numCache>
            </c:numRef>
          </c:cat>
          <c:val>
            <c:numRef>
              <c:f>Daily!$I$2:$I$1057</c:f>
            </c:numRef>
          </c:val>
          <c:smooth val="0"/>
          <c:extLst>
            <c:ext xmlns:c16="http://schemas.microsoft.com/office/drawing/2014/chart" uri="{C3380CC4-5D6E-409C-BE32-E72D297353CC}">
              <c16:uniqueId val="{0000000E-094D-4E29-B010-D717A2A1A293}"/>
            </c:ext>
          </c:extLst>
        </c:ser>
        <c:ser>
          <c:idx val="8"/>
          <c:order val="8"/>
          <c:tx>
            <c:strRef>
              <c:f>Daily!$J$1</c:f>
              <c:strCache>
                <c:ptCount val="1"/>
                <c:pt idx="0">
                  <c:v>M+8</c:v>
                </c:pt>
              </c:strCache>
            </c:strRef>
          </c:tx>
          <c:spPr>
            <a:ln w="28575" cap="rnd" cmpd="sng" algn="ctr">
              <a:solidFill>
                <a:schemeClr val="accent3">
                  <a:lumMod val="60000"/>
                  <a:shade val="95000"/>
                  <a:satMod val="105000"/>
                </a:schemeClr>
              </a:solidFill>
              <a:prstDash val="solid"/>
              <a:round/>
            </a:ln>
            <a:effectLst/>
          </c:spPr>
          <c:marker>
            <c:symbol val="none"/>
          </c:marker>
          <c:cat>
            <c:numRef>
              <c:f>Daily!$A$2:$A$1000</c:f>
              <c:numCache>
                <c:formatCode>d\-mmm\-yy</c:formatCode>
                <c:ptCount val="999"/>
                <c:pt idx="0">
                  <c:v>45128</c:v>
                </c:pt>
                <c:pt idx="1">
                  <c:v>45131</c:v>
                </c:pt>
                <c:pt idx="2">
                  <c:v>45132</c:v>
                </c:pt>
                <c:pt idx="3">
                  <c:v>45133</c:v>
                </c:pt>
                <c:pt idx="4">
                  <c:v>45134</c:v>
                </c:pt>
                <c:pt idx="5">
                  <c:v>45135</c:v>
                </c:pt>
                <c:pt idx="6">
                  <c:v>45138</c:v>
                </c:pt>
                <c:pt idx="7">
                  <c:v>45139</c:v>
                </c:pt>
                <c:pt idx="8">
                  <c:v>45140</c:v>
                </c:pt>
                <c:pt idx="9">
                  <c:v>45141</c:v>
                </c:pt>
                <c:pt idx="10">
                  <c:v>45142</c:v>
                </c:pt>
                <c:pt idx="11">
                  <c:v>45145</c:v>
                </c:pt>
                <c:pt idx="12">
                  <c:v>45146</c:v>
                </c:pt>
                <c:pt idx="13">
                  <c:v>45147</c:v>
                </c:pt>
                <c:pt idx="14">
                  <c:v>45148</c:v>
                </c:pt>
                <c:pt idx="15">
                  <c:v>45149</c:v>
                </c:pt>
                <c:pt idx="16">
                  <c:v>45152</c:v>
                </c:pt>
                <c:pt idx="17">
                  <c:v>45153</c:v>
                </c:pt>
                <c:pt idx="18">
                  <c:v>45154</c:v>
                </c:pt>
                <c:pt idx="19">
                  <c:v>45155</c:v>
                </c:pt>
                <c:pt idx="20">
                  <c:v>45156</c:v>
                </c:pt>
                <c:pt idx="21">
                  <c:v>45159</c:v>
                </c:pt>
                <c:pt idx="22">
                  <c:v>45160</c:v>
                </c:pt>
                <c:pt idx="23">
                  <c:v>45161</c:v>
                </c:pt>
                <c:pt idx="24">
                  <c:v>45162</c:v>
                </c:pt>
                <c:pt idx="25">
                  <c:v>45163</c:v>
                </c:pt>
                <c:pt idx="26">
                  <c:v>45166</c:v>
                </c:pt>
                <c:pt idx="27">
                  <c:v>45167</c:v>
                </c:pt>
                <c:pt idx="28">
                  <c:v>45168</c:v>
                </c:pt>
                <c:pt idx="29">
                  <c:v>45169</c:v>
                </c:pt>
                <c:pt idx="30">
                  <c:v>45170</c:v>
                </c:pt>
                <c:pt idx="31">
                  <c:v>45173</c:v>
                </c:pt>
                <c:pt idx="32">
                  <c:v>45174</c:v>
                </c:pt>
                <c:pt idx="33">
                  <c:v>45175</c:v>
                </c:pt>
                <c:pt idx="34">
                  <c:v>45176</c:v>
                </c:pt>
                <c:pt idx="35">
                  <c:v>45177</c:v>
                </c:pt>
                <c:pt idx="36">
                  <c:v>45180</c:v>
                </c:pt>
                <c:pt idx="37">
                  <c:v>45181</c:v>
                </c:pt>
                <c:pt idx="38">
                  <c:v>45182</c:v>
                </c:pt>
                <c:pt idx="39">
                  <c:v>45183</c:v>
                </c:pt>
                <c:pt idx="40">
                  <c:v>45184</c:v>
                </c:pt>
                <c:pt idx="41">
                  <c:v>45187</c:v>
                </c:pt>
                <c:pt idx="42">
                  <c:v>45188</c:v>
                </c:pt>
                <c:pt idx="43">
                  <c:v>45189</c:v>
                </c:pt>
                <c:pt idx="44">
                  <c:v>45190</c:v>
                </c:pt>
                <c:pt idx="45">
                  <c:v>45191</c:v>
                </c:pt>
                <c:pt idx="46">
                  <c:v>45194</c:v>
                </c:pt>
                <c:pt idx="47">
                  <c:v>45195</c:v>
                </c:pt>
                <c:pt idx="48">
                  <c:v>45196</c:v>
                </c:pt>
                <c:pt idx="49">
                  <c:v>45197</c:v>
                </c:pt>
                <c:pt idx="50">
                  <c:v>45208</c:v>
                </c:pt>
                <c:pt idx="51">
                  <c:v>45209</c:v>
                </c:pt>
                <c:pt idx="52">
                  <c:v>45210</c:v>
                </c:pt>
                <c:pt idx="53">
                  <c:v>45211</c:v>
                </c:pt>
                <c:pt idx="54">
                  <c:v>45212</c:v>
                </c:pt>
                <c:pt idx="55">
                  <c:v>45215</c:v>
                </c:pt>
                <c:pt idx="56">
                  <c:v>45216</c:v>
                </c:pt>
                <c:pt idx="57">
                  <c:v>45217</c:v>
                </c:pt>
                <c:pt idx="58">
                  <c:v>45218</c:v>
                </c:pt>
                <c:pt idx="59">
                  <c:v>45219</c:v>
                </c:pt>
                <c:pt idx="60">
                  <c:v>45222</c:v>
                </c:pt>
                <c:pt idx="61">
                  <c:v>45223</c:v>
                </c:pt>
                <c:pt idx="62">
                  <c:v>45224</c:v>
                </c:pt>
                <c:pt idx="63">
                  <c:v>45225</c:v>
                </c:pt>
                <c:pt idx="64">
                  <c:v>45226</c:v>
                </c:pt>
                <c:pt idx="65">
                  <c:v>45229</c:v>
                </c:pt>
                <c:pt idx="66">
                  <c:v>45230</c:v>
                </c:pt>
                <c:pt idx="67">
                  <c:v>45231</c:v>
                </c:pt>
                <c:pt idx="68">
                  <c:v>45232</c:v>
                </c:pt>
                <c:pt idx="69">
                  <c:v>45233</c:v>
                </c:pt>
                <c:pt idx="70">
                  <c:v>45236</c:v>
                </c:pt>
                <c:pt idx="71">
                  <c:v>45237</c:v>
                </c:pt>
                <c:pt idx="72">
                  <c:v>45238</c:v>
                </c:pt>
                <c:pt idx="73">
                  <c:v>45239</c:v>
                </c:pt>
                <c:pt idx="74">
                  <c:v>45240</c:v>
                </c:pt>
                <c:pt idx="75">
                  <c:v>45243</c:v>
                </c:pt>
                <c:pt idx="76">
                  <c:v>45244</c:v>
                </c:pt>
                <c:pt idx="77">
                  <c:v>45245</c:v>
                </c:pt>
                <c:pt idx="78">
                  <c:v>45246</c:v>
                </c:pt>
                <c:pt idx="79">
                  <c:v>45247</c:v>
                </c:pt>
                <c:pt idx="80">
                  <c:v>45250</c:v>
                </c:pt>
                <c:pt idx="81">
                  <c:v>45251</c:v>
                </c:pt>
                <c:pt idx="82">
                  <c:v>45252</c:v>
                </c:pt>
                <c:pt idx="83">
                  <c:v>45253</c:v>
                </c:pt>
                <c:pt idx="84">
                  <c:v>45254</c:v>
                </c:pt>
                <c:pt idx="85">
                  <c:v>45257</c:v>
                </c:pt>
                <c:pt idx="86">
                  <c:v>45258</c:v>
                </c:pt>
                <c:pt idx="87">
                  <c:v>45259</c:v>
                </c:pt>
                <c:pt idx="88">
                  <c:v>45260</c:v>
                </c:pt>
                <c:pt idx="89">
                  <c:v>45261</c:v>
                </c:pt>
                <c:pt idx="90">
                  <c:v>45264</c:v>
                </c:pt>
                <c:pt idx="91">
                  <c:v>45265</c:v>
                </c:pt>
                <c:pt idx="92">
                  <c:v>45266</c:v>
                </c:pt>
                <c:pt idx="93">
                  <c:v>45267</c:v>
                </c:pt>
                <c:pt idx="94">
                  <c:v>45268</c:v>
                </c:pt>
                <c:pt idx="95">
                  <c:v>45271</c:v>
                </c:pt>
                <c:pt idx="96">
                  <c:v>45272</c:v>
                </c:pt>
                <c:pt idx="97">
                  <c:v>45273</c:v>
                </c:pt>
                <c:pt idx="98">
                  <c:v>45274</c:v>
                </c:pt>
                <c:pt idx="99">
                  <c:v>45275</c:v>
                </c:pt>
                <c:pt idx="100">
                  <c:v>45278</c:v>
                </c:pt>
                <c:pt idx="101">
                  <c:v>45279</c:v>
                </c:pt>
                <c:pt idx="102">
                  <c:v>45280</c:v>
                </c:pt>
                <c:pt idx="103">
                  <c:v>45281</c:v>
                </c:pt>
                <c:pt idx="104">
                  <c:v>45282</c:v>
                </c:pt>
                <c:pt idx="105">
                  <c:v>45285</c:v>
                </c:pt>
                <c:pt idx="106">
                  <c:v>45286</c:v>
                </c:pt>
                <c:pt idx="107">
                  <c:v>45287</c:v>
                </c:pt>
                <c:pt idx="108">
                  <c:v>45288</c:v>
                </c:pt>
                <c:pt idx="109">
                  <c:v>45289</c:v>
                </c:pt>
                <c:pt idx="110">
                  <c:v>45293</c:v>
                </c:pt>
                <c:pt idx="111">
                  <c:v>45294</c:v>
                </c:pt>
                <c:pt idx="112">
                  <c:v>45295</c:v>
                </c:pt>
                <c:pt idx="113">
                  <c:v>45296</c:v>
                </c:pt>
                <c:pt idx="114">
                  <c:v>45299</c:v>
                </c:pt>
                <c:pt idx="115">
                  <c:v>45300</c:v>
                </c:pt>
                <c:pt idx="116">
                  <c:v>45301</c:v>
                </c:pt>
                <c:pt idx="117">
                  <c:v>45302</c:v>
                </c:pt>
                <c:pt idx="118">
                  <c:v>45303</c:v>
                </c:pt>
                <c:pt idx="119">
                  <c:v>45306</c:v>
                </c:pt>
                <c:pt idx="120">
                  <c:v>45307</c:v>
                </c:pt>
                <c:pt idx="121">
                  <c:v>45308</c:v>
                </c:pt>
                <c:pt idx="122">
                  <c:v>45309</c:v>
                </c:pt>
                <c:pt idx="123">
                  <c:v>45310</c:v>
                </c:pt>
                <c:pt idx="124">
                  <c:v>45313</c:v>
                </c:pt>
                <c:pt idx="125">
                  <c:v>45314</c:v>
                </c:pt>
                <c:pt idx="126">
                  <c:v>45315</c:v>
                </c:pt>
                <c:pt idx="127">
                  <c:v>45316</c:v>
                </c:pt>
                <c:pt idx="128">
                  <c:v>45317</c:v>
                </c:pt>
                <c:pt idx="129">
                  <c:v>45320</c:v>
                </c:pt>
                <c:pt idx="130">
                  <c:v>45321</c:v>
                </c:pt>
                <c:pt idx="131">
                  <c:v>45322</c:v>
                </c:pt>
                <c:pt idx="132">
                  <c:v>45323</c:v>
                </c:pt>
                <c:pt idx="133">
                  <c:v>45324</c:v>
                </c:pt>
                <c:pt idx="134">
                  <c:v>45327</c:v>
                </c:pt>
                <c:pt idx="135">
                  <c:v>45328</c:v>
                </c:pt>
                <c:pt idx="136">
                  <c:v>45329</c:v>
                </c:pt>
                <c:pt idx="137">
                  <c:v>45330</c:v>
                </c:pt>
                <c:pt idx="138">
                  <c:v>45341</c:v>
                </c:pt>
                <c:pt idx="139">
                  <c:v>45342</c:v>
                </c:pt>
                <c:pt idx="140">
                  <c:v>45343</c:v>
                </c:pt>
                <c:pt idx="141">
                  <c:v>45344</c:v>
                </c:pt>
                <c:pt idx="142">
                  <c:v>45345</c:v>
                </c:pt>
                <c:pt idx="143">
                  <c:v>45348</c:v>
                </c:pt>
                <c:pt idx="144">
                  <c:v>45349</c:v>
                </c:pt>
                <c:pt idx="145">
                  <c:v>45350</c:v>
                </c:pt>
                <c:pt idx="146">
                  <c:v>45351</c:v>
                </c:pt>
                <c:pt idx="147">
                  <c:v>45352</c:v>
                </c:pt>
                <c:pt idx="148">
                  <c:v>45355</c:v>
                </c:pt>
                <c:pt idx="149">
                  <c:v>45356</c:v>
                </c:pt>
                <c:pt idx="150">
                  <c:v>45357</c:v>
                </c:pt>
                <c:pt idx="151">
                  <c:v>45358</c:v>
                </c:pt>
                <c:pt idx="152">
                  <c:v>45359</c:v>
                </c:pt>
                <c:pt idx="153">
                  <c:v>45362</c:v>
                </c:pt>
                <c:pt idx="154">
                  <c:v>45363</c:v>
                </c:pt>
                <c:pt idx="155">
                  <c:v>45364</c:v>
                </c:pt>
                <c:pt idx="156">
                  <c:v>45365</c:v>
                </c:pt>
                <c:pt idx="157">
                  <c:v>45366</c:v>
                </c:pt>
                <c:pt idx="158">
                  <c:v>45369</c:v>
                </c:pt>
                <c:pt idx="159">
                  <c:v>45370</c:v>
                </c:pt>
                <c:pt idx="160">
                  <c:v>45371</c:v>
                </c:pt>
                <c:pt idx="161">
                  <c:v>45372</c:v>
                </c:pt>
                <c:pt idx="162">
                  <c:v>45373</c:v>
                </c:pt>
                <c:pt idx="163">
                  <c:v>45376</c:v>
                </c:pt>
                <c:pt idx="164">
                  <c:v>45377</c:v>
                </c:pt>
                <c:pt idx="165">
                  <c:v>45378</c:v>
                </c:pt>
                <c:pt idx="166">
                  <c:v>45379</c:v>
                </c:pt>
                <c:pt idx="167">
                  <c:v>45380</c:v>
                </c:pt>
                <c:pt idx="168">
                  <c:v>45383</c:v>
                </c:pt>
                <c:pt idx="169">
                  <c:v>45384</c:v>
                </c:pt>
                <c:pt idx="170">
                  <c:v>45385</c:v>
                </c:pt>
                <c:pt idx="171">
                  <c:v>45390</c:v>
                </c:pt>
                <c:pt idx="172">
                  <c:v>45391</c:v>
                </c:pt>
                <c:pt idx="173">
                  <c:v>45392</c:v>
                </c:pt>
                <c:pt idx="174">
                  <c:v>45393</c:v>
                </c:pt>
                <c:pt idx="175">
                  <c:v>45394</c:v>
                </c:pt>
                <c:pt idx="176">
                  <c:v>45397</c:v>
                </c:pt>
                <c:pt idx="177">
                  <c:v>45398</c:v>
                </c:pt>
                <c:pt idx="178">
                  <c:v>45399</c:v>
                </c:pt>
                <c:pt idx="179">
                  <c:v>45400</c:v>
                </c:pt>
                <c:pt idx="180">
                  <c:v>45401</c:v>
                </c:pt>
                <c:pt idx="181">
                  <c:v>45404</c:v>
                </c:pt>
                <c:pt idx="182">
                  <c:v>45405</c:v>
                </c:pt>
                <c:pt idx="183">
                  <c:v>45406</c:v>
                </c:pt>
                <c:pt idx="184">
                  <c:v>45407</c:v>
                </c:pt>
                <c:pt idx="185">
                  <c:v>45408</c:v>
                </c:pt>
                <c:pt idx="186">
                  <c:v>45411</c:v>
                </c:pt>
                <c:pt idx="187">
                  <c:v>45412</c:v>
                </c:pt>
                <c:pt idx="188">
                  <c:v>45418</c:v>
                </c:pt>
                <c:pt idx="189">
                  <c:v>45419</c:v>
                </c:pt>
                <c:pt idx="190">
                  <c:v>45420</c:v>
                </c:pt>
                <c:pt idx="191">
                  <c:v>45421</c:v>
                </c:pt>
                <c:pt idx="192">
                  <c:v>45422</c:v>
                </c:pt>
                <c:pt idx="193">
                  <c:v>45425</c:v>
                </c:pt>
                <c:pt idx="194">
                  <c:v>45426</c:v>
                </c:pt>
                <c:pt idx="195">
                  <c:v>45427</c:v>
                </c:pt>
                <c:pt idx="196">
                  <c:v>45428</c:v>
                </c:pt>
                <c:pt idx="197">
                  <c:v>45429</c:v>
                </c:pt>
                <c:pt idx="198">
                  <c:v>45432</c:v>
                </c:pt>
                <c:pt idx="199">
                  <c:v>45433</c:v>
                </c:pt>
                <c:pt idx="200">
                  <c:v>45434</c:v>
                </c:pt>
                <c:pt idx="201">
                  <c:v>45435</c:v>
                </c:pt>
                <c:pt idx="202">
                  <c:v>45436</c:v>
                </c:pt>
                <c:pt idx="203">
                  <c:v>45439</c:v>
                </c:pt>
                <c:pt idx="204">
                  <c:v>45440</c:v>
                </c:pt>
                <c:pt idx="205">
                  <c:v>45441</c:v>
                </c:pt>
                <c:pt idx="206">
                  <c:v>45442</c:v>
                </c:pt>
                <c:pt idx="207">
                  <c:v>45443</c:v>
                </c:pt>
                <c:pt idx="208">
                  <c:v>45446</c:v>
                </c:pt>
                <c:pt idx="209">
                  <c:v>45447</c:v>
                </c:pt>
                <c:pt idx="210">
                  <c:v>45448</c:v>
                </c:pt>
                <c:pt idx="211">
                  <c:v>45449</c:v>
                </c:pt>
                <c:pt idx="212">
                  <c:v>45450</c:v>
                </c:pt>
                <c:pt idx="213">
                  <c:v>45454</c:v>
                </c:pt>
                <c:pt idx="214">
                  <c:v>45455</c:v>
                </c:pt>
                <c:pt idx="215">
                  <c:v>45456</c:v>
                </c:pt>
                <c:pt idx="216">
                  <c:v>45457</c:v>
                </c:pt>
                <c:pt idx="217">
                  <c:v>45460</c:v>
                </c:pt>
                <c:pt idx="218">
                  <c:v>45461</c:v>
                </c:pt>
                <c:pt idx="219">
                  <c:v>45462</c:v>
                </c:pt>
                <c:pt idx="220">
                  <c:v>45463</c:v>
                </c:pt>
                <c:pt idx="221">
                  <c:v>45464</c:v>
                </c:pt>
                <c:pt idx="222">
                  <c:v>45467</c:v>
                </c:pt>
                <c:pt idx="223">
                  <c:v>45468</c:v>
                </c:pt>
                <c:pt idx="224">
                  <c:v>45469</c:v>
                </c:pt>
                <c:pt idx="225">
                  <c:v>45470</c:v>
                </c:pt>
                <c:pt idx="226">
                  <c:v>45471</c:v>
                </c:pt>
                <c:pt idx="227">
                  <c:v>45474</c:v>
                </c:pt>
                <c:pt idx="228">
                  <c:v>45475</c:v>
                </c:pt>
                <c:pt idx="229">
                  <c:v>45476</c:v>
                </c:pt>
                <c:pt idx="230">
                  <c:v>45477</c:v>
                </c:pt>
                <c:pt idx="231">
                  <c:v>45478</c:v>
                </c:pt>
                <c:pt idx="232">
                  <c:v>45481</c:v>
                </c:pt>
                <c:pt idx="233">
                  <c:v>45482</c:v>
                </c:pt>
                <c:pt idx="234">
                  <c:v>45483</c:v>
                </c:pt>
                <c:pt idx="235">
                  <c:v>45484</c:v>
                </c:pt>
                <c:pt idx="236">
                  <c:v>45485</c:v>
                </c:pt>
                <c:pt idx="237">
                  <c:v>45488</c:v>
                </c:pt>
                <c:pt idx="238">
                  <c:v>45489</c:v>
                </c:pt>
                <c:pt idx="239">
                  <c:v>45490</c:v>
                </c:pt>
                <c:pt idx="240">
                  <c:v>45491</c:v>
                </c:pt>
                <c:pt idx="241">
                  <c:v>45492</c:v>
                </c:pt>
                <c:pt idx="242">
                  <c:v>45495</c:v>
                </c:pt>
                <c:pt idx="243">
                  <c:v>45496</c:v>
                </c:pt>
                <c:pt idx="244">
                  <c:v>45497</c:v>
                </c:pt>
                <c:pt idx="245">
                  <c:v>45498</c:v>
                </c:pt>
                <c:pt idx="246">
                  <c:v>45499</c:v>
                </c:pt>
                <c:pt idx="247">
                  <c:v>45502</c:v>
                </c:pt>
                <c:pt idx="248">
                  <c:v>45503</c:v>
                </c:pt>
                <c:pt idx="249">
                  <c:v>45504</c:v>
                </c:pt>
                <c:pt idx="250">
                  <c:v>45505</c:v>
                </c:pt>
                <c:pt idx="251">
                  <c:v>45506</c:v>
                </c:pt>
                <c:pt idx="252">
                  <c:v>45509</c:v>
                </c:pt>
                <c:pt idx="253">
                  <c:v>45510</c:v>
                </c:pt>
                <c:pt idx="254">
                  <c:v>45511</c:v>
                </c:pt>
                <c:pt idx="255">
                  <c:v>45512</c:v>
                </c:pt>
                <c:pt idx="256">
                  <c:v>45513</c:v>
                </c:pt>
                <c:pt idx="257">
                  <c:v>45516</c:v>
                </c:pt>
                <c:pt idx="258">
                  <c:v>45517</c:v>
                </c:pt>
                <c:pt idx="259">
                  <c:v>45518</c:v>
                </c:pt>
                <c:pt idx="260">
                  <c:v>45519</c:v>
                </c:pt>
                <c:pt idx="261">
                  <c:v>45520</c:v>
                </c:pt>
                <c:pt idx="262">
                  <c:v>45523</c:v>
                </c:pt>
                <c:pt idx="263">
                  <c:v>45524</c:v>
                </c:pt>
                <c:pt idx="264">
                  <c:v>45525</c:v>
                </c:pt>
                <c:pt idx="265">
                  <c:v>45526</c:v>
                </c:pt>
                <c:pt idx="266">
                  <c:v>45527</c:v>
                </c:pt>
                <c:pt idx="267">
                  <c:v>45530</c:v>
                </c:pt>
                <c:pt idx="268">
                  <c:v>45531</c:v>
                </c:pt>
                <c:pt idx="269">
                  <c:v>45532</c:v>
                </c:pt>
                <c:pt idx="270">
                  <c:v>45533</c:v>
                </c:pt>
                <c:pt idx="271">
                  <c:v>45534</c:v>
                </c:pt>
                <c:pt idx="272">
                  <c:v>45537</c:v>
                </c:pt>
                <c:pt idx="273">
                  <c:v>45538</c:v>
                </c:pt>
                <c:pt idx="274">
                  <c:v>45539</c:v>
                </c:pt>
                <c:pt idx="275">
                  <c:v>45540</c:v>
                </c:pt>
                <c:pt idx="276">
                  <c:v>45541</c:v>
                </c:pt>
                <c:pt idx="277">
                  <c:v>45544</c:v>
                </c:pt>
                <c:pt idx="278">
                  <c:v>45545</c:v>
                </c:pt>
                <c:pt idx="279">
                  <c:v>45546</c:v>
                </c:pt>
                <c:pt idx="280">
                  <c:v>45547</c:v>
                </c:pt>
                <c:pt idx="281">
                  <c:v>45548</c:v>
                </c:pt>
                <c:pt idx="282">
                  <c:v>45553</c:v>
                </c:pt>
                <c:pt idx="283">
                  <c:v>45554</c:v>
                </c:pt>
                <c:pt idx="284">
                  <c:v>45555</c:v>
                </c:pt>
                <c:pt idx="285">
                  <c:v>45558</c:v>
                </c:pt>
                <c:pt idx="286">
                  <c:v>45559</c:v>
                </c:pt>
                <c:pt idx="287">
                  <c:v>45560</c:v>
                </c:pt>
                <c:pt idx="288">
                  <c:v>45561</c:v>
                </c:pt>
                <c:pt idx="289">
                  <c:v>45562</c:v>
                </c:pt>
                <c:pt idx="290">
                  <c:v>45565</c:v>
                </c:pt>
                <c:pt idx="291">
                  <c:v>45573</c:v>
                </c:pt>
                <c:pt idx="292">
                  <c:v>45574</c:v>
                </c:pt>
                <c:pt idx="293">
                  <c:v>45575</c:v>
                </c:pt>
                <c:pt idx="294">
                  <c:v>45576</c:v>
                </c:pt>
                <c:pt idx="295">
                  <c:v>45579</c:v>
                </c:pt>
                <c:pt idx="296">
                  <c:v>45580</c:v>
                </c:pt>
                <c:pt idx="297">
                  <c:v>45581</c:v>
                </c:pt>
                <c:pt idx="298">
                  <c:v>45582</c:v>
                </c:pt>
                <c:pt idx="299">
                  <c:v>45583</c:v>
                </c:pt>
                <c:pt idx="300">
                  <c:v>45586</c:v>
                </c:pt>
                <c:pt idx="301">
                  <c:v>45587</c:v>
                </c:pt>
                <c:pt idx="302">
                  <c:v>45588</c:v>
                </c:pt>
                <c:pt idx="303">
                  <c:v>45589</c:v>
                </c:pt>
                <c:pt idx="304">
                  <c:v>45590</c:v>
                </c:pt>
                <c:pt idx="305">
                  <c:v>45593</c:v>
                </c:pt>
                <c:pt idx="306">
                  <c:v>45594</c:v>
                </c:pt>
                <c:pt idx="307">
                  <c:v>45595</c:v>
                </c:pt>
                <c:pt idx="308">
                  <c:v>45596</c:v>
                </c:pt>
                <c:pt idx="309">
                  <c:v>45597</c:v>
                </c:pt>
                <c:pt idx="310">
                  <c:v>45600</c:v>
                </c:pt>
                <c:pt idx="311">
                  <c:v>45601</c:v>
                </c:pt>
                <c:pt idx="312">
                  <c:v>45602</c:v>
                </c:pt>
                <c:pt idx="313">
                  <c:v>45603</c:v>
                </c:pt>
                <c:pt idx="314">
                  <c:v>45604</c:v>
                </c:pt>
                <c:pt idx="315">
                  <c:v>45607</c:v>
                </c:pt>
                <c:pt idx="316">
                  <c:v>45608</c:v>
                </c:pt>
                <c:pt idx="317">
                  <c:v>45609</c:v>
                </c:pt>
                <c:pt idx="318">
                  <c:v>45610</c:v>
                </c:pt>
                <c:pt idx="319">
                  <c:v>45611</c:v>
                </c:pt>
                <c:pt idx="320">
                  <c:v>45614</c:v>
                </c:pt>
                <c:pt idx="321">
                  <c:v>45615</c:v>
                </c:pt>
                <c:pt idx="322">
                  <c:v>45616</c:v>
                </c:pt>
                <c:pt idx="323">
                  <c:v>45617</c:v>
                </c:pt>
                <c:pt idx="324">
                  <c:v>45618</c:v>
                </c:pt>
                <c:pt idx="325">
                  <c:v>45621</c:v>
                </c:pt>
                <c:pt idx="326">
                  <c:v>45622</c:v>
                </c:pt>
                <c:pt idx="327">
                  <c:v>45623</c:v>
                </c:pt>
                <c:pt idx="328">
                  <c:v>45624</c:v>
                </c:pt>
                <c:pt idx="329">
                  <c:v>45625</c:v>
                </c:pt>
                <c:pt idx="330">
                  <c:v>45628</c:v>
                </c:pt>
                <c:pt idx="331">
                  <c:v>45629</c:v>
                </c:pt>
                <c:pt idx="332">
                  <c:v>45630</c:v>
                </c:pt>
                <c:pt idx="333">
                  <c:v>45631</c:v>
                </c:pt>
                <c:pt idx="334">
                  <c:v>45632</c:v>
                </c:pt>
                <c:pt idx="335">
                  <c:v>45635</c:v>
                </c:pt>
                <c:pt idx="336">
                  <c:v>45636</c:v>
                </c:pt>
                <c:pt idx="337">
                  <c:v>45637</c:v>
                </c:pt>
                <c:pt idx="338">
                  <c:v>45638</c:v>
                </c:pt>
                <c:pt idx="339">
                  <c:v>45639</c:v>
                </c:pt>
                <c:pt idx="340">
                  <c:v>45642</c:v>
                </c:pt>
                <c:pt idx="341">
                  <c:v>45643</c:v>
                </c:pt>
                <c:pt idx="342">
                  <c:v>45644</c:v>
                </c:pt>
                <c:pt idx="343">
                  <c:v>45645</c:v>
                </c:pt>
                <c:pt idx="344">
                  <c:v>45646</c:v>
                </c:pt>
                <c:pt idx="345">
                  <c:v>45649</c:v>
                </c:pt>
                <c:pt idx="346">
                  <c:v>45650</c:v>
                </c:pt>
                <c:pt idx="347">
                  <c:v>45651</c:v>
                </c:pt>
                <c:pt idx="348">
                  <c:v>45652</c:v>
                </c:pt>
                <c:pt idx="349">
                  <c:v>45653</c:v>
                </c:pt>
                <c:pt idx="350">
                  <c:v>45656</c:v>
                </c:pt>
                <c:pt idx="351">
                  <c:v>45657</c:v>
                </c:pt>
                <c:pt idx="352">
                  <c:v>45659</c:v>
                </c:pt>
                <c:pt idx="353">
                  <c:v>45660</c:v>
                </c:pt>
                <c:pt idx="354">
                  <c:v>45663</c:v>
                </c:pt>
                <c:pt idx="355">
                  <c:v>45664</c:v>
                </c:pt>
                <c:pt idx="356">
                  <c:v>45665</c:v>
                </c:pt>
                <c:pt idx="357">
                  <c:v>45666</c:v>
                </c:pt>
                <c:pt idx="358">
                  <c:v>45667</c:v>
                </c:pt>
                <c:pt idx="359">
                  <c:v>45670</c:v>
                </c:pt>
                <c:pt idx="360">
                  <c:v>45671</c:v>
                </c:pt>
                <c:pt idx="361">
                  <c:v>45672</c:v>
                </c:pt>
                <c:pt idx="362">
                  <c:v>45673</c:v>
                </c:pt>
                <c:pt idx="363">
                  <c:v>45674</c:v>
                </c:pt>
                <c:pt idx="364">
                  <c:v>45677</c:v>
                </c:pt>
                <c:pt idx="365">
                  <c:v>45678</c:v>
                </c:pt>
                <c:pt idx="366">
                  <c:v>45679</c:v>
                </c:pt>
                <c:pt idx="367">
                  <c:v>45680</c:v>
                </c:pt>
                <c:pt idx="368">
                  <c:v>45681</c:v>
                </c:pt>
                <c:pt idx="369">
                  <c:v>45684</c:v>
                </c:pt>
                <c:pt idx="370">
                  <c:v>45693</c:v>
                </c:pt>
                <c:pt idx="371">
                  <c:v>45694</c:v>
                </c:pt>
                <c:pt idx="372">
                  <c:v>45695</c:v>
                </c:pt>
                <c:pt idx="373">
                  <c:v>45698</c:v>
                </c:pt>
                <c:pt idx="374">
                  <c:v>45699</c:v>
                </c:pt>
                <c:pt idx="375">
                  <c:v>45700</c:v>
                </c:pt>
                <c:pt idx="376">
                  <c:v>45701</c:v>
                </c:pt>
                <c:pt idx="377">
                  <c:v>45702</c:v>
                </c:pt>
                <c:pt idx="378">
                  <c:v>45705</c:v>
                </c:pt>
                <c:pt idx="379">
                  <c:v>45706</c:v>
                </c:pt>
                <c:pt idx="380">
                  <c:v>45707</c:v>
                </c:pt>
                <c:pt idx="381">
                  <c:v>45708</c:v>
                </c:pt>
                <c:pt idx="382">
                  <c:v>45709</c:v>
                </c:pt>
                <c:pt idx="383">
                  <c:v>45712</c:v>
                </c:pt>
                <c:pt idx="384">
                  <c:v>45713</c:v>
                </c:pt>
                <c:pt idx="385">
                  <c:v>45714</c:v>
                </c:pt>
                <c:pt idx="386">
                  <c:v>45715</c:v>
                </c:pt>
                <c:pt idx="387">
                  <c:v>45716</c:v>
                </c:pt>
                <c:pt idx="388">
                  <c:v>45719</c:v>
                </c:pt>
                <c:pt idx="389">
                  <c:v>45720</c:v>
                </c:pt>
                <c:pt idx="390">
                  <c:v>45721</c:v>
                </c:pt>
                <c:pt idx="391">
                  <c:v>45722</c:v>
                </c:pt>
                <c:pt idx="392">
                  <c:v>45723</c:v>
                </c:pt>
                <c:pt idx="393">
                  <c:v>45726</c:v>
                </c:pt>
                <c:pt idx="394">
                  <c:v>45727</c:v>
                </c:pt>
                <c:pt idx="395">
                  <c:v>45728</c:v>
                </c:pt>
                <c:pt idx="396">
                  <c:v>45729</c:v>
                </c:pt>
                <c:pt idx="397">
                  <c:v>45730</c:v>
                </c:pt>
                <c:pt idx="398">
                  <c:v>45733</c:v>
                </c:pt>
                <c:pt idx="399">
                  <c:v>45734</c:v>
                </c:pt>
                <c:pt idx="400">
                  <c:v>45735</c:v>
                </c:pt>
                <c:pt idx="401">
                  <c:v>45736</c:v>
                </c:pt>
                <c:pt idx="402">
                  <c:v>45737</c:v>
                </c:pt>
                <c:pt idx="403">
                  <c:v>45740</c:v>
                </c:pt>
                <c:pt idx="404">
                  <c:v>45741</c:v>
                </c:pt>
                <c:pt idx="405">
                  <c:v>45742</c:v>
                </c:pt>
                <c:pt idx="406">
                  <c:v>45743</c:v>
                </c:pt>
                <c:pt idx="407">
                  <c:v>45744</c:v>
                </c:pt>
                <c:pt idx="408">
                  <c:v>45747</c:v>
                </c:pt>
                <c:pt idx="409">
                  <c:v>45748</c:v>
                </c:pt>
                <c:pt idx="410">
                  <c:v>45749</c:v>
                </c:pt>
                <c:pt idx="411">
                  <c:v>45750</c:v>
                </c:pt>
                <c:pt idx="412">
                  <c:v>45754</c:v>
                </c:pt>
                <c:pt idx="413">
                  <c:v>45755</c:v>
                </c:pt>
                <c:pt idx="414">
                  <c:v>45756</c:v>
                </c:pt>
                <c:pt idx="415">
                  <c:v>45757</c:v>
                </c:pt>
                <c:pt idx="416">
                  <c:v>45758</c:v>
                </c:pt>
                <c:pt idx="417">
                  <c:v>45761</c:v>
                </c:pt>
                <c:pt idx="418">
                  <c:v>45762</c:v>
                </c:pt>
                <c:pt idx="419">
                  <c:v>45763</c:v>
                </c:pt>
                <c:pt idx="420">
                  <c:v>45764</c:v>
                </c:pt>
                <c:pt idx="421">
                  <c:v>45765</c:v>
                </c:pt>
                <c:pt idx="422">
                  <c:v>45768</c:v>
                </c:pt>
                <c:pt idx="423">
                  <c:v>45769</c:v>
                </c:pt>
                <c:pt idx="424">
                  <c:v>45770</c:v>
                </c:pt>
                <c:pt idx="425">
                  <c:v>45771</c:v>
                </c:pt>
                <c:pt idx="426">
                  <c:v>45772</c:v>
                </c:pt>
                <c:pt idx="427">
                  <c:v>45775</c:v>
                </c:pt>
                <c:pt idx="428">
                  <c:v>45776</c:v>
                </c:pt>
                <c:pt idx="429">
                  <c:v>45777</c:v>
                </c:pt>
                <c:pt idx="430">
                  <c:v>45783</c:v>
                </c:pt>
                <c:pt idx="431">
                  <c:v>45784</c:v>
                </c:pt>
                <c:pt idx="432">
                  <c:v>45785</c:v>
                </c:pt>
                <c:pt idx="433">
                  <c:v>45786</c:v>
                </c:pt>
                <c:pt idx="434">
                  <c:v>45789</c:v>
                </c:pt>
                <c:pt idx="435">
                  <c:v>45790</c:v>
                </c:pt>
                <c:pt idx="436">
                  <c:v>45791</c:v>
                </c:pt>
                <c:pt idx="437">
                  <c:v>45792</c:v>
                </c:pt>
                <c:pt idx="438">
                  <c:v>45793</c:v>
                </c:pt>
                <c:pt idx="439">
                  <c:v>45796</c:v>
                </c:pt>
                <c:pt idx="440">
                  <c:v>45797</c:v>
                </c:pt>
                <c:pt idx="441">
                  <c:v>45798</c:v>
                </c:pt>
                <c:pt idx="442">
                  <c:v>45799</c:v>
                </c:pt>
                <c:pt idx="443">
                  <c:v>45800</c:v>
                </c:pt>
                <c:pt idx="444">
                  <c:v>45803</c:v>
                </c:pt>
                <c:pt idx="445">
                  <c:v>45804</c:v>
                </c:pt>
                <c:pt idx="446">
                  <c:v>45805</c:v>
                </c:pt>
                <c:pt idx="447">
                  <c:v>45806</c:v>
                </c:pt>
                <c:pt idx="448">
                  <c:v>45807</c:v>
                </c:pt>
                <c:pt idx="449">
                  <c:v>45811</c:v>
                </c:pt>
                <c:pt idx="450">
                  <c:v>45812</c:v>
                </c:pt>
                <c:pt idx="451">
                  <c:v>45813</c:v>
                </c:pt>
                <c:pt idx="452">
                  <c:v>45814</c:v>
                </c:pt>
                <c:pt idx="453">
                  <c:v>45817</c:v>
                </c:pt>
                <c:pt idx="454">
                  <c:v>45818</c:v>
                </c:pt>
                <c:pt idx="455">
                  <c:v>45819</c:v>
                </c:pt>
                <c:pt idx="456">
                  <c:v>45820</c:v>
                </c:pt>
                <c:pt idx="457">
                  <c:v>45821</c:v>
                </c:pt>
                <c:pt idx="458">
                  <c:v>45824</c:v>
                </c:pt>
                <c:pt idx="459">
                  <c:v>45825</c:v>
                </c:pt>
                <c:pt idx="460">
                  <c:v>45826</c:v>
                </c:pt>
                <c:pt idx="461">
                  <c:v>45827</c:v>
                </c:pt>
                <c:pt idx="462">
                  <c:v>45828</c:v>
                </c:pt>
                <c:pt idx="463">
                  <c:v>45831</c:v>
                </c:pt>
                <c:pt idx="464">
                  <c:v>45832</c:v>
                </c:pt>
                <c:pt idx="465">
                  <c:v>45833</c:v>
                </c:pt>
                <c:pt idx="466">
                  <c:v>45834</c:v>
                </c:pt>
                <c:pt idx="467">
                  <c:v>45835</c:v>
                </c:pt>
                <c:pt idx="468">
                  <c:v>45838</c:v>
                </c:pt>
                <c:pt idx="469">
                  <c:v>45839</c:v>
                </c:pt>
                <c:pt idx="470">
                  <c:v>45840</c:v>
                </c:pt>
                <c:pt idx="471">
                  <c:v>45841</c:v>
                </c:pt>
                <c:pt idx="472">
                  <c:v>45842</c:v>
                </c:pt>
                <c:pt idx="473">
                  <c:v>45845</c:v>
                </c:pt>
                <c:pt idx="474">
                  <c:v>45846</c:v>
                </c:pt>
                <c:pt idx="475">
                  <c:v>45847</c:v>
                </c:pt>
                <c:pt idx="476">
                  <c:v>45848</c:v>
                </c:pt>
                <c:pt idx="477">
                  <c:v>45849</c:v>
                </c:pt>
                <c:pt idx="478">
                  <c:v>45852</c:v>
                </c:pt>
                <c:pt idx="479">
                  <c:v>45853</c:v>
                </c:pt>
                <c:pt idx="480">
                  <c:v>45854</c:v>
                </c:pt>
                <c:pt idx="481">
                  <c:v>45855</c:v>
                </c:pt>
                <c:pt idx="482">
                  <c:v>45856</c:v>
                </c:pt>
                <c:pt idx="483">
                  <c:v>45859</c:v>
                </c:pt>
                <c:pt idx="484">
                  <c:v>45860</c:v>
                </c:pt>
                <c:pt idx="485">
                  <c:v>45861</c:v>
                </c:pt>
                <c:pt idx="486">
                  <c:v>45862</c:v>
                </c:pt>
                <c:pt idx="487">
                  <c:v>45863</c:v>
                </c:pt>
                <c:pt idx="488">
                  <c:v>45866</c:v>
                </c:pt>
                <c:pt idx="489">
                  <c:v>45867</c:v>
                </c:pt>
                <c:pt idx="490">
                  <c:v>45868</c:v>
                </c:pt>
                <c:pt idx="491">
                  <c:v>45869</c:v>
                </c:pt>
                <c:pt idx="492">
                  <c:v>45870</c:v>
                </c:pt>
                <c:pt idx="493">
                  <c:v>45873</c:v>
                </c:pt>
                <c:pt idx="494">
                  <c:v>45874</c:v>
                </c:pt>
                <c:pt idx="495">
                  <c:v>45875</c:v>
                </c:pt>
                <c:pt idx="496">
                  <c:v>45876</c:v>
                </c:pt>
                <c:pt idx="497">
                  <c:v>45877</c:v>
                </c:pt>
                <c:pt idx="498">
                  <c:v>45880</c:v>
                </c:pt>
                <c:pt idx="499">
                  <c:v>45881</c:v>
                </c:pt>
                <c:pt idx="500">
                  <c:v>45882</c:v>
                </c:pt>
                <c:pt idx="501">
                  <c:v>45883</c:v>
                </c:pt>
                <c:pt idx="502">
                  <c:v>45884</c:v>
                </c:pt>
                <c:pt idx="503">
                  <c:v>45887</c:v>
                </c:pt>
                <c:pt idx="504">
                  <c:v>45888</c:v>
                </c:pt>
                <c:pt idx="505">
                  <c:v>45889</c:v>
                </c:pt>
                <c:pt idx="506">
                  <c:v>45890</c:v>
                </c:pt>
                <c:pt idx="507">
                  <c:v>45891</c:v>
                </c:pt>
                <c:pt idx="508">
                  <c:v>45894</c:v>
                </c:pt>
                <c:pt idx="509">
                  <c:v>45895</c:v>
                </c:pt>
                <c:pt idx="510">
                  <c:v>45896</c:v>
                </c:pt>
                <c:pt idx="511">
                  <c:v>45897</c:v>
                </c:pt>
                <c:pt idx="512">
                  <c:v>45898</c:v>
                </c:pt>
                <c:pt idx="513">
                  <c:v>45901</c:v>
                </c:pt>
                <c:pt idx="514">
                  <c:v>45902</c:v>
                </c:pt>
                <c:pt idx="515">
                  <c:v>45903</c:v>
                </c:pt>
                <c:pt idx="516">
                  <c:v>45904</c:v>
                </c:pt>
                <c:pt idx="517">
                  <c:v>45905</c:v>
                </c:pt>
                <c:pt idx="518">
                  <c:v>45908</c:v>
                </c:pt>
                <c:pt idx="519">
                  <c:v>45909</c:v>
                </c:pt>
                <c:pt idx="520">
                  <c:v>45910</c:v>
                </c:pt>
                <c:pt idx="521">
                  <c:v>45911</c:v>
                </c:pt>
                <c:pt idx="522">
                  <c:v>45912</c:v>
                </c:pt>
                <c:pt idx="523">
                  <c:v>45915</c:v>
                </c:pt>
                <c:pt idx="524">
                  <c:v>45916</c:v>
                </c:pt>
                <c:pt idx="525">
                  <c:v>45917</c:v>
                </c:pt>
                <c:pt idx="526">
                  <c:v>45918</c:v>
                </c:pt>
                <c:pt idx="527">
                  <c:v>45919</c:v>
                </c:pt>
                <c:pt idx="528">
                  <c:v>45922</c:v>
                </c:pt>
                <c:pt idx="529">
                  <c:v>45923</c:v>
                </c:pt>
                <c:pt idx="530">
                  <c:v>45924</c:v>
                </c:pt>
                <c:pt idx="531">
                  <c:v>45925</c:v>
                </c:pt>
                <c:pt idx="532">
                  <c:v>45926</c:v>
                </c:pt>
                <c:pt idx="533">
                  <c:v>45929</c:v>
                </c:pt>
                <c:pt idx="534">
                  <c:v>45930</c:v>
                </c:pt>
                <c:pt idx="535">
                  <c:v>45931</c:v>
                </c:pt>
                <c:pt idx="536">
                  <c:v>45932</c:v>
                </c:pt>
                <c:pt idx="537">
                  <c:v>45933</c:v>
                </c:pt>
                <c:pt idx="538">
                  <c:v>45936</c:v>
                </c:pt>
                <c:pt idx="539">
                  <c:v>45937</c:v>
                </c:pt>
                <c:pt idx="540">
                  <c:v>45938</c:v>
                </c:pt>
                <c:pt idx="541">
                  <c:v>45939</c:v>
                </c:pt>
                <c:pt idx="542">
                  <c:v>45940</c:v>
                </c:pt>
                <c:pt idx="543">
                  <c:v>45943</c:v>
                </c:pt>
                <c:pt idx="544">
                  <c:v>45944</c:v>
                </c:pt>
                <c:pt idx="545">
                  <c:v>45945</c:v>
                </c:pt>
                <c:pt idx="546">
                  <c:v>45946</c:v>
                </c:pt>
                <c:pt idx="547">
                  <c:v>45947</c:v>
                </c:pt>
                <c:pt idx="548">
                  <c:v>45950</c:v>
                </c:pt>
                <c:pt idx="549">
                  <c:v>45951</c:v>
                </c:pt>
                <c:pt idx="550">
                  <c:v>45952</c:v>
                </c:pt>
                <c:pt idx="551">
                  <c:v>45953</c:v>
                </c:pt>
                <c:pt idx="552">
                  <c:v>45954</c:v>
                </c:pt>
                <c:pt idx="553">
                  <c:v>45957</c:v>
                </c:pt>
                <c:pt idx="554">
                  <c:v>45958</c:v>
                </c:pt>
                <c:pt idx="555">
                  <c:v>45959</c:v>
                </c:pt>
                <c:pt idx="556">
                  <c:v>45960</c:v>
                </c:pt>
                <c:pt idx="557">
                  <c:v>45961</c:v>
                </c:pt>
                <c:pt idx="558">
                  <c:v>45964</c:v>
                </c:pt>
                <c:pt idx="559">
                  <c:v>45965</c:v>
                </c:pt>
                <c:pt idx="560">
                  <c:v>45966</c:v>
                </c:pt>
                <c:pt idx="561">
                  <c:v>45967</c:v>
                </c:pt>
                <c:pt idx="562">
                  <c:v>45968</c:v>
                </c:pt>
                <c:pt idx="563">
                  <c:v>45971</c:v>
                </c:pt>
                <c:pt idx="564">
                  <c:v>45972</c:v>
                </c:pt>
                <c:pt idx="565">
                  <c:v>45973</c:v>
                </c:pt>
                <c:pt idx="566">
                  <c:v>45974</c:v>
                </c:pt>
                <c:pt idx="567">
                  <c:v>45975</c:v>
                </c:pt>
                <c:pt idx="568">
                  <c:v>45978</c:v>
                </c:pt>
                <c:pt idx="569">
                  <c:v>45979</c:v>
                </c:pt>
                <c:pt idx="570">
                  <c:v>45980</c:v>
                </c:pt>
                <c:pt idx="571">
                  <c:v>45981</c:v>
                </c:pt>
                <c:pt idx="572">
                  <c:v>45982</c:v>
                </c:pt>
                <c:pt idx="573">
                  <c:v>45985</c:v>
                </c:pt>
                <c:pt idx="574">
                  <c:v>45986</c:v>
                </c:pt>
                <c:pt idx="575">
                  <c:v>45987</c:v>
                </c:pt>
                <c:pt idx="576">
                  <c:v>45988</c:v>
                </c:pt>
                <c:pt idx="577">
                  <c:v>45989</c:v>
                </c:pt>
                <c:pt idx="578">
                  <c:v>45992</c:v>
                </c:pt>
                <c:pt idx="579">
                  <c:v>45993</c:v>
                </c:pt>
                <c:pt idx="580">
                  <c:v>45994</c:v>
                </c:pt>
                <c:pt idx="581">
                  <c:v>45995</c:v>
                </c:pt>
                <c:pt idx="582">
                  <c:v>45996</c:v>
                </c:pt>
                <c:pt idx="583">
                  <c:v>45999</c:v>
                </c:pt>
                <c:pt idx="584">
                  <c:v>46000</c:v>
                </c:pt>
                <c:pt idx="585">
                  <c:v>46001</c:v>
                </c:pt>
                <c:pt idx="586">
                  <c:v>46002</c:v>
                </c:pt>
                <c:pt idx="587">
                  <c:v>46003</c:v>
                </c:pt>
                <c:pt idx="588">
                  <c:v>46006</c:v>
                </c:pt>
                <c:pt idx="589">
                  <c:v>46007</c:v>
                </c:pt>
                <c:pt idx="590">
                  <c:v>46008</c:v>
                </c:pt>
                <c:pt idx="591">
                  <c:v>46009</c:v>
                </c:pt>
                <c:pt idx="592">
                  <c:v>46010</c:v>
                </c:pt>
                <c:pt idx="593">
                  <c:v>46013</c:v>
                </c:pt>
                <c:pt idx="594">
                  <c:v>46014</c:v>
                </c:pt>
                <c:pt idx="595">
                  <c:v>46015</c:v>
                </c:pt>
                <c:pt idx="596">
                  <c:v>46016</c:v>
                </c:pt>
                <c:pt idx="597">
                  <c:v>46017</c:v>
                </c:pt>
                <c:pt idx="598">
                  <c:v>46020</c:v>
                </c:pt>
                <c:pt idx="599">
                  <c:v>46021</c:v>
                </c:pt>
                <c:pt idx="600">
                  <c:v>46022</c:v>
                </c:pt>
                <c:pt idx="601">
                  <c:v>46023</c:v>
                </c:pt>
                <c:pt idx="602">
                  <c:v>46024</c:v>
                </c:pt>
                <c:pt idx="603">
                  <c:v>46027</c:v>
                </c:pt>
                <c:pt idx="604">
                  <c:v>46028</c:v>
                </c:pt>
                <c:pt idx="605">
                  <c:v>46029</c:v>
                </c:pt>
                <c:pt idx="606">
                  <c:v>46030</c:v>
                </c:pt>
                <c:pt idx="607">
                  <c:v>46031</c:v>
                </c:pt>
                <c:pt idx="608">
                  <c:v>46034</c:v>
                </c:pt>
                <c:pt idx="609">
                  <c:v>46035</c:v>
                </c:pt>
                <c:pt idx="610">
                  <c:v>46036</c:v>
                </c:pt>
                <c:pt idx="611">
                  <c:v>46037</c:v>
                </c:pt>
                <c:pt idx="612">
                  <c:v>46038</c:v>
                </c:pt>
                <c:pt idx="613">
                  <c:v>46041</c:v>
                </c:pt>
                <c:pt idx="614">
                  <c:v>46042</c:v>
                </c:pt>
                <c:pt idx="615">
                  <c:v>46043</c:v>
                </c:pt>
                <c:pt idx="616">
                  <c:v>46044</c:v>
                </c:pt>
                <c:pt idx="617">
                  <c:v>46045</c:v>
                </c:pt>
                <c:pt idx="618">
                  <c:v>46048</c:v>
                </c:pt>
                <c:pt idx="619">
                  <c:v>46049</c:v>
                </c:pt>
                <c:pt idx="620">
                  <c:v>46050</c:v>
                </c:pt>
                <c:pt idx="621">
                  <c:v>46051</c:v>
                </c:pt>
                <c:pt idx="622">
                  <c:v>46052</c:v>
                </c:pt>
                <c:pt idx="623">
                  <c:v>46055</c:v>
                </c:pt>
                <c:pt idx="624">
                  <c:v>46056</c:v>
                </c:pt>
                <c:pt idx="625">
                  <c:v>46057</c:v>
                </c:pt>
                <c:pt idx="626">
                  <c:v>46058</c:v>
                </c:pt>
                <c:pt idx="627">
                  <c:v>46059</c:v>
                </c:pt>
                <c:pt idx="628">
                  <c:v>46062</c:v>
                </c:pt>
                <c:pt idx="629">
                  <c:v>46063</c:v>
                </c:pt>
                <c:pt idx="630">
                  <c:v>46064</c:v>
                </c:pt>
                <c:pt idx="631">
                  <c:v>46065</c:v>
                </c:pt>
                <c:pt idx="632">
                  <c:v>46066</c:v>
                </c:pt>
                <c:pt idx="633">
                  <c:v>46069</c:v>
                </c:pt>
                <c:pt idx="634">
                  <c:v>46070</c:v>
                </c:pt>
                <c:pt idx="635">
                  <c:v>46071</c:v>
                </c:pt>
                <c:pt idx="636">
                  <c:v>46072</c:v>
                </c:pt>
                <c:pt idx="637">
                  <c:v>46073</c:v>
                </c:pt>
                <c:pt idx="638">
                  <c:v>46076</c:v>
                </c:pt>
                <c:pt idx="639">
                  <c:v>46077</c:v>
                </c:pt>
                <c:pt idx="640">
                  <c:v>46078</c:v>
                </c:pt>
                <c:pt idx="641">
                  <c:v>46079</c:v>
                </c:pt>
                <c:pt idx="642">
                  <c:v>46080</c:v>
                </c:pt>
                <c:pt idx="643">
                  <c:v>46083</c:v>
                </c:pt>
                <c:pt idx="644">
                  <c:v>46084</c:v>
                </c:pt>
                <c:pt idx="645">
                  <c:v>46085</c:v>
                </c:pt>
                <c:pt idx="646">
                  <c:v>46086</c:v>
                </c:pt>
                <c:pt idx="647">
                  <c:v>46087</c:v>
                </c:pt>
                <c:pt idx="648">
                  <c:v>46090</c:v>
                </c:pt>
                <c:pt idx="649">
                  <c:v>46091</c:v>
                </c:pt>
                <c:pt idx="650">
                  <c:v>46092</c:v>
                </c:pt>
                <c:pt idx="651">
                  <c:v>46093</c:v>
                </c:pt>
                <c:pt idx="652">
                  <c:v>46094</c:v>
                </c:pt>
                <c:pt idx="653">
                  <c:v>46097</c:v>
                </c:pt>
                <c:pt idx="654">
                  <c:v>46098</c:v>
                </c:pt>
                <c:pt idx="655">
                  <c:v>46099</c:v>
                </c:pt>
                <c:pt idx="656">
                  <c:v>46100</c:v>
                </c:pt>
                <c:pt idx="657">
                  <c:v>46101</c:v>
                </c:pt>
                <c:pt idx="658">
                  <c:v>46104</c:v>
                </c:pt>
                <c:pt idx="659">
                  <c:v>46105</c:v>
                </c:pt>
                <c:pt idx="660">
                  <c:v>46106</c:v>
                </c:pt>
                <c:pt idx="661">
                  <c:v>46107</c:v>
                </c:pt>
                <c:pt idx="662">
                  <c:v>46108</c:v>
                </c:pt>
                <c:pt idx="663">
                  <c:v>46111</c:v>
                </c:pt>
                <c:pt idx="664">
                  <c:v>46112</c:v>
                </c:pt>
                <c:pt idx="665">
                  <c:v>46113</c:v>
                </c:pt>
                <c:pt idx="666">
                  <c:v>46114</c:v>
                </c:pt>
                <c:pt idx="667">
                  <c:v>46115</c:v>
                </c:pt>
                <c:pt idx="668">
                  <c:v>46118</c:v>
                </c:pt>
                <c:pt idx="669">
                  <c:v>46119</c:v>
                </c:pt>
                <c:pt idx="670">
                  <c:v>46120</c:v>
                </c:pt>
                <c:pt idx="671">
                  <c:v>46121</c:v>
                </c:pt>
                <c:pt idx="672">
                  <c:v>46122</c:v>
                </c:pt>
                <c:pt idx="673">
                  <c:v>46125</c:v>
                </c:pt>
                <c:pt idx="674">
                  <c:v>46126</c:v>
                </c:pt>
                <c:pt idx="675">
                  <c:v>46127</c:v>
                </c:pt>
                <c:pt idx="676">
                  <c:v>46128</c:v>
                </c:pt>
                <c:pt idx="677">
                  <c:v>46129</c:v>
                </c:pt>
                <c:pt idx="678">
                  <c:v>46132</c:v>
                </c:pt>
                <c:pt idx="679">
                  <c:v>46133</c:v>
                </c:pt>
                <c:pt idx="680">
                  <c:v>46134</c:v>
                </c:pt>
                <c:pt idx="681">
                  <c:v>46135</c:v>
                </c:pt>
                <c:pt idx="682">
                  <c:v>46136</c:v>
                </c:pt>
                <c:pt idx="683">
                  <c:v>46139</c:v>
                </c:pt>
                <c:pt idx="684">
                  <c:v>46140</c:v>
                </c:pt>
                <c:pt idx="685">
                  <c:v>46141</c:v>
                </c:pt>
                <c:pt idx="686">
                  <c:v>46142</c:v>
                </c:pt>
                <c:pt idx="687">
                  <c:v>46143</c:v>
                </c:pt>
                <c:pt idx="688">
                  <c:v>46146</c:v>
                </c:pt>
                <c:pt idx="689">
                  <c:v>46147</c:v>
                </c:pt>
                <c:pt idx="690">
                  <c:v>46148</c:v>
                </c:pt>
                <c:pt idx="691">
                  <c:v>46149</c:v>
                </c:pt>
                <c:pt idx="692">
                  <c:v>46150</c:v>
                </c:pt>
                <c:pt idx="693">
                  <c:v>46153</c:v>
                </c:pt>
                <c:pt idx="694">
                  <c:v>46154</c:v>
                </c:pt>
                <c:pt idx="695">
                  <c:v>46155</c:v>
                </c:pt>
                <c:pt idx="696">
                  <c:v>46156</c:v>
                </c:pt>
                <c:pt idx="697">
                  <c:v>46157</c:v>
                </c:pt>
                <c:pt idx="698">
                  <c:v>46160</c:v>
                </c:pt>
                <c:pt idx="699">
                  <c:v>46161</c:v>
                </c:pt>
                <c:pt idx="700">
                  <c:v>46162</c:v>
                </c:pt>
                <c:pt idx="701">
                  <c:v>46163</c:v>
                </c:pt>
                <c:pt idx="702">
                  <c:v>46164</c:v>
                </c:pt>
                <c:pt idx="703">
                  <c:v>46167</c:v>
                </c:pt>
                <c:pt idx="704">
                  <c:v>46168</c:v>
                </c:pt>
                <c:pt idx="705">
                  <c:v>46169</c:v>
                </c:pt>
                <c:pt idx="706">
                  <c:v>46170</c:v>
                </c:pt>
                <c:pt idx="707">
                  <c:v>46171</c:v>
                </c:pt>
                <c:pt idx="708">
                  <c:v>46174</c:v>
                </c:pt>
                <c:pt idx="709">
                  <c:v>46175</c:v>
                </c:pt>
                <c:pt idx="710">
                  <c:v>46176</c:v>
                </c:pt>
                <c:pt idx="711">
                  <c:v>46177</c:v>
                </c:pt>
                <c:pt idx="712">
                  <c:v>46178</c:v>
                </c:pt>
                <c:pt idx="713">
                  <c:v>46181</c:v>
                </c:pt>
                <c:pt idx="714">
                  <c:v>46182</c:v>
                </c:pt>
                <c:pt idx="715">
                  <c:v>46183</c:v>
                </c:pt>
                <c:pt idx="716">
                  <c:v>46184</c:v>
                </c:pt>
                <c:pt idx="717">
                  <c:v>46185</c:v>
                </c:pt>
                <c:pt idx="718">
                  <c:v>46188</c:v>
                </c:pt>
                <c:pt idx="719">
                  <c:v>46189</c:v>
                </c:pt>
                <c:pt idx="720">
                  <c:v>46190</c:v>
                </c:pt>
                <c:pt idx="721">
                  <c:v>46191</c:v>
                </c:pt>
                <c:pt idx="722">
                  <c:v>46192</c:v>
                </c:pt>
                <c:pt idx="723">
                  <c:v>46195</c:v>
                </c:pt>
                <c:pt idx="724">
                  <c:v>46196</c:v>
                </c:pt>
                <c:pt idx="725">
                  <c:v>46197</c:v>
                </c:pt>
                <c:pt idx="726">
                  <c:v>46198</c:v>
                </c:pt>
                <c:pt idx="727">
                  <c:v>46199</c:v>
                </c:pt>
                <c:pt idx="728">
                  <c:v>46202</c:v>
                </c:pt>
                <c:pt idx="729">
                  <c:v>46203</c:v>
                </c:pt>
                <c:pt idx="730">
                  <c:v>46204</c:v>
                </c:pt>
                <c:pt idx="731">
                  <c:v>46205</c:v>
                </c:pt>
                <c:pt idx="732">
                  <c:v>46206</c:v>
                </c:pt>
                <c:pt idx="733">
                  <c:v>46209</c:v>
                </c:pt>
                <c:pt idx="734">
                  <c:v>46210</c:v>
                </c:pt>
                <c:pt idx="735">
                  <c:v>46211</c:v>
                </c:pt>
                <c:pt idx="736">
                  <c:v>46212</c:v>
                </c:pt>
                <c:pt idx="737">
                  <c:v>46213</c:v>
                </c:pt>
                <c:pt idx="738">
                  <c:v>46216</c:v>
                </c:pt>
                <c:pt idx="739">
                  <c:v>46217</c:v>
                </c:pt>
                <c:pt idx="740">
                  <c:v>46218</c:v>
                </c:pt>
                <c:pt idx="741">
                  <c:v>46219</c:v>
                </c:pt>
                <c:pt idx="742">
                  <c:v>46220</c:v>
                </c:pt>
                <c:pt idx="743">
                  <c:v>46223</c:v>
                </c:pt>
                <c:pt idx="744">
                  <c:v>46224</c:v>
                </c:pt>
                <c:pt idx="745">
                  <c:v>46225</c:v>
                </c:pt>
                <c:pt idx="746">
                  <c:v>46226</c:v>
                </c:pt>
                <c:pt idx="747">
                  <c:v>46227</c:v>
                </c:pt>
                <c:pt idx="748">
                  <c:v>46230</c:v>
                </c:pt>
                <c:pt idx="749">
                  <c:v>46231</c:v>
                </c:pt>
                <c:pt idx="750">
                  <c:v>46232</c:v>
                </c:pt>
                <c:pt idx="751">
                  <c:v>46233</c:v>
                </c:pt>
                <c:pt idx="752">
                  <c:v>46234</c:v>
                </c:pt>
                <c:pt idx="753">
                  <c:v>46237</c:v>
                </c:pt>
                <c:pt idx="754">
                  <c:v>46238</c:v>
                </c:pt>
                <c:pt idx="755">
                  <c:v>46239</c:v>
                </c:pt>
                <c:pt idx="756">
                  <c:v>46240</c:v>
                </c:pt>
                <c:pt idx="757">
                  <c:v>46241</c:v>
                </c:pt>
                <c:pt idx="758">
                  <c:v>46244</c:v>
                </c:pt>
                <c:pt idx="759">
                  <c:v>46245</c:v>
                </c:pt>
                <c:pt idx="760">
                  <c:v>46246</c:v>
                </c:pt>
                <c:pt idx="761">
                  <c:v>46247</c:v>
                </c:pt>
                <c:pt idx="762">
                  <c:v>46248</c:v>
                </c:pt>
                <c:pt idx="763">
                  <c:v>46251</c:v>
                </c:pt>
                <c:pt idx="764">
                  <c:v>46252</c:v>
                </c:pt>
                <c:pt idx="765">
                  <c:v>46253</c:v>
                </c:pt>
                <c:pt idx="766">
                  <c:v>46254</c:v>
                </c:pt>
                <c:pt idx="767">
                  <c:v>46255</c:v>
                </c:pt>
                <c:pt idx="768">
                  <c:v>46258</c:v>
                </c:pt>
                <c:pt idx="769">
                  <c:v>46259</c:v>
                </c:pt>
                <c:pt idx="770">
                  <c:v>46260</c:v>
                </c:pt>
                <c:pt idx="771">
                  <c:v>46261</c:v>
                </c:pt>
                <c:pt idx="772">
                  <c:v>46262</c:v>
                </c:pt>
                <c:pt idx="773">
                  <c:v>46265</c:v>
                </c:pt>
                <c:pt idx="774">
                  <c:v>46266</c:v>
                </c:pt>
                <c:pt idx="775">
                  <c:v>46267</c:v>
                </c:pt>
                <c:pt idx="776">
                  <c:v>46268</c:v>
                </c:pt>
                <c:pt idx="777">
                  <c:v>46269</c:v>
                </c:pt>
                <c:pt idx="778">
                  <c:v>46272</c:v>
                </c:pt>
                <c:pt idx="779">
                  <c:v>46273</c:v>
                </c:pt>
                <c:pt idx="780">
                  <c:v>46274</c:v>
                </c:pt>
                <c:pt idx="781">
                  <c:v>46275</c:v>
                </c:pt>
                <c:pt idx="782">
                  <c:v>46276</c:v>
                </c:pt>
                <c:pt idx="783">
                  <c:v>46279</c:v>
                </c:pt>
                <c:pt idx="784">
                  <c:v>46280</c:v>
                </c:pt>
                <c:pt idx="785">
                  <c:v>46281</c:v>
                </c:pt>
                <c:pt idx="786">
                  <c:v>46282</c:v>
                </c:pt>
                <c:pt idx="787">
                  <c:v>46283</c:v>
                </c:pt>
                <c:pt idx="788">
                  <c:v>46286</c:v>
                </c:pt>
                <c:pt idx="789">
                  <c:v>46287</c:v>
                </c:pt>
                <c:pt idx="790">
                  <c:v>46288</c:v>
                </c:pt>
                <c:pt idx="791">
                  <c:v>46289</c:v>
                </c:pt>
                <c:pt idx="792">
                  <c:v>46290</c:v>
                </c:pt>
                <c:pt idx="793">
                  <c:v>46293</c:v>
                </c:pt>
                <c:pt idx="794">
                  <c:v>46294</c:v>
                </c:pt>
                <c:pt idx="795">
                  <c:v>46295</c:v>
                </c:pt>
                <c:pt idx="796">
                  <c:v>46296</c:v>
                </c:pt>
                <c:pt idx="797">
                  <c:v>46297</c:v>
                </c:pt>
                <c:pt idx="798">
                  <c:v>46300</c:v>
                </c:pt>
                <c:pt idx="799">
                  <c:v>46301</c:v>
                </c:pt>
                <c:pt idx="800">
                  <c:v>46302</c:v>
                </c:pt>
                <c:pt idx="801">
                  <c:v>46303</c:v>
                </c:pt>
                <c:pt idx="802">
                  <c:v>46304</c:v>
                </c:pt>
                <c:pt idx="803">
                  <c:v>46307</c:v>
                </c:pt>
                <c:pt idx="804">
                  <c:v>46308</c:v>
                </c:pt>
                <c:pt idx="805">
                  <c:v>46309</c:v>
                </c:pt>
                <c:pt idx="806">
                  <c:v>46310</c:v>
                </c:pt>
                <c:pt idx="807">
                  <c:v>46311</c:v>
                </c:pt>
                <c:pt idx="808">
                  <c:v>46314</c:v>
                </c:pt>
                <c:pt idx="809">
                  <c:v>46315</c:v>
                </c:pt>
                <c:pt idx="810">
                  <c:v>46316</c:v>
                </c:pt>
                <c:pt idx="811">
                  <c:v>46317</c:v>
                </c:pt>
                <c:pt idx="812">
                  <c:v>46318</c:v>
                </c:pt>
                <c:pt idx="813">
                  <c:v>46321</c:v>
                </c:pt>
                <c:pt idx="814">
                  <c:v>46322</c:v>
                </c:pt>
                <c:pt idx="815">
                  <c:v>46323</c:v>
                </c:pt>
                <c:pt idx="816">
                  <c:v>46324</c:v>
                </c:pt>
                <c:pt idx="817">
                  <c:v>46325</c:v>
                </c:pt>
                <c:pt idx="818">
                  <c:v>46328</c:v>
                </c:pt>
                <c:pt idx="819">
                  <c:v>46329</c:v>
                </c:pt>
                <c:pt idx="820">
                  <c:v>46330</c:v>
                </c:pt>
                <c:pt idx="821">
                  <c:v>46331</c:v>
                </c:pt>
                <c:pt idx="822">
                  <c:v>46332</c:v>
                </c:pt>
                <c:pt idx="823">
                  <c:v>46335</c:v>
                </c:pt>
                <c:pt idx="824">
                  <c:v>46336</c:v>
                </c:pt>
                <c:pt idx="825">
                  <c:v>46337</c:v>
                </c:pt>
                <c:pt idx="826">
                  <c:v>46338</c:v>
                </c:pt>
                <c:pt idx="827">
                  <c:v>46339</c:v>
                </c:pt>
                <c:pt idx="828">
                  <c:v>46342</c:v>
                </c:pt>
                <c:pt idx="829">
                  <c:v>46343</c:v>
                </c:pt>
                <c:pt idx="830">
                  <c:v>46344</c:v>
                </c:pt>
                <c:pt idx="831">
                  <c:v>46345</c:v>
                </c:pt>
                <c:pt idx="832">
                  <c:v>46346</c:v>
                </c:pt>
                <c:pt idx="833">
                  <c:v>46349</c:v>
                </c:pt>
                <c:pt idx="834">
                  <c:v>46350</c:v>
                </c:pt>
                <c:pt idx="835">
                  <c:v>46351</c:v>
                </c:pt>
                <c:pt idx="836">
                  <c:v>46352</c:v>
                </c:pt>
                <c:pt idx="837">
                  <c:v>46353</c:v>
                </c:pt>
                <c:pt idx="838">
                  <c:v>46356</c:v>
                </c:pt>
                <c:pt idx="839">
                  <c:v>46357</c:v>
                </c:pt>
                <c:pt idx="840">
                  <c:v>46358</c:v>
                </c:pt>
                <c:pt idx="841">
                  <c:v>46359</c:v>
                </c:pt>
                <c:pt idx="842">
                  <c:v>46360</c:v>
                </c:pt>
                <c:pt idx="843">
                  <c:v>46363</c:v>
                </c:pt>
                <c:pt idx="844">
                  <c:v>46364</c:v>
                </c:pt>
                <c:pt idx="845">
                  <c:v>46365</c:v>
                </c:pt>
                <c:pt idx="846">
                  <c:v>46366</c:v>
                </c:pt>
                <c:pt idx="847">
                  <c:v>46367</c:v>
                </c:pt>
                <c:pt idx="848">
                  <c:v>46370</c:v>
                </c:pt>
                <c:pt idx="849">
                  <c:v>46371</c:v>
                </c:pt>
                <c:pt idx="850">
                  <c:v>46372</c:v>
                </c:pt>
                <c:pt idx="851">
                  <c:v>46373</c:v>
                </c:pt>
                <c:pt idx="852">
                  <c:v>46374</c:v>
                </c:pt>
                <c:pt idx="853">
                  <c:v>46377</c:v>
                </c:pt>
                <c:pt idx="854">
                  <c:v>46378</c:v>
                </c:pt>
                <c:pt idx="855">
                  <c:v>46379</c:v>
                </c:pt>
                <c:pt idx="856">
                  <c:v>46380</c:v>
                </c:pt>
                <c:pt idx="857">
                  <c:v>46381</c:v>
                </c:pt>
                <c:pt idx="858">
                  <c:v>46384</c:v>
                </c:pt>
                <c:pt idx="859">
                  <c:v>46385</c:v>
                </c:pt>
                <c:pt idx="860">
                  <c:v>46386</c:v>
                </c:pt>
                <c:pt idx="861">
                  <c:v>46387</c:v>
                </c:pt>
                <c:pt idx="862">
                  <c:v>46388</c:v>
                </c:pt>
                <c:pt idx="863">
                  <c:v>46391</c:v>
                </c:pt>
                <c:pt idx="864">
                  <c:v>46392</c:v>
                </c:pt>
                <c:pt idx="865">
                  <c:v>46393</c:v>
                </c:pt>
                <c:pt idx="866">
                  <c:v>46394</c:v>
                </c:pt>
                <c:pt idx="867">
                  <c:v>46395</c:v>
                </c:pt>
                <c:pt idx="868">
                  <c:v>46398</c:v>
                </c:pt>
                <c:pt idx="869">
                  <c:v>46399</c:v>
                </c:pt>
                <c:pt idx="870">
                  <c:v>46400</c:v>
                </c:pt>
                <c:pt idx="871">
                  <c:v>46401</c:v>
                </c:pt>
                <c:pt idx="872">
                  <c:v>46402</c:v>
                </c:pt>
                <c:pt idx="873">
                  <c:v>46405</c:v>
                </c:pt>
                <c:pt idx="874">
                  <c:v>46406</c:v>
                </c:pt>
                <c:pt idx="875">
                  <c:v>46407</c:v>
                </c:pt>
                <c:pt idx="876">
                  <c:v>46408</c:v>
                </c:pt>
                <c:pt idx="877">
                  <c:v>46409</c:v>
                </c:pt>
                <c:pt idx="878">
                  <c:v>46412</c:v>
                </c:pt>
                <c:pt idx="879">
                  <c:v>46413</c:v>
                </c:pt>
                <c:pt idx="880">
                  <c:v>46414</c:v>
                </c:pt>
                <c:pt idx="881">
                  <c:v>46415</c:v>
                </c:pt>
                <c:pt idx="882">
                  <c:v>46416</c:v>
                </c:pt>
                <c:pt idx="883">
                  <c:v>46419</c:v>
                </c:pt>
                <c:pt idx="884">
                  <c:v>46420</c:v>
                </c:pt>
                <c:pt idx="885">
                  <c:v>46421</c:v>
                </c:pt>
                <c:pt idx="886">
                  <c:v>46422</c:v>
                </c:pt>
                <c:pt idx="887">
                  <c:v>46423</c:v>
                </c:pt>
                <c:pt idx="888">
                  <c:v>46426</c:v>
                </c:pt>
                <c:pt idx="889">
                  <c:v>46427</c:v>
                </c:pt>
                <c:pt idx="890">
                  <c:v>46428</c:v>
                </c:pt>
                <c:pt idx="891">
                  <c:v>46429</c:v>
                </c:pt>
                <c:pt idx="892">
                  <c:v>46430</c:v>
                </c:pt>
                <c:pt idx="893">
                  <c:v>46433</c:v>
                </c:pt>
                <c:pt idx="894">
                  <c:v>46434</c:v>
                </c:pt>
                <c:pt idx="895">
                  <c:v>46435</c:v>
                </c:pt>
                <c:pt idx="896">
                  <c:v>46436</c:v>
                </c:pt>
                <c:pt idx="897">
                  <c:v>46437</c:v>
                </c:pt>
                <c:pt idx="898">
                  <c:v>46440</c:v>
                </c:pt>
                <c:pt idx="899">
                  <c:v>46441</c:v>
                </c:pt>
                <c:pt idx="900">
                  <c:v>46442</c:v>
                </c:pt>
                <c:pt idx="901">
                  <c:v>46443</c:v>
                </c:pt>
                <c:pt idx="902">
                  <c:v>46444</c:v>
                </c:pt>
                <c:pt idx="903">
                  <c:v>46447</c:v>
                </c:pt>
                <c:pt idx="904">
                  <c:v>46448</c:v>
                </c:pt>
                <c:pt idx="905">
                  <c:v>46449</c:v>
                </c:pt>
                <c:pt idx="906">
                  <c:v>46450</c:v>
                </c:pt>
                <c:pt idx="907">
                  <c:v>46451</c:v>
                </c:pt>
                <c:pt idx="908">
                  <c:v>46454</c:v>
                </c:pt>
                <c:pt idx="909">
                  <c:v>46455</c:v>
                </c:pt>
                <c:pt idx="910">
                  <c:v>46456</c:v>
                </c:pt>
                <c:pt idx="911">
                  <c:v>46457</c:v>
                </c:pt>
                <c:pt idx="912">
                  <c:v>46458</c:v>
                </c:pt>
                <c:pt idx="913">
                  <c:v>46461</c:v>
                </c:pt>
                <c:pt idx="914">
                  <c:v>46462</c:v>
                </c:pt>
                <c:pt idx="915">
                  <c:v>46463</c:v>
                </c:pt>
                <c:pt idx="916">
                  <c:v>46464</c:v>
                </c:pt>
                <c:pt idx="917">
                  <c:v>46465</c:v>
                </c:pt>
                <c:pt idx="918">
                  <c:v>46468</c:v>
                </c:pt>
                <c:pt idx="919">
                  <c:v>46469</c:v>
                </c:pt>
                <c:pt idx="920">
                  <c:v>46470</c:v>
                </c:pt>
                <c:pt idx="921">
                  <c:v>46471</c:v>
                </c:pt>
                <c:pt idx="922">
                  <c:v>46472</c:v>
                </c:pt>
                <c:pt idx="923">
                  <c:v>46475</c:v>
                </c:pt>
                <c:pt idx="924">
                  <c:v>46476</c:v>
                </c:pt>
                <c:pt idx="925">
                  <c:v>46477</c:v>
                </c:pt>
                <c:pt idx="926">
                  <c:v>46478</c:v>
                </c:pt>
                <c:pt idx="927">
                  <c:v>46479</c:v>
                </c:pt>
                <c:pt idx="928">
                  <c:v>46482</c:v>
                </c:pt>
                <c:pt idx="929">
                  <c:v>46483</c:v>
                </c:pt>
                <c:pt idx="930">
                  <c:v>46484</c:v>
                </c:pt>
                <c:pt idx="931">
                  <c:v>46485</c:v>
                </c:pt>
                <c:pt idx="932">
                  <c:v>46486</c:v>
                </c:pt>
                <c:pt idx="933">
                  <c:v>46489</c:v>
                </c:pt>
                <c:pt idx="934">
                  <c:v>46490</c:v>
                </c:pt>
                <c:pt idx="935">
                  <c:v>46491</c:v>
                </c:pt>
                <c:pt idx="936">
                  <c:v>46492</c:v>
                </c:pt>
                <c:pt idx="937">
                  <c:v>46493</c:v>
                </c:pt>
                <c:pt idx="938">
                  <c:v>46496</c:v>
                </c:pt>
                <c:pt idx="939">
                  <c:v>46497</c:v>
                </c:pt>
                <c:pt idx="940">
                  <c:v>46498</c:v>
                </c:pt>
                <c:pt idx="941">
                  <c:v>46499</c:v>
                </c:pt>
                <c:pt idx="942">
                  <c:v>46500</c:v>
                </c:pt>
                <c:pt idx="943">
                  <c:v>46503</c:v>
                </c:pt>
                <c:pt idx="944">
                  <c:v>46504</c:v>
                </c:pt>
                <c:pt idx="945">
                  <c:v>46505</c:v>
                </c:pt>
                <c:pt idx="946">
                  <c:v>46506</c:v>
                </c:pt>
                <c:pt idx="947">
                  <c:v>46507</c:v>
                </c:pt>
                <c:pt idx="948">
                  <c:v>46510</c:v>
                </c:pt>
                <c:pt idx="949">
                  <c:v>46511</c:v>
                </c:pt>
                <c:pt idx="950">
                  <c:v>46512</c:v>
                </c:pt>
                <c:pt idx="951">
                  <c:v>46513</c:v>
                </c:pt>
                <c:pt idx="952">
                  <c:v>46514</c:v>
                </c:pt>
                <c:pt idx="953">
                  <c:v>46517</c:v>
                </c:pt>
                <c:pt idx="954">
                  <c:v>46518</c:v>
                </c:pt>
                <c:pt idx="955">
                  <c:v>46519</c:v>
                </c:pt>
                <c:pt idx="956">
                  <c:v>46520</c:v>
                </c:pt>
                <c:pt idx="957">
                  <c:v>46521</c:v>
                </c:pt>
                <c:pt idx="958">
                  <c:v>46524</c:v>
                </c:pt>
                <c:pt idx="959">
                  <c:v>46525</c:v>
                </c:pt>
                <c:pt idx="960">
                  <c:v>46526</c:v>
                </c:pt>
                <c:pt idx="961">
                  <c:v>46527</c:v>
                </c:pt>
                <c:pt idx="962">
                  <c:v>46528</c:v>
                </c:pt>
                <c:pt idx="963">
                  <c:v>46531</c:v>
                </c:pt>
                <c:pt idx="964">
                  <c:v>46532</c:v>
                </c:pt>
                <c:pt idx="965">
                  <c:v>46533</c:v>
                </c:pt>
                <c:pt idx="966">
                  <c:v>46534</c:v>
                </c:pt>
                <c:pt idx="967">
                  <c:v>46535</c:v>
                </c:pt>
                <c:pt idx="968">
                  <c:v>46538</c:v>
                </c:pt>
                <c:pt idx="969">
                  <c:v>46539</c:v>
                </c:pt>
                <c:pt idx="970">
                  <c:v>46540</c:v>
                </c:pt>
                <c:pt idx="971">
                  <c:v>46541</c:v>
                </c:pt>
                <c:pt idx="972">
                  <c:v>46542</c:v>
                </c:pt>
                <c:pt idx="973">
                  <c:v>46545</c:v>
                </c:pt>
                <c:pt idx="974">
                  <c:v>46546</c:v>
                </c:pt>
                <c:pt idx="975">
                  <c:v>46547</c:v>
                </c:pt>
                <c:pt idx="976">
                  <c:v>46548</c:v>
                </c:pt>
                <c:pt idx="977">
                  <c:v>46549</c:v>
                </c:pt>
                <c:pt idx="978">
                  <c:v>46552</c:v>
                </c:pt>
                <c:pt idx="979">
                  <c:v>46553</c:v>
                </c:pt>
                <c:pt idx="980">
                  <c:v>46554</c:v>
                </c:pt>
                <c:pt idx="981">
                  <c:v>46555</c:v>
                </c:pt>
                <c:pt idx="982">
                  <c:v>46556</c:v>
                </c:pt>
                <c:pt idx="983">
                  <c:v>46559</c:v>
                </c:pt>
                <c:pt idx="984">
                  <c:v>46560</c:v>
                </c:pt>
                <c:pt idx="985">
                  <c:v>46561</c:v>
                </c:pt>
                <c:pt idx="986">
                  <c:v>46562</c:v>
                </c:pt>
                <c:pt idx="987">
                  <c:v>46563</c:v>
                </c:pt>
                <c:pt idx="988">
                  <c:v>46566</c:v>
                </c:pt>
                <c:pt idx="989">
                  <c:v>46567</c:v>
                </c:pt>
                <c:pt idx="990">
                  <c:v>46568</c:v>
                </c:pt>
                <c:pt idx="991">
                  <c:v>46569</c:v>
                </c:pt>
                <c:pt idx="992">
                  <c:v>46570</c:v>
                </c:pt>
                <c:pt idx="993">
                  <c:v>46573</c:v>
                </c:pt>
                <c:pt idx="994">
                  <c:v>46574</c:v>
                </c:pt>
                <c:pt idx="995">
                  <c:v>46575</c:v>
                </c:pt>
                <c:pt idx="996">
                  <c:v>46576</c:v>
                </c:pt>
                <c:pt idx="997">
                  <c:v>46577</c:v>
                </c:pt>
                <c:pt idx="998">
                  <c:v>46580</c:v>
                </c:pt>
              </c:numCache>
            </c:numRef>
          </c:cat>
          <c:val>
            <c:numRef>
              <c:f>Daily!$J$2:$J$1057</c:f>
            </c:numRef>
          </c:val>
          <c:smooth val="0"/>
          <c:extLst>
            <c:ext xmlns:c16="http://schemas.microsoft.com/office/drawing/2014/chart" uri="{C3380CC4-5D6E-409C-BE32-E72D297353CC}">
              <c16:uniqueId val="{0000000F-094D-4E29-B010-D717A2A1A293}"/>
            </c:ext>
          </c:extLst>
        </c:ser>
        <c:ser>
          <c:idx val="9"/>
          <c:order val="9"/>
          <c:tx>
            <c:strRef>
              <c:f>Daily!$K$1</c:f>
              <c:strCache>
                <c:ptCount val="1"/>
                <c:pt idx="0">
                  <c:v>M+9</c:v>
                </c:pt>
              </c:strCache>
            </c:strRef>
          </c:tx>
          <c:spPr>
            <a:ln w="28575" cap="rnd" cmpd="sng" algn="ctr">
              <a:solidFill>
                <a:schemeClr val="accent4">
                  <a:lumMod val="60000"/>
                  <a:shade val="95000"/>
                  <a:satMod val="105000"/>
                </a:schemeClr>
              </a:solidFill>
              <a:prstDash val="solid"/>
              <a:round/>
            </a:ln>
            <a:effectLst/>
          </c:spPr>
          <c:marker>
            <c:symbol val="none"/>
          </c:marker>
          <c:cat>
            <c:numRef>
              <c:f>Daily!$A$2:$A$1000</c:f>
              <c:numCache>
                <c:formatCode>d\-mmm\-yy</c:formatCode>
                <c:ptCount val="999"/>
                <c:pt idx="0">
                  <c:v>45128</c:v>
                </c:pt>
                <c:pt idx="1">
                  <c:v>45131</c:v>
                </c:pt>
                <c:pt idx="2">
                  <c:v>45132</c:v>
                </c:pt>
                <c:pt idx="3">
                  <c:v>45133</c:v>
                </c:pt>
                <c:pt idx="4">
                  <c:v>45134</c:v>
                </c:pt>
                <c:pt idx="5">
                  <c:v>45135</c:v>
                </c:pt>
                <c:pt idx="6">
                  <c:v>45138</c:v>
                </c:pt>
                <c:pt idx="7">
                  <c:v>45139</c:v>
                </c:pt>
                <c:pt idx="8">
                  <c:v>45140</c:v>
                </c:pt>
                <c:pt idx="9">
                  <c:v>45141</c:v>
                </c:pt>
                <c:pt idx="10">
                  <c:v>45142</c:v>
                </c:pt>
                <c:pt idx="11">
                  <c:v>45145</c:v>
                </c:pt>
                <c:pt idx="12">
                  <c:v>45146</c:v>
                </c:pt>
                <c:pt idx="13">
                  <c:v>45147</c:v>
                </c:pt>
                <c:pt idx="14">
                  <c:v>45148</c:v>
                </c:pt>
                <c:pt idx="15">
                  <c:v>45149</c:v>
                </c:pt>
                <c:pt idx="16">
                  <c:v>45152</c:v>
                </c:pt>
                <c:pt idx="17">
                  <c:v>45153</c:v>
                </c:pt>
                <c:pt idx="18">
                  <c:v>45154</c:v>
                </c:pt>
                <c:pt idx="19">
                  <c:v>45155</c:v>
                </c:pt>
                <c:pt idx="20">
                  <c:v>45156</c:v>
                </c:pt>
                <c:pt idx="21">
                  <c:v>45159</c:v>
                </c:pt>
                <c:pt idx="22">
                  <c:v>45160</c:v>
                </c:pt>
                <c:pt idx="23">
                  <c:v>45161</c:v>
                </c:pt>
                <c:pt idx="24">
                  <c:v>45162</c:v>
                </c:pt>
                <c:pt idx="25">
                  <c:v>45163</c:v>
                </c:pt>
                <c:pt idx="26">
                  <c:v>45166</c:v>
                </c:pt>
                <c:pt idx="27">
                  <c:v>45167</c:v>
                </c:pt>
                <c:pt idx="28">
                  <c:v>45168</c:v>
                </c:pt>
                <c:pt idx="29">
                  <c:v>45169</c:v>
                </c:pt>
                <c:pt idx="30">
                  <c:v>45170</c:v>
                </c:pt>
                <c:pt idx="31">
                  <c:v>45173</c:v>
                </c:pt>
                <c:pt idx="32">
                  <c:v>45174</c:v>
                </c:pt>
                <c:pt idx="33">
                  <c:v>45175</c:v>
                </c:pt>
                <c:pt idx="34">
                  <c:v>45176</c:v>
                </c:pt>
                <c:pt idx="35">
                  <c:v>45177</c:v>
                </c:pt>
                <c:pt idx="36">
                  <c:v>45180</c:v>
                </c:pt>
                <c:pt idx="37">
                  <c:v>45181</c:v>
                </c:pt>
                <c:pt idx="38">
                  <c:v>45182</c:v>
                </c:pt>
                <c:pt idx="39">
                  <c:v>45183</c:v>
                </c:pt>
                <c:pt idx="40">
                  <c:v>45184</c:v>
                </c:pt>
                <c:pt idx="41">
                  <c:v>45187</c:v>
                </c:pt>
                <c:pt idx="42">
                  <c:v>45188</c:v>
                </c:pt>
                <c:pt idx="43">
                  <c:v>45189</c:v>
                </c:pt>
                <c:pt idx="44">
                  <c:v>45190</c:v>
                </c:pt>
                <c:pt idx="45">
                  <c:v>45191</c:v>
                </c:pt>
                <c:pt idx="46">
                  <c:v>45194</c:v>
                </c:pt>
                <c:pt idx="47">
                  <c:v>45195</c:v>
                </c:pt>
                <c:pt idx="48">
                  <c:v>45196</c:v>
                </c:pt>
                <c:pt idx="49">
                  <c:v>45197</c:v>
                </c:pt>
                <c:pt idx="50">
                  <c:v>45208</c:v>
                </c:pt>
                <c:pt idx="51">
                  <c:v>45209</c:v>
                </c:pt>
                <c:pt idx="52">
                  <c:v>45210</c:v>
                </c:pt>
                <c:pt idx="53">
                  <c:v>45211</c:v>
                </c:pt>
                <c:pt idx="54">
                  <c:v>45212</c:v>
                </c:pt>
                <c:pt idx="55">
                  <c:v>45215</c:v>
                </c:pt>
                <c:pt idx="56">
                  <c:v>45216</c:v>
                </c:pt>
                <c:pt idx="57">
                  <c:v>45217</c:v>
                </c:pt>
                <c:pt idx="58">
                  <c:v>45218</c:v>
                </c:pt>
                <c:pt idx="59">
                  <c:v>45219</c:v>
                </c:pt>
                <c:pt idx="60">
                  <c:v>45222</c:v>
                </c:pt>
                <c:pt idx="61">
                  <c:v>45223</c:v>
                </c:pt>
                <c:pt idx="62">
                  <c:v>45224</c:v>
                </c:pt>
                <c:pt idx="63">
                  <c:v>45225</c:v>
                </c:pt>
                <c:pt idx="64">
                  <c:v>45226</c:v>
                </c:pt>
                <c:pt idx="65">
                  <c:v>45229</c:v>
                </c:pt>
                <c:pt idx="66">
                  <c:v>45230</c:v>
                </c:pt>
                <c:pt idx="67">
                  <c:v>45231</c:v>
                </c:pt>
                <c:pt idx="68">
                  <c:v>45232</c:v>
                </c:pt>
                <c:pt idx="69">
                  <c:v>45233</c:v>
                </c:pt>
                <c:pt idx="70">
                  <c:v>45236</c:v>
                </c:pt>
                <c:pt idx="71">
                  <c:v>45237</c:v>
                </c:pt>
                <c:pt idx="72">
                  <c:v>45238</c:v>
                </c:pt>
                <c:pt idx="73">
                  <c:v>45239</c:v>
                </c:pt>
                <c:pt idx="74">
                  <c:v>45240</c:v>
                </c:pt>
                <c:pt idx="75">
                  <c:v>45243</c:v>
                </c:pt>
                <c:pt idx="76">
                  <c:v>45244</c:v>
                </c:pt>
                <c:pt idx="77">
                  <c:v>45245</c:v>
                </c:pt>
                <c:pt idx="78">
                  <c:v>45246</c:v>
                </c:pt>
                <c:pt idx="79">
                  <c:v>45247</c:v>
                </c:pt>
                <c:pt idx="80">
                  <c:v>45250</c:v>
                </c:pt>
                <c:pt idx="81">
                  <c:v>45251</c:v>
                </c:pt>
                <c:pt idx="82">
                  <c:v>45252</c:v>
                </c:pt>
                <c:pt idx="83">
                  <c:v>45253</c:v>
                </c:pt>
                <c:pt idx="84">
                  <c:v>45254</c:v>
                </c:pt>
                <c:pt idx="85">
                  <c:v>45257</c:v>
                </c:pt>
                <c:pt idx="86">
                  <c:v>45258</c:v>
                </c:pt>
                <c:pt idx="87">
                  <c:v>45259</c:v>
                </c:pt>
                <c:pt idx="88">
                  <c:v>45260</c:v>
                </c:pt>
                <c:pt idx="89">
                  <c:v>45261</c:v>
                </c:pt>
                <c:pt idx="90">
                  <c:v>45264</c:v>
                </c:pt>
                <c:pt idx="91">
                  <c:v>45265</c:v>
                </c:pt>
                <c:pt idx="92">
                  <c:v>45266</c:v>
                </c:pt>
                <c:pt idx="93">
                  <c:v>45267</c:v>
                </c:pt>
                <c:pt idx="94">
                  <c:v>45268</c:v>
                </c:pt>
                <c:pt idx="95">
                  <c:v>45271</c:v>
                </c:pt>
                <c:pt idx="96">
                  <c:v>45272</c:v>
                </c:pt>
                <c:pt idx="97">
                  <c:v>45273</c:v>
                </c:pt>
                <c:pt idx="98">
                  <c:v>45274</c:v>
                </c:pt>
                <c:pt idx="99">
                  <c:v>45275</c:v>
                </c:pt>
                <c:pt idx="100">
                  <c:v>45278</c:v>
                </c:pt>
                <c:pt idx="101">
                  <c:v>45279</c:v>
                </c:pt>
                <c:pt idx="102">
                  <c:v>45280</c:v>
                </c:pt>
                <c:pt idx="103">
                  <c:v>45281</c:v>
                </c:pt>
                <c:pt idx="104">
                  <c:v>45282</c:v>
                </c:pt>
                <c:pt idx="105">
                  <c:v>45285</c:v>
                </c:pt>
                <c:pt idx="106">
                  <c:v>45286</c:v>
                </c:pt>
                <c:pt idx="107">
                  <c:v>45287</c:v>
                </c:pt>
                <c:pt idx="108">
                  <c:v>45288</c:v>
                </c:pt>
                <c:pt idx="109">
                  <c:v>45289</c:v>
                </c:pt>
                <c:pt idx="110">
                  <c:v>45293</c:v>
                </c:pt>
                <c:pt idx="111">
                  <c:v>45294</c:v>
                </c:pt>
                <c:pt idx="112">
                  <c:v>45295</c:v>
                </c:pt>
                <c:pt idx="113">
                  <c:v>45296</c:v>
                </c:pt>
                <c:pt idx="114">
                  <c:v>45299</c:v>
                </c:pt>
                <c:pt idx="115">
                  <c:v>45300</c:v>
                </c:pt>
                <c:pt idx="116">
                  <c:v>45301</c:v>
                </c:pt>
                <c:pt idx="117">
                  <c:v>45302</c:v>
                </c:pt>
                <c:pt idx="118">
                  <c:v>45303</c:v>
                </c:pt>
                <c:pt idx="119">
                  <c:v>45306</c:v>
                </c:pt>
                <c:pt idx="120">
                  <c:v>45307</c:v>
                </c:pt>
                <c:pt idx="121">
                  <c:v>45308</c:v>
                </c:pt>
                <c:pt idx="122">
                  <c:v>45309</c:v>
                </c:pt>
                <c:pt idx="123">
                  <c:v>45310</c:v>
                </c:pt>
                <c:pt idx="124">
                  <c:v>45313</c:v>
                </c:pt>
                <c:pt idx="125">
                  <c:v>45314</c:v>
                </c:pt>
                <c:pt idx="126">
                  <c:v>45315</c:v>
                </c:pt>
                <c:pt idx="127">
                  <c:v>45316</c:v>
                </c:pt>
                <c:pt idx="128">
                  <c:v>45317</c:v>
                </c:pt>
                <c:pt idx="129">
                  <c:v>45320</c:v>
                </c:pt>
                <c:pt idx="130">
                  <c:v>45321</c:v>
                </c:pt>
                <c:pt idx="131">
                  <c:v>45322</c:v>
                </c:pt>
                <c:pt idx="132">
                  <c:v>45323</c:v>
                </c:pt>
                <c:pt idx="133">
                  <c:v>45324</c:v>
                </c:pt>
                <c:pt idx="134">
                  <c:v>45327</c:v>
                </c:pt>
                <c:pt idx="135">
                  <c:v>45328</c:v>
                </c:pt>
                <c:pt idx="136">
                  <c:v>45329</c:v>
                </c:pt>
                <c:pt idx="137">
                  <c:v>45330</c:v>
                </c:pt>
                <c:pt idx="138">
                  <c:v>45341</c:v>
                </c:pt>
                <c:pt idx="139">
                  <c:v>45342</c:v>
                </c:pt>
                <c:pt idx="140">
                  <c:v>45343</c:v>
                </c:pt>
                <c:pt idx="141">
                  <c:v>45344</c:v>
                </c:pt>
                <c:pt idx="142">
                  <c:v>45345</c:v>
                </c:pt>
                <c:pt idx="143">
                  <c:v>45348</c:v>
                </c:pt>
                <c:pt idx="144">
                  <c:v>45349</c:v>
                </c:pt>
                <c:pt idx="145">
                  <c:v>45350</c:v>
                </c:pt>
                <c:pt idx="146">
                  <c:v>45351</c:v>
                </c:pt>
                <c:pt idx="147">
                  <c:v>45352</c:v>
                </c:pt>
                <c:pt idx="148">
                  <c:v>45355</c:v>
                </c:pt>
                <c:pt idx="149">
                  <c:v>45356</c:v>
                </c:pt>
                <c:pt idx="150">
                  <c:v>45357</c:v>
                </c:pt>
                <c:pt idx="151">
                  <c:v>45358</c:v>
                </c:pt>
                <c:pt idx="152">
                  <c:v>45359</c:v>
                </c:pt>
                <c:pt idx="153">
                  <c:v>45362</c:v>
                </c:pt>
                <c:pt idx="154">
                  <c:v>45363</c:v>
                </c:pt>
                <c:pt idx="155">
                  <c:v>45364</c:v>
                </c:pt>
                <c:pt idx="156">
                  <c:v>45365</c:v>
                </c:pt>
                <c:pt idx="157">
                  <c:v>45366</c:v>
                </c:pt>
                <c:pt idx="158">
                  <c:v>45369</c:v>
                </c:pt>
                <c:pt idx="159">
                  <c:v>45370</c:v>
                </c:pt>
                <c:pt idx="160">
                  <c:v>45371</c:v>
                </c:pt>
                <c:pt idx="161">
                  <c:v>45372</c:v>
                </c:pt>
                <c:pt idx="162">
                  <c:v>45373</c:v>
                </c:pt>
                <c:pt idx="163">
                  <c:v>45376</c:v>
                </c:pt>
                <c:pt idx="164">
                  <c:v>45377</c:v>
                </c:pt>
                <c:pt idx="165">
                  <c:v>45378</c:v>
                </c:pt>
                <c:pt idx="166">
                  <c:v>45379</c:v>
                </c:pt>
                <c:pt idx="167">
                  <c:v>45380</c:v>
                </c:pt>
                <c:pt idx="168">
                  <c:v>45383</c:v>
                </c:pt>
                <c:pt idx="169">
                  <c:v>45384</c:v>
                </c:pt>
                <c:pt idx="170">
                  <c:v>45385</c:v>
                </c:pt>
                <c:pt idx="171">
                  <c:v>45390</c:v>
                </c:pt>
                <c:pt idx="172">
                  <c:v>45391</c:v>
                </c:pt>
                <c:pt idx="173">
                  <c:v>45392</c:v>
                </c:pt>
                <c:pt idx="174">
                  <c:v>45393</c:v>
                </c:pt>
                <c:pt idx="175">
                  <c:v>45394</c:v>
                </c:pt>
                <c:pt idx="176">
                  <c:v>45397</c:v>
                </c:pt>
                <c:pt idx="177">
                  <c:v>45398</c:v>
                </c:pt>
                <c:pt idx="178">
                  <c:v>45399</c:v>
                </c:pt>
                <c:pt idx="179">
                  <c:v>45400</c:v>
                </c:pt>
                <c:pt idx="180">
                  <c:v>45401</c:v>
                </c:pt>
                <c:pt idx="181">
                  <c:v>45404</c:v>
                </c:pt>
                <c:pt idx="182">
                  <c:v>45405</c:v>
                </c:pt>
                <c:pt idx="183">
                  <c:v>45406</c:v>
                </c:pt>
                <c:pt idx="184">
                  <c:v>45407</c:v>
                </c:pt>
                <c:pt idx="185">
                  <c:v>45408</c:v>
                </c:pt>
                <c:pt idx="186">
                  <c:v>45411</c:v>
                </c:pt>
                <c:pt idx="187">
                  <c:v>45412</c:v>
                </c:pt>
                <c:pt idx="188">
                  <c:v>45418</c:v>
                </c:pt>
                <c:pt idx="189">
                  <c:v>45419</c:v>
                </c:pt>
                <c:pt idx="190">
                  <c:v>45420</c:v>
                </c:pt>
                <c:pt idx="191">
                  <c:v>45421</c:v>
                </c:pt>
                <c:pt idx="192">
                  <c:v>45422</c:v>
                </c:pt>
                <c:pt idx="193">
                  <c:v>45425</c:v>
                </c:pt>
                <c:pt idx="194">
                  <c:v>45426</c:v>
                </c:pt>
                <c:pt idx="195">
                  <c:v>45427</c:v>
                </c:pt>
                <c:pt idx="196">
                  <c:v>45428</c:v>
                </c:pt>
                <c:pt idx="197">
                  <c:v>45429</c:v>
                </c:pt>
                <c:pt idx="198">
                  <c:v>45432</c:v>
                </c:pt>
                <c:pt idx="199">
                  <c:v>45433</c:v>
                </c:pt>
                <c:pt idx="200">
                  <c:v>45434</c:v>
                </c:pt>
                <c:pt idx="201">
                  <c:v>45435</c:v>
                </c:pt>
                <c:pt idx="202">
                  <c:v>45436</c:v>
                </c:pt>
                <c:pt idx="203">
                  <c:v>45439</c:v>
                </c:pt>
                <c:pt idx="204">
                  <c:v>45440</c:v>
                </c:pt>
                <c:pt idx="205">
                  <c:v>45441</c:v>
                </c:pt>
                <c:pt idx="206">
                  <c:v>45442</c:v>
                </c:pt>
                <c:pt idx="207">
                  <c:v>45443</c:v>
                </c:pt>
                <c:pt idx="208">
                  <c:v>45446</c:v>
                </c:pt>
                <c:pt idx="209">
                  <c:v>45447</c:v>
                </c:pt>
                <c:pt idx="210">
                  <c:v>45448</c:v>
                </c:pt>
                <c:pt idx="211">
                  <c:v>45449</c:v>
                </c:pt>
                <c:pt idx="212">
                  <c:v>45450</c:v>
                </c:pt>
                <c:pt idx="213">
                  <c:v>45454</c:v>
                </c:pt>
                <c:pt idx="214">
                  <c:v>45455</c:v>
                </c:pt>
                <c:pt idx="215">
                  <c:v>45456</c:v>
                </c:pt>
                <c:pt idx="216">
                  <c:v>45457</c:v>
                </c:pt>
                <c:pt idx="217">
                  <c:v>45460</c:v>
                </c:pt>
                <c:pt idx="218">
                  <c:v>45461</c:v>
                </c:pt>
                <c:pt idx="219">
                  <c:v>45462</c:v>
                </c:pt>
                <c:pt idx="220">
                  <c:v>45463</c:v>
                </c:pt>
                <c:pt idx="221">
                  <c:v>45464</c:v>
                </c:pt>
                <c:pt idx="222">
                  <c:v>45467</c:v>
                </c:pt>
                <c:pt idx="223">
                  <c:v>45468</c:v>
                </c:pt>
                <c:pt idx="224">
                  <c:v>45469</c:v>
                </c:pt>
                <c:pt idx="225">
                  <c:v>45470</c:v>
                </c:pt>
                <c:pt idx="226">
                  <c:v>45471</c:v>
                </c:pt>
                <c:pt idx="227">
                  <c:v>45474</c:v>
                </c:pt>
                <c:pt idx="228">
                  <c:v>45475</c:v>
                </c:pt>
                <c:pt idx="229">
                  <c:v>45476</c:v>
                </c:pt>
                <c:pt idx="230">
                  <c:v>45477</c:v>
                </c:pt>
                <c:pt idx="231">
                  <c:v>45478</c:v>
                </c:pt>
                <c:pt idx="232">
                  <c:v>45481</c:v>
                </c:pt>
                <c:pt idx="233">
                  <c:v>45482</c:v>
                </c:pt>
                <c:pt idx="234">
                  <c:v>45483</c:v>
                </c:pt>
                <c:pt idx="235">
                  <c:v>45484</c:v>
                </c:pt>
                <c:pt idx="236">
                  <c:v>45485</c:v>
                </c:pt>
                <c:pt idx="237">
                  <c:v>45488</c:v>
                </c:pt>
                <c:pt idx="238">
                  <c:v>45489</c:v>
                </c:pt>
                <c:pt idx="239">
                  <c:v>45490</c:v>
                </c:pt>
                <c:pt idx="240">
                  <c:v>45491</c:v>
                </c:pt>
                <c:pt idx="241">
                  <c:v>45492</c:v>
                </c:pt>
                <c:pt idx="242">
                  <c:v>45495</c:v>
                </c:pt>
                <c:pt idx="243">
                  <c:v>45496</c:v>
                </c:pt>
                <c:pt idx="244">
                  <c:v>45497</c:v>
                </c:pt>
                <c:pt idx="245">
                  <c:v>45498</c:v>
                </c:pt>
                <c:pt idx="246">
                  <c:v>45499</c:v>
                </c:pt>
                <c:pt idx="247">
                  <c:v>45502</c:v>
                </c:pt>
                <c:pt idx="248">
                  <c:v>45503</c:v>
                </c:pt>
                <c:pt idx="249">
                  <c:v>45504</c:v>
                </c:pt>
                <c:pt idx="250">
                  <c:v>45505</c:v>
                </c:pt>
                <c:pt idx="251">
                  <c:v>45506</c:v>
                </c:pt>
                <c:pt idx="252">
                  <c:v>45509</c:v>
                </c:pt>
                <c:pt idx="253">
                  <c:v>45510</c:v>
                </c:pt>
                <c:pt idx="254">
                  <c:v>45511</c:v>
                </c:pt>
                <c:pt idx="255">
                  <c:v>45512</c:v>
                </c:pt>
                <c:pt idx="256">
                  <c:v>45513</c:v>
                </c:pt>
                <c:pt idx="257">
                  <c:v>45516</c:v>
                </c:pt>
                <c:pt idx="258">
                  <c:v>45517</c:v>
                </c:pt>
                <c:pt idx="259">
                  <c:v>45518</c:v>
                </c:pt>
                <c:pt idx="260">
                  <c:v>45519</c:v>
                </c:pt>
                <c:pt idx="261">
                  <c:v>45520</c:v>
                </c:pt>
                <c:pt idx="262">
                  <c:v>45523</c:v>
                </c:pt>
                <c:pt idx="263">
                  <c:v>45524</c:v>
                </c:pt>
                <c:pt idx="264">
                  <c:v>45525</c:v>
                </c:pt>
                <c:pt idx="265">
                  <c:v>45526</c:v>
                </c:pt>
                <c:pt idx="266">
                  <c:v>45527</c:v>
                </c:pt>
                <c:pt idx="267">
                  <c:v>45530</c:v>
                </c:pt>
                <c:pt idx="268">
                  <c:v>45531</c:v>
                </c:pt>
                <c:pt idx="269">
                  <c:v>45532</c:v>
                </c:pt>
                <c:pt idx="270">
                  <c:v>45533</c:v>
                </c:pt>
                <c:pt idx="271">
                  <c:v>45534</c:v>
                </c:pt>
                <c:pt idx="272">
                  <c:v>45537</c:v>
                </c:pt>
                <c:pt idx="273">
                  <c:v>45538</c:v>
                </c:pt>
                <c:pt idx="274">
                  <c:v>45539</c:v>
                </c:pt>
                <c:pt idx="275">
                  <c:v>45540</c:v>
                </c:pt>
                <c:pt idx="276">
                  <c:v>45541</c:v>
                </c:pt>
                <c:pt idx="277">
                  <c:v>45544</c:v>
                </c:pt>
                <c:pt idx="278">
                  <c:v>45545</c:v>
                </c:pt>
                <c:pt idx="279">
                  <c:v>45546</c:v>
                </c:pt>
                <c:pt idx="280">
                  <c:v>45547</c:v>
                </c:pt>
                <c:pt idx="281">
                  <c:v>45548</c:v>
                </c:pt>
                <c:pt idx="282">
                  <c:v>45553</c:v>
                </c:pt>
                <c:pt idx="283">
                  <c:v>45554</c:v>
                </c:pt>
                <c:pt idx="284">
                  <c:v>45555</c:v>
                </c:pt>
                <c:pt idx="285">
                  <c:v>45558</c:v>
                </c:pt>
                <c:pt idx="286">
                  <c:v>45559</c:v>
                </c:pt>
                <c:pt idx="287">
                  <c:v>45560</c:v>
                </c:pt>
                <c:pt idx="288">
                  <c:v>45561</c:v>
                </c:pt>
                <c:pt idx="289">
                  <c:v>45562</c:v>
                </c:pt>
                <c:pt idx="290">
                  <c:v>45565</c:v>
                </c:pt>
                <c:pt idx="291">
                  <c:v>45573</c:v>
                </c:pt>
                <c:pt idx="292">
                  <c:v>45574</c:v>
                </c:pt>
                <c:pt idx="293">
                  <c:v>45575</c:v>
                </c:pt>
                <c:pt idx="294">
                  <c:v>45576</c:v>
                </c:pt>
                <c:pt idx="295">
                  <c:v>45579</c:v>
                </c:pt>
                <c:pt idx="296">
                  <c:v>45580</c:v>
                </c:pt>
                <c:pt idx="297">
                  <c:v>45581</c:v>
                </c:pt>
                <c:pt idx="298">
                  <c:v>45582</c:v>
                </c:pt>
                <c:pt idx="299">
                  <c:v>45583</c:v>
                </c:pt>
                <c:pt idx="300">
                  <c:v>45586</c:v>
                </c:pt>
                <c:pt idx="301">
                  <c:v>45587</c:v>
                </c:pt>
                <c:pt idx="302">
                  <c:v>45588</c:v>
                </c:pt>
                <c:pt idx="303">
                  <c:v>45589</c:v>
                </c:pt>
                <c:pt idx="304">
                  <c:v>45590</c:v>
                </c:pt>
                <c:pt idx="305">
                  <c:v>45593</c:v>
                </c:pt>
                <c:pt idx="306">
                  <c:v>45594</c:v>
                </c:pt>
                <c:pt idx="307">
                  <c:v>45595</c:v>
                </c:pt>
                <c:pt idx="308">
                  <c:v>45596</c:v>
                </c:pt>
                <c:pt idx="309">
                  <c:v>45597</c:v>
                </c:pt>
                <c:pt idx="310">
                  <c:v>45600</c:v>
                </c:pt>
                <c:pt idx="311">
                  <c:v>45601</c:v>
                </c:pt>
                <c:pt idx="312">
                  <c:v>45602</c:v>
                </c:pt>
                <c:pt idx="313">
                  <c:v>45603</c:v>
                </c:pt>
                <c:pt idx="314">
                  <c:v>45604</c:v>
                </c:pt>
                <c:pt idx="315">
                  <c:v>45607</c:v>
                </c:pt>
                <c:pt idx="316">
                  <c:v>45608</c:v>
                </c:pt>
                <c:pt idx="317">
                  <c:v>45609</c:v>
                </c:pt>
                <c:pt idx="318">
                  <c:v>45610</c:v>
                </c:pt>
                <c:pt idx="319">
                  <c:v>45611</c:v>
                </c:pt>
                <c:pt idx="320">
                  <c:v>45614</c:v>
                </c:pt>
                <c:pt idx="321">
                  <c:v>45615</c:v>
                </c:pt>
                <c:pt idx="322">
                  <c:v>45616</c:v>
                </c:pt>
                <c:pt idx="323">
                  <c:v>45617</c:v>
                </c:pt>
                <c:pt idx="324">
                  <c:v>45618</c:v>
                </c:pt>
                <c:pt idx="325">
                  <c:v>45621</c:v>
                </c:pt>
                <c:pt idx="326">
                  <c:v>45622</c:v>
                </c:pt>
                <c:pt idx="327">
                  <c:v>45623</c:v>
                </c:pt>
                <c:pt idx="328">
                  <c:v>45624</c:v>
                </c:pt>
                <c:pt idx="329">
                  <c:v>45625</c:v>
                </c:pt>
                <c:pt idx="330">
                  <c:v>45628</c:v>
                </c:pt>
                <c:pt idx="331">
                  <c:v>45629</c:v>
                </c:pt>
                <c:pt idx="332">
                  <c:v>45630</c:v>
                </c:pt>
                <c:pt idx="333">
                  <c:v>45631</c:v>
                </c:pt>
                <c:pt idx="334">
                  <c:v>45632</c:v>
                </c:pt>
                <c:pt idx="335">
                  <c:v>45635</c:v>
                </c:pt>
                <c:pt idx="336">
                  <c:v>45636</c:v>
                </c:pt>
                <c:pt idx="337">
                  <c:v>45637</c:v>
                </c:pt>
                <c:pt idx="338">
                  <c:v>45638</c:v>
                </c:pt>
                <c:pt idx="339">
                  <c:v>45639</c:v>
                </c:pt>
                <c:pt idx="340">
                  <c:v>45642</c:v>
                </c:pt>
                <c:pt idx="341">
                  <c:v>45643</c:v>
                </c:pt>
                <c:pt idx="342">
                  <c:v>45644</c:v>
                </c:pt>
                <c:pt idx="343">
                  <c:v>45645</c:v>
                </c:pt>
                <c:pt idx="344">
                  <c:v>45646</c:v>
                </c:pt>
                <c:pt idx="345">
                  <c:v>45649</c:v>
                </c:pt>
                <c:pt idx="346">
                  <c:v>45650</c:v>
                </c:pt>
                <c:pt idx="347">
                  <c:v>45651</c:v>
                </c:pt>
                <c:pt idx="348">
                  <c:v>45652</c:v>
                </c:pt>
                <c:pt idx="349">
                  <c:v>45653</c:v>
                </c:pt>
                <c:pt idx="350">
                  <c:v>45656</c:v>
                </c:pt>
                <c:pt idx="351">
                  <c:v>45657</c:v>
                </c:pt>
                <c:pt idx="352">
                  <c:v>45659</c:v>
                </c:pt>
                <c:pt idx="353">
                  <c:v>45660</c:v>
                </c:pt>
                <c:pt idx="354">
                  <c:v>45663</c:v>
                </c:pt>
                <c:pt idx="355">
                  <c:v>45664</c:v>
                </c:pt>
                <c:pt idx="356">
                  <c:v>45665</c:v>
                </c:pt>
                <c:pt idx="357">
                  <c:v>45666</c:v>
                </c:pt>
                <c:pt idx="358">
                  <c:v>45667</c:v>
                </c:pt>
                <c:pt idx="359">
                  <c:v>45670</c:v>
                </c:pt>
                <c:pt idx="360">
                  <c:v>45671</c:v>
                </c:pt>
                <c:pt idx="361">
                  <c:v>45672</c:v>
                </c:pt>
                <c:pt idx="362">
                  <c:v>45673</c:v>
                </c:pt>
                <c:pt idx="363">
                  <c:v>45674</c:v>
                </c:pt>
                <c:pt idx="364">
                  <c:v>45677</c:v>
                </c:pt>
                <c:pt idx="365">
                  <c:v>45678</c:v>
                </c:pt>
                <c:pt idx="366">
                  <c:v>45679</c:v>
                </c:pt>
                <c:pt idx="367">
                  <c:v>45680</c:v>
                </c:pt>
                <c:pt idx="368">
                  <c:v>45681</c:v>
                </c:pt>
                <c:pt idx="369">
                  <c:v>45684</c:v>
                </c:pt>
                <c:pt idx="370">
                  <c:v>45693</c:v>
                </c:pt>
                <c:pt idx="371">
                  <c:v>45694</c:v>
                </c:pt>
                <c:pt idx="372">
                  <c:v>45695</c:v>
                </c:pt>
                <c:pt idx="373">
                  <c:v>45698</c:v>
                </c:pt>
                <c:pt idx="374">
                  <c:v>45699</c:v>
                </c:pt>
                <c:pt idx="375">
                  <c:v>45700</c:v>
                </c:pt>
                <c:pt idx="376">
                  <c:v>45701</c:v>
                </c:pt>
                <c:pt idx="377">
                  <c:v>45702</c:v>
                </c:pt>
                <c:pt idx="378">
                  <c:v>45705</c:v>
                </c:pt>
                <c:pt idx="379">
                  <c:v>45706</c:v>
                </c:pt>
                <c:pt idx="380">
                  <c:v>45707</c:v>
                </c:pt>
                <c:pt idx="381">
                  <c:v>45708</c:v>
                </c:pt>
                <c:pt idx="382">
                  <c:v>45709</c:v>
                </c:pt>
                <c:pt idx="383">
                  <c:v>45712</c:v>
                </c:pt>
                <c:pt idx="384">
                  <c:v>45713</c:v>
                </c:pt>
                <c:pt idx="385">
                  <c:v>45714</c:v>
                </c:pt>
                <c:pt idx="386">
                  <c:v>45715</c:v>
                </c:pt>
                <c:pt idx="387">
                  <c:v>45716</c:v>
                </c:pt>
                <c:pt idx="388">
                  <c:v>45719</c:v>
                </c:pt>
                <c:pt idx="389">
                  <c:v>45720</c:v>
                </c:pt>
                <c:pt idx="390">
                  <c:v>45721</c:v>
                </c:pt>
                <c:pt idx="391">
                  <c:v>45722</c:v>
                </c:pt>
                <c:pt idx="392">
                  <c:v>45723</c:v>
                </c:pt>
                <c:pt idx="393">
                  <c:v>45726</c:v>
                </c:pt>
                <c:pt idx="394">
                  <c:v>45727</c:v>
                </c:pt>
                <c:pt idx="395">
                  <c:v>45728</c:v>
                </c:pt>
                <c:pt idx="396">
                  <c:v>45729</c:v>
                </c:pt>
                <c:pt idx="397">
                  <c:v>45730</c:v>
                </c:pt>
                <c:pt idx="398">
                  <c:v>45733</c:v>
                </c:pt>
                <c:pt idx="399">
                  <c:v>45734</c:v>
                </c:pt>
                <c:pt idx="400">
                  <c:v>45735</c:v>
                </c:pt>
                <c:pt idx="401">
                  <c:v>45736</c:v>
                </c:pt>
                <c:pt idx="402">
                  <c:v>45737</c:v>
                </c:pt>
                <c:pt idx="403">
                  <c:v>45740</c:v>
                </c:pt>
                <c:pt idx="404">
                  <c:v>45741</c:v>
                </c:pt>
                <c:pt idx="405">
                  <c:v>45742</c:v>
                </c:pt>
                <c:pt idx="406">
                  <c:v>45743</c:v>
                </c:pt>
                <c:pt idx="407">
                  <c:v>45744</c:v>
                </c:pt>
                <c:pt idx="408">
                  <c:v>45747</c:v>
                </c:pt>
                <c:pt idx="409">
                  <c:v>45748</c:v>
                </c:pt>
                <c:pt idx="410">
                  <c:v>45749</c:v>
                </c:pt>
                <c:pt idx="411">
                  <c:v>45750</c:v>
                </c:pt>
                <c:pt idx="412">
                  <c:v>45754</c:v>
                </c:pt>
                <c:pt idx="413">
                  <c:v>45755</c:v>
                </c:pt>
                <c:pt idx="414">
                  <c:v>45756</c:v>
                </c:pt>
                <c:pt idx="415">
                  <c:v>45757</c:v>
                </c:pt>
                <c:pt idx="416">
                  <c:v>45758</c:v>
                </c:pt>
                <c:pt idx="417">
                  <c:v>45761</c:v>
                </c:pt>
                <c:pt idx="418">
                  <c:v>45762</c:v>
                </c:pt>
                <c:pt idx="419">
                  <c:v>45763</c:v>
                </c:pt>
                <c:pt idx="420">
                  <c:v>45764</c:v>
                </c:pt>
                <c:pt idx="421">
                  <c:v>45765</c:v>
                </c:pt>
                <c:pt idx="422">
                  <c:v>45768</c:v>
                </c:pt>
                <c:pt idx="423">
                  <c:v>45769</c:v>
                </c:pt>
                <c:pt idx="424">
                  <c:v>45770</c:v>
                </c:pt>
                <c:pt idx="425">
                  <c:v>45771</c:v>
                </c:pt>
                <c:pt idx="426">
                  <c:v>45772</c:v>
                </c:pt>
                <c:pt idx="427">
                  <c:v>45775</c:v>
                </c:pt>
                <c:pt idx="428">
                  <c:v>45776</c:v>
                </c:pt>
                <c:pt idx="429">
                  <c:v>45777</c:v>
                </c:pt>
                <c:pt idx="430">
                  <c:v>45783</c:v>
                </c:pt>
                <c:pt idx="431">
                  <c:v>45784</c:v>
                </c:pt>
                <c:pt idx="432">
                  <c:v>45785</c:v>
                </c:pt>
                <c:pt idx="433">
                  <c:v>45786</c:v>
                </c:pt>
                <c:pt idx="434">
                  <c:v>45789</c:v>
                </c:pt>
                <c:pt idx="435">
                  <c:v>45790</c:v>
                </c:pt>
                <c:pt idx="436">
                  <c:v>45791</c:v>
                </c:pt>
                <c:pt idx="437">
                  <c:v>45792</c:v>
                </c:pt>
                <c:pt idx="438">
                  <c:v>45793</c:v>
                </c:pt>
                <c:pt idx="439">
                  <c:v>45796</c:v>
                </c:pt>
                <c:pt idx="440">
                  <c:v>45797</c:v>
                </c:pt>
                <c:pt idx="441">
                  <c:v>45798</c:v>
                </c:pt>
                <c:pt idx="442">
                  <c:v>45799</c:v>
                </c:pt>
                <c:pt idx="443">
                  <c:v>45800</c:v>
                </c:pt>
                <c:pt idx="444">
                  <c:v>45803</c:v>
                </c:pt>
                <c:pt idx="445">
                  <c:v>45804</c:v>
                </c:pt>
                <c:pt idx="446">
                  <c:v>45805</c:v>
                </c:pt>
                <c:pt idx="447">
                  <c:v>45806</c:v>
                </c:pt>
                <c:pt idx="448">
                  <c:v>45807</c:v>
                </c:pt>
                <c:pt idx="449">
                  <c:v>45811</c:v>
                </c:pt>
                <c:pt idx="450">
                  <c:v>45812</c:v>
                </c:pt>
                <c:pt idx="451">
                  <c:v>45813</c:v>
                </c:pt>
                <c:pt idx="452">
                  <c:v>45814</c:v>
                </c:pt>
                <c:pt idx="453">
                  <c:v>45817</c:v>
                </c:pt>
                <c:pt idx="454">
                  <c:v>45818</c:v>
                </c:pt>
                <c:pt idx="455">
                  <c:v>45819</c:v>
                </c:pt>
                <c:pt idx="456">
                  <c:v>45820</c:v>
                </c:pt>
                <c:pt idx="457">
                  <c:v>45821</c:v>
                </c:pt>
                <c:pt idx="458">
                  <c:v>45824</c:v>
                </c:pt>
                <c:pt idx="459">
                  <c:v>45825</c:v>
                </c:pt>
                <c:pt idx="460">
                  <c:v>45826</c:v>
                </c:pt>
                <c:pt idx="461">
                  <c:v>45827</c:v>
                </c:pt>
                <c:pt idx="462">
                  <c:v>45828</c:v>
                </c:pt>
                <c:pt idx="463">
                  <c:v>45831</c:v>
                </c:pt>
                <c:pt idx="464">
                  <c:v>45832</c:v>
                </c:pt>
                <c:pt idx="465">
                  <c:v>45833</c:v>
                </c:pt>
                <c:pt idx="466">
                  <c:v>45834</c:v>
                </c:pt>
                <c:pt idx="467">
                  <c:v>45835</c:v>
                </c:pt>
                <c:pt idx="468">
                  <c:v>45838</c:v>
                </c:pt>
                <c:pt idx="469">
                  <c:v>45839</c:v>
                </c:pt>
                <c:pt idx="470">
                  <c:v>45840</c:v>
                </c:pt>
                <c:pt idx="471">
                  <c:v>45841</c:v>
                </c:pt>
                <c:pt idx="472">
                  <c:v>45842</c:v>
                </c:pt>
                <c:pt idx="473">
                  <c:v>45845</c:v>
                </c:pt>
                <c:pt idx="474">
                  <c:v>45846</c:v>
                </c:pt>
                <c:pt idx="475">
                  <c:v>45847</c:v>
                </c:pt>
                <c:pt idx="476">
                  <c:v>45848</c:v>
                </c:pt>
                <c:pt idx="477">
                  <c:v>45849</c:v>
                </c:pt>
                <c:pt idx="478">
                  <c:v>45852</c:v>
                </c:pt>
                <c:pt idx="479">
                  <c:v>45853</c:v>
                </c:pt>
                <c:pt idx="480">
                  <c:v>45854</c:v>
                </c:pt>
                <c:pt idx="481">
                  <c:v>45855</c:v>
                </c:pt>
                <c:pt idx="482">
                  <c:v>45856</c:v>
                </c:pt>
                <c:pt idx="483">
                  <c:v>45859</c:v>
                </c:pt>
                <c:pt idx="484">
                  <c:v>45860</c:v>
                </c:pt>
                <c:pt idx="485">
                  <c:v>45861</c:v>
                </c:pt>
                <c:pt idx="486">
                  <c:v>45862</c:v>
                </c:pt>
                <c:pt idx="487">
                  <c:v>45863</c:v>
                </c:pt>
                <c:pt idx="488">
                  <c:v>45866</c:v>
                </c:pt>
                <c:pt idx="489">
                  <c:v>45867</c:v>
                </c:pt>
                <c:pt idx="490">
                  <c:v>45868</c:v>
                </c:pt>
                <c:pt idx="491">
                  <c:v>45869</c:v>
                </c:pt>
                <c:pt idx="492">
                  <c:v>45870</c:v>
                </c:pt>
                <c:pt idx="493">
                  <c:v>45873</c:v>
                </c:pt>
                <c:pt idx="494">
                  <c:v>45874</c:v>
                </c:pt>
                <c:pt idx="495">
                  <c:v>45875</c:v>
                </c:pt>
                <c:pt idx="496">
                  <c:v>45876</c:v>
                </c:pt>
                <c:pt idx="497">
                  <c:v>45877</c:v>
                </c:pt>
                <c:pt idx="498">
                  <c:v>45880</c:v>
                </c:pt>
                <c:pt idx="499">
                  <c:v>45881</c:v>
                </c:pt>
                <c:pt idx="500">
                  <c:v>45882</c:v>
                </c:pt>
                <c:pt idx="501">
                  <c:v>45883</c:v>
                </c:pt>
                <c:pt idx="502">
                  <c:v>45884</c:v>
                </c:pt>
                <c:pt idx="503">
                  <c:v>45887</c:v>
                </c:pt>
                <c:pt idx="504">
                  <c:v>45888</c:v>
                </c:pt>
                <c:pt idx="505">
                  <c:v>45889</c:v>
                </c:pt>
                <c:pt idx="506">
                  <c:v>45890</c:v>
                </c:pt>
                <c:pt idx="507">
                  <c:v>45891</c:v>
                </c:pt>
                <c:pt idx="508">
                  <c:v>45894</c:v>
                </c:pt>
                <c:pt idx="509">
                  <c:v>45895</c:v>
                </c:pt>
                <c:pt idx="510">
                  <c:v>45896</c:v>
                </c:pt>
                <c:pt idx="511">
                  <c:v>45897</c:v>
                </c:pt>
                <c:pt idx="512">
                  <c:v>45898</c:v>
                </c:pt>
                <c:pt idx="513">
                  <c:v>45901</c:v>
                </c:pt>
                <c:pt idx="514">
                  <c:v>45902</c:v>
                </c:pt>
                <c:pt idx="515">
                  <c:v>45903</c:v>
                </c:pt>
                <c:pt idx="516">
                  <c:v>45904</c:v>
                </c:pt>
                <c:pt idx="517">
                  <c:v>45905</c:v>
                </c:pt>
                <c:pt idx="518">
                  <c:v>45908</c:v>
                </c:pt>
                <c:pt idx="519">
                  <c:v>45909</c:v>
                </c:pt>
                <c:pt idx="520">
                  <c:v>45910</c:v>
                </c:pt>
                <c:pt idx="521">
                  <c:v>45911</c:v>
                </c:pt>
                <c:pt idx="522">
                  <c:v>45912</c:v>
                </c:pt>
                <c:pt idx="523">
                  <c:v>45915</c:v>
                </c:pt>
                <c:pt idx="524">
                  <c:v>45916</c:v>
                </c:pt>
                <c:pt idx="525">
                  <c:v>45917</c:v>
                </c:pt>
                <c:pt idx="526">
                  <c:v>45918</c:v>
                </c:pt>
                <c:pt idx="527">
                  <c:v>45919</c:v>
                </c:pt>
                <c:pt idx="528">
                  <c:v>45922</c:v>
                </c:pt>
                <c:pt idx="529">
                  <c:v>45923</c:v>
                </c:pt>
                <c:pt idx="530">
                  <c:v>45924</c:v>
                </c:pt>
                <c:pt idx="531">
                  <c:v>45925</c:v>
                </c:pt>
                <c:pt idx="532">
                  <c:v>45926</c:v>
                </c:pt>
                <c:pt idx="533">
                  <c:v>45929</c:v>
                </c:pt>
                <c:pt idx="534">
                  <c:v>45930</c:v>
                </c:pt>
                <c:pt idx="535">
                  <c:v>45931</c:v>
                </c:pt>
                <c:pt idx="536">
                  <c:v>45932</c:v>
                </c:pt>
                <c:pt idx="537">
                  <c:v>45933</c:v>
                </c:pt>
                <c:pt idx="538">
                  <c:v>45936</c:v>
                </c:pt>
                <c:pt idx="539">
                  <c:v>45937</c:v>
                </c:pt>
                <c:pt idx="540">
                  <c:v>45938</c:v>
                </c:pt>
                <c:pt idx="541">
                  <c:v>45939</c:v>
                </c:pt>
                <c:pt idx="542">
                  <c:v>45940</c:v>
                </c:pt>
                <c:pt idx="543">
                  <c:v>45943</c:v>
                </c:pt>
                <c:pt idx="544">
                  <c:v>45944</c:v>
                </c:pt>
                <c:pt idx="545">
                  <c:v>45945</c:v>
                </c:pt>
                <c:pt idx="546">
                  <c:v>45946</c:v>
                </c:pt>
                <c:pt idx="547">
                  <c:v>45947</c:v>
                </c:pt>
                <c:pt idx="548">
                  <c:v>45950</c:v>
                </c:pt>
                <c:pt idx="549">
                  <c:v>45951</c:v>
                </c:pt>
                <c:pt idx="550">
                  <c:v>45952</c:v>
                </c:pt>
                <c:pt idx="551">
                  <c:v>45953</c:v>
                </c:pt>
                <c:pt idx="552">
                  <c:v>45954</c:v>
                </c:pt>
                <c:pt idx="553">
                  <c:v>45957</c:v>
                </c:pt>
                <c:pt idx="554">
                  <c:v>45958</c:v>
                </c:pt>
                <c:pt idx="555">
                  <c:v>45959</c:v>
                </c:pt>
                <c:pt idx="556">
                  <c:v>45960</c:v>
                </c:pt>
                <c:pt idx="557">
                  <c:v>45961</c:v>
                </c:pt>
                <c:pt idx="558">
                  <c:v>45964</c:v>
                </c:pt>
                <c:pt idx="559">
                  <c:v>45965</c:v>
                </c:pt>
                <c:pt idx="560">
                  <c:v>45966</c:v>
                </c:pt>
                <c:pt idx="561">
                  <c:v>45967</c:v>
                </c:pt>
                <c:pt idx="562">
                  <c:v>45968</c:v>
                </c:pt>
                <c:pt idx="563">
                  <c:v>45971</c:v>
                </c:pt>
                <c:pt idx="564">
                  <c:v>45972</c:v>
                </c:pt>
                <c:pt idx="565">
                  <c:v>45973</c:v>
                </c:pt>
                <c:pt idx="566">
                  <c:v>45974</c:v>
                </c:pt>
                <c:pt idx="567">
                  <c:v>45975</c:v>
                </c:pt>
                <c:pt idx="568">
                  <c:v>45978</c:v>
                </c:pt>
                <c:pt idx="569">
                  <c:v>45979</c:v>
                </c:pt>
                <c:pt idx="570">
                  <c:v>45980</c:v>
                </c:pt>
                <c:pt idx="571">
                  <c:v>45981</c:v>
                </c:pt>
                <c:pt idx="572">
                  <c:v>45982</c:v>
                </c:pt>
                <c:pt idx="573">
                  <c:v>45985</c:v>
                </c:pt>
                <c:pt idx="574">
                  <c:v>45986</c:v>
                </c:pt>
                <c:pt idx="575">
                  <c:v>45987</c:v>
                </c:pt>
                <c:pt idx="576">
                  <c:v>45988</c:v>
                </c:pt>
                <c:pt idx="577">
                  <c:v>45989</c:v>
                </c:pt>
                <c:pt idx="578">
                  <c:v>45992</c:v>
                </c:pt>
                <c:pt idx="579">
                  <c:v>45993</c:v>
                </c:pt>
                <c:pt idx="580">
                  <c:v>45994</c:v>
                </c:pt>
                <c:pt idx="581">
                  <c:v>45995</c:v>
                </c:pt>
                <c:pt idx="582">
                  <c:v>45996</c:v>
                </c:pt>
                <c:pt idx="583">
                  <c:v>45999</c:v>
                </c:pt>
                <c:pt idx="584">
                  <c:v>46000</c:v>
                </c:pt>
                <c:pt idx="585">
                  <c:v>46001</c:v>
                </c:pt>
                <c:pt idx="586">
                  <c:v>46002</c:v>
                </c:pt>
                <c:pt idx="587">
                  <c:v>46003</c:v>
                </c:pt>
                <c:pt idx="588">
                  <c:v>46006</c:v>
                </c:pt>
                <c:pt idx="589">
                  <c:v>46007</c:v>
                </c:pt>
                <c:pt idx="590">
                  <c:v>46008</c:v>
                </c:pt>
                <c:pt idx="591">
                  <c:v>46009</c:v>
                </c:pt>
                <c:pt idx="592">
                  <c:v>46010</c:v>
                </c:pt>
                <c:pt idx="593">
                  <c:v>46013</c:v>
                </c:pt>
                <c:pt idx="594">
                  <c:v>46014</c:v>
                </c:pt>
                <c:pt idx="595">
                  <c:v>46015</c:v>
                </c:pt>
                <c:pt idx="596">
                  <c:v>46016</c:v>
                </c:pt>
                <c:pt idx="597">
                  <c:v>46017</c:v>
                </c:pt>
                <c:pt idx="598">
                  <c:v>46020</c:v>
                </c:pt>
                <c:pt idx="599">
                  <c:v>46021</c:v>
                </c:pt>
                <c:pt idx="600">
                  <c:v>46022</c:v>
                </c:pt>
                <c:pt idx="601">
                  <c:v>46023</c:v>
                </c:pt>
                <c:pt idx="602">
                  <c:v>46024</c:v>
                </c:pt>
                <c:pt idx="603">
                  <c:v>46027</c:v>
                </c:pt>
                <c:pt idx="604">
                  <c:v>46028</c:v>
                </c:pt>
                <c:pt idx="605">
                  <c:v>46029</c:v>
                </c:pt>
                <c:pt idx="606">
                  <c:v>46030</c:v>
                </c:pt>
                <c:pt idx="607">
                  <c:v>46031</c:v>
                </c:pt>
                <c:pt idx="608">
                  <c:v>46034</c:v>
                </c:pt>
                <c:pt idx="609">
                  <c:v>46035</c:v>
                </c:pt>
                <c:pt idx="610">
                  <c:v>46036</c:v>
                </c:pt>
                <c:pt idx="611">
                  <c:v>46037</c:v>
                </c:pt>
                <c:pt idx="612">
                  <c:v>46038</c:v>
                </c:pt>
                <c:pt idx="613">
                  <c:v>46041</c:v>
                </c:pt>
                <c:pt idx="614">
                  <c:v>46042</c:v>
                </c:pt>
                <c:pt idx="615">
                  <c:v>46043</c:v>
                </c:pt>
                <c:pt idx="616">
                  <c:v>46044</c:v>
                </c:pt>
                <c:pt idx="617">
                  <c:v>46045</c:v>
                </c:pt>
                <c:pt idx="618">
                  <c:v>46048</c:v>
                </c:pt>
                <c:pt idx="619">
                  <c:v>46049</c:v>
                </c:pt>
                <c:pt idx="620">
                  <c:v>46050</c:v>
                </c:pt>
                <c:pt idx="621">
                  <c:v>46051</c:v>
                </c:pt>
                <c:pt idx="622">
                  <c:v>46052</c:v>
                </c:pt>
                <c:pt idx="623">
                  <c:v>46055</c:v>
                </c:pt>
                <c:pt idx="624">
                  <c:v>46056</c:v>
                </c:pt>
                <c:pt idx="625">
                  <c:v>46057</c:v>
                </c:pt>
                <c:pt idx="626">
                  <c:v>46058</c:v>
                </c:pt>
                <c:pt idx="627">
                  <c:v>46059</c:v>
                </c:pt>
                <c:pt idx="628">
                  <c:v>46062</c:v>
                </c:pt>
                <c:pt idx="629">
                  <c:v>46063</c:v>
                </c:pt>
                <c:pt idx="630">
                  <c:v>46064</c:v>
                </c:pt>
                <c:pt idx="631">
                  <c:v>46065</c:v>
                </c:pt>
                <c:pt idx="632">
                  <c:v>46066</c:v>
                </c:pt>
                <c:pt idx="633">
                  <c:v>46069</c:v>
                </c:pt>
                <c:pt idx="634">
                  <c:v>46070</c:v>
                </c:pt>
                <c:pt idx="635">
                  <c:v>46071</c:v>
                </c:pt>
                <c:pt idx="636">
                  <c:v>46072</c:v>
                </c:pt>
                <c:pt idx="637">
                  <c:v>46073</c:v>
                </c:pt>
                <c:pt idx="638">
                  <c:v>46076</c:v>
                </c:pt>
                <c:pt idx="639">
                  <c:v>46077</c:v>
                </c:pt>
                <c:pt idx="640">
                  <c:v>46078</c:v>
                </c:pt>
                <c:pt idx="641">
                  <c:v>46079</c:v>
                </c:pt>
                <c:pt idx="642">
                  <c:v>46080</c:v>
                </c:pt>
                <c:pt idx="643">
                  <c:v>46083</c:v>
                </c:pt>
                <c:pt idx="644">
                  <c:v>46084</c:v>
                </c:pt>
                <c:pt idx="645">
                  <c:v>46085</c:v>
                </c:pt>
                <c:pt idx="646">
                  <c:v>46086</c:v>
                </c:pt>
                <c:pt idx="647">
                  <c:v>46087</c:v>
                </c:pt>
                <c:pt idx="648">
                  <c:v>46090</c:v>
                </c:pt>
                <c:pt idx="649">
                  <c:v>46091</c:v>
                </c:pt>
                <c:pt idx="650">
                  <c:v>46092</c:v>
                </c:pt>
                <c:pt idx="651">
                  <c:v>46093</c:v>
                </c:pt>
                <c:pt idx="652">
                  <c:v>46094</c:v>
                </c:pt>
                <c:pt idx="653">
                  <c:v>46097</c:v>
                </c:pt>
                <c:pt idx="654">
                  <c:v>46098</c:v>
                </c:pt>
                <c:pt idx="655">
                  <c:v>46099</c:v>
                </c:pt>
                <c:pt idx="656">
                  <c:v>46100</c:v>
                </c:pt>
                <c:pt idx="657">
                  <c:v>46101</c:v>
                </c:pt>
                <c:pt idx="658">
                  <c:v>46104</c:v>
                </c:pt>
                <c:pt idx="659">
                  <c:v>46105</c:v>
                </c:pt>
                <c:pt idx="660">
                  <c:v>46106</c:v>
                </c:pt>
                <c:pt idx="661">
                  <c:v>46107</c:v>
                </c:pt>
                <c:pt idx="662">
                  <c:v>46108</c:v>
                </c:pt>
                <c:pt idx="663">
                  <c:v>46111</c:v>
                </c:pt>
                <c:pt idx="664">
                  <c:v>46112</c:v>
                </c:pt>
                <c:pt idx="665">
                  <c:v>46113</c:v>
                </c:pt>
                <c:pt idx="666">
                  <c:v>46114</c:v>
                </c:pt>
                <c:pt idx="667">
                  <c:v>46115</c:v>
                </c:pt>
                <c:pt idx="668">
                  <c:v>46118</c:v>
                </c:pt>
                <c:pt idx="669">
                  <c:v>46119</c:v>
                </c:pt>
                <c:pt idx="670">
                  <c:v>46120</c:v>
                </c:pt>
                <c:pt idx="671">
                  <c:v>46121</c:v>
                </c:pt>
                <c:pt idx="672">
                  <c:v>46122</c:v>
                </c:pt>
                <c:pt idx="673">
                  <c:v>46125</c:v>
                </c:pt>
                <c:pt idx="674">
                  <c:v>46126</c:v>
                </c:pt>
                <c:pt idx="675">
                  <c:v>46127</c:v>
                </c:pt>
                <c:pt idx="676">
                  <c:v>46128</c:v>
                </c:pt>
                <c:pt idx="677">
                  <c:v>46129</c:v>
                </c:pt>
                <c:pt idx="678">
                  <c:v>46132</c:v>
                </c:pt>
                <c:pt idx="679">
                  <c:v>46133</c:v>
                </c:pt>
                <c:pt idx="680">
                  <c:v>46134</c:v>
                </c:pt>
                <c:pt idx="681">
                  <c:v>46135</c:v>
                </c:pt>
                <c:pt idx="682">
                  <c:v>46136</c:v>
                </c:pt>
                <c:pt idx="683">
                  <c:v>46139</c:v>
                </c:pt>
                <c:pt idx="684">
                  <c:v>46140</c:v>
                </c:pt>
                <c:pt idx="685">
                  <c:v>46141</c:v>
                </c:pt>
                <c:pt idx="686">
                  <c:v>46142</c:v>
                </c:pt>
                <c:pt idx="687">
                  <c:v>46143</c:v>
                </c:pt>
                <c:pt idx="688">
                  <c:v>46146</c:v>
                </c:pt>
                <c:pt idx="689">
                  <c:v>46147</c:v>
                </c:pt>
                <c:pt idx="690">
                  <c:v>46148</c:v>
                </c:pt>
                <c:pt idx="691">
                  <c:v>46149</c:v>
                </c:pt>
                <c:pt idx="692">
                  <c:v>46150</c:v>
                </c:pt>
                <c:pt idx="693">
                  <c:v>46153</c:v>
                </c:pt>
                <c:pt idx="694">
                  <c:v>46154</c:v>
                </c:pt>
                <c:pt idx="695">
                  <c:v>46155</c:v>
                </c:pt>
                <c:pt idx="696">
                  <c:v>46156</c:v>
                </c:pt>
                <c:pt idx="697">
                  <c:v>46157</c:v>
                </c:pt>
                <c:pt idx="698">
                  <c:v>46160</c:v>
                </c:pt>
                <c:pt idx="699">
                  <c:v>46161</c:v>
                </c:pt>
                <c:pt idx="700">
                  <c:v>46162</c:v>
                </c:pt>
                <c:pt idx="701">
                  <c:v>46163</c:v>
                </c:pt>
                <c:pt idx="702">
                  <c:v>46164</c:v>
                </c:pt>
                <c:pt idx="703">
                  <c:v>46167</c:v>
                </c:pt>
                <c:pt idx="704">
                  <c:v>46168</c:v>
                </c:pt>
                <c:pt idx="705">
                  <c:v>46169</c:v>
                </c:pt>
                <c:pt idx="706">
                  <c:v>46170</c:v>
                </c:pt>
                <c:pt idx="707">
                  <c:v>46171</c:v>
                </c:pt>
                <c:pt idx="708">
                  <c:v>46174</c:v>
                </c:pt>
                <c:pt idx="709">
                  <c:v>46175</c:v>
                </c:pt>
                <c:pt idx="710">
                  <c:v>46176</c:v>
                </c:pt>
                <c:pt idx="711">
                  <c:v>46177</c:v>
                </c:pt>
                <c:pt idx="712">
                  <c:v>46178</c:v>
                </c:pt>
                <c:pt idx="713">
                  <c:v>46181</c:v>
                </c:pt>
                <c:pt idx="714">
                  <c:v>46182</c:v>
                </c:pt>
                <c:pt idx="715">
                  <c:v>46183</c:v>
                </c:pt>
                <c:pt idx="716">
                  <c:v>46184</c:v>
                </c:pt>
                <c:pt idx="717">
                  <c:v>46185</c:v>
                </c:pt>
                <c:pt idx="718">
                  <c:v>46188</c:v>
                </c:pt>
                <c:pt idx="719">
                  <c:v>46189</c:v>
                </c:pt>
                <c:pt idx="720">
                  <c:v>46190</c:v>
                </c:pt>
                <c:pt idx="721">
                  <c:v>46191</c:v>
                </c:pt>
                <c:pt idx="722">
                  <c:v>46192</c:v>
                </c:pt>
                <c:pt idx="723">
                  <c:v>46195</c:v>
                </c:pt>
                <c:pt idx="724">
                  <c:v>46196</c:v>
                </c:pt>
                <c:pt idx="725">
                  <c:v>46197</c:v>
                </c:pt>
                <c:pt idx="726">
                  <c:v>46198</c:v>
                </c:pt>
                <c:pt idx="727">
                  <c:v>46199</c:v>
                </c:pt>
                <c:pt idx="728">
                  <c:v>46202</c:v>
                </c:pt>
                <c:pt idx="729">
                  <c:v>46203</c:v>
                </c:pt>
                <c:pt idx="730">
                  <c:v>46204</c:v>
                </c:pt>
                <c:pt idx="731">
                  <c:v>46205</c:v>
                </c:pt>
                <c:pt idx="732">
                  <c:v>46206</c:v>
                </c:pt>
                <c:pt idx="733">
                  <c:v>46209</c:v>
                </c:pt>
                <c:pt idx="734">
                  <c:v>46210</c:v>
                </c:pt>
                <c:pt idx="735">
                  <c:v>46211</c:v>
                </c:pt>
                <c:pt idx="736">
                  <c:v>46212</c:v>
                </c:pt>
                <c:pt idx="737">
                  <c:v>46213</c:v>
                </c:pt>
                <c:pt idx="738">
                  <c:v>46216</c:v>
                </c:pt>
                <c:pt idx="739">
                  <c:v>46217</c:v>
                </c:pt>
                <c:pt idx="740">
                  <c:v>46218</c:v>
                </c:pt>
                <c:pt idx="741">
                  <c:v>46219</c:v>
                </c:pt>
                <c:pt idx="742">
                  <c:v>46220</c:v>
                </c:pt>
                <c:pt idx="743">
                  <c:v>46223</c:v>
                </c:pt>
                <c:pt idx="744">
                  <c:v>46224</c:v>
                </c:pt>
                <c:pt idx="745">
                  <c:v>46225</c:v>
                </c:pt>
                <c:pt idx="746">
                  <c:v>46226</c:v>
                </c:pt>
                <c:pt idx="747">
                  <c:v>46227</c:v>
                </c:pt>
                <c:pt idx="748">
                  <c:v>46230</c:v>
                </c:pt>
                <c:pt idx="749">
                  <c:v>46231</c:v>
                </c:pt>
                <c:pt idx="750">
                  <c:v>46232</c:v>
                </c:pt>
                <c:pt idx="751">
                  <c:v>46233</c:v>
                </c:pt>
                <c:pt idx="752">
                  <c:v>46234</c:v>
                </c:pt>
                <c:pt idx="753">
                  <c:v>46237</c:v>
                </c:pt>
                <c:pt idx="754">
                  <c:v>46238</c:v>
                </c:pt>
                <c:pt idx="755">
                  <c:v>46239</c:v>
                </c:pt>
                <c:pt idx="756">
                  <c:v>46240</c:v>
                </c:pt>
                <c:pt idx="757">
                  <c:v>46241</c:v>
                </c:pt>
                <c:pt idx="758">
                  <c:v>46244</c:v>
                </c:pt>
                <c:pt idx="759">
                  <c:v>46245</c:v>
                </c:pt>
                <c:pt idx="760">
                  <c:v>46246</c:v>
                </c:pt>
                <c:pt idx="761">
                  <c:v>46247</c:v>
                </c:pt>
                <c:pt idx="762">
                  <c:v>46248</c:v>
                </c:pt>
                <c:pt idx="763">
                  <c:v>46251</c:v>
                </c:pt>
                <c:pt idx="764">
                  <c:v>46252</c:v>
                </c:pt>
                <c:pt idx="765">
                  <c:v>46253</c:v>
                </c:pt>
                <c:pt idx="766">
                  <c:v>46254</c:v>
                </c:pt>
                <c:pt idx="767">
                  <c:v>46255</c:v>
                </c:pt>
                <c:pt idx="768">
                  <c:v>46258</c:v>
                </c:pt>
                <c:pt idx="769">
                  <c:v>46259</c:v>
                </c:pt>
                <c:pt idx="770">
                  <c:v>46260</c:v>
                </c:pt>
                <c:pt idx="771">
                  <c:v>46261</c:v>
                </c:pt>
                <c:pt idx="772">
                  <c:v>46262</c:v>
                </c:pt>
                <c:pt idx="773">
                  <c:v>46265</c:v>
                </c:pt>
                <c:pt idx="774">
                  <c:v>46266</c:v>
                </c:pt>
                <c:pt idx="775">
                  <c:v>46267</c:v>
                </c:pt>
                <c:pt idx="776">
                  <c:v>46268</c:v>
                </c:pt>
                <c:pt idx="777">
                  <c:v>46269</c:v>
                </c:pt>
                <c:pt idx="778">
                  <c:v>46272</c:v>
                </c:pt>
                <c:pt idx="779">
                  <c:v>46273</c:v>
                </c:pt>
                <c:pt idx="780">
                  <c:v>46274</c:v>
                </c:pt>
                <c:pt idx="781">
                  <c:v>46275</c:v>
                </c:pt>
                <c:pt idx="782">
                  <c:v>46276</c:v>
                </c:pt>
                <c:pt idx="783">
                  <c:v>46279</c:v>
                </c:pt>
                <c:pt idx="784">
                  <c:v>46280</c:v>
                </c:pt>
                <c:pt idx="785">
                  <c:v>46281</c:v>
                </c:pt>
                <c:pt idx="786">
                  <c:v>46282</c:v>
                </c:pt>
                <c:pt idx="787">
                  <c:v>46283</c:v>
                </c:pt>
                <c:pt idx="788">
                  <c:v>46286</c:v>
                </c:pt>
                <c:pt idx="789">
                  <c:v>46287</c:v>
                </c:pt>
                <c:pt idx="790">
                  <c:v>46288</c:v>
                </c:pt>
                <c:pt idx="791">
                  <c:v>46289</c:v>
                </c:pt>
                <c:pt idx="792">
                  <c:v>46290</c:v>
                </c:pt>
                <c:pt idx="793">
                  <c:v>46293</c:v>
                </c:pt>
                <c:pt idx="794">
                  <c:v>46294</c:v>
                </c:pt>
                <c:pt idx="795">
                  <c:v>46295</c:v>
                </c:pt>
                <c:pt idx="796">
                  <c:v>46296</c:v>
                </c:pt>
                <c:pt idx="797">
                  <c:v>46297</c:v>
                </c:pt>
                <c:pt idx="798">
                  <c:v>46300</c:v>
                </c:pt>
                <c:pt idx="799">
                  <c:v>46301</c:v>
                </c:pt>
                <c:pt idx="800">
                  <c:v>46302</c:v>
                </c:pt>
                <c:pt idx="801">
                  <c:v>46303</c:v>
                </c:pt>
                <c:pt idx="802">
                  <c:v>46304</c:v>
                </c:pt>
                <c:pt idx="803">
                  <c:v>46307</c:v>
                </c:pt>
                <c:pt idx="804">
                  <c:v>46308</c:v>
                </c:pt>
                <c:pt idx="805">
                  <c:v>46309</c:v>
                </c:pt>
                <c:pt idx="806">
                  <c:v>46310</c:v>
                </c:pt>
                <c:pt idx="807">
                  <c:v>46311</c:v>
                </c:pt>
                <c:pt idx="808">
                  <c:v>46314</c:v>
                </c:pt>
                <c:pt idx="809">
                  <c:v>46315</c:v>
                </c:pt>
                <c:pt idx="810">
                  <c:v>46316</c:v>
                </c:pt>
                <c:pt idx="811">
                  <c:v>46317</c:v>
                </c:pt>
                <c:pt idx="812">
                  <c:v>46318</c:v>
                </c:pt>
                <c:pt idx="813">
                  <c:v>46321</c:v>
                </c:pt>
                <c:pt idx="814">
                  <c:v>46322</c:v>
                </c:pt>
                <c:pt idx="815">
                  <c:v>46323</c:v>
                </c:pt>
                <c:pt idx="816">
                  <c:v>46324</c:v>
                </c:pt>
                <c:pt idx="817">
                  <c:v>46325</c:v>
                </c:pt>
                <c:pt idx="818">
                  <c:v>46328</c:v>
                </c:pt>
                <c:pt idx="819">
                  <c:v>46329</c:v>
                </c:pt>
                <c:pt idx="820">
                  <c:v>46330</c:v>
                </c:pt>
                <c:pt idx="821">
                  <c:v>46331</c:v>
                </c:pt>
                <c:pt idx="822">
                  <c:v>46332</c:v>
                </c:pt>
                <c:pt idx="823">
                  <c:v>46335</c:v>
                </c:pt>
                <c:pt idx="824">
                  <c:v>46336</c:v>
                </c:pt>
                <c:pt idx="825">
                  <c:v>46337</c:v>
                </c:pt>
                <c:pt idx="826">
                  <c:v>46338</c:v>
                </c:pt>
                <c:pt idx="827">
                  <c:v>46339</c:v>
                </c:pt>
                <c:pt idx="828">
                  <c:v>46342</c:v>
                </c:pt>
                <c:pt idx="829">
                  <c:v>46343</c:v>
                </c:pt>
                <c:pt idx="830">
                  <c:v>46344</c:v>
                </c:pt>
                <c:pt idx="831">
                  <c:v>46345</c:v>
                </c:pt>
                <c:pt idx="832">
                  <c:v>46346</c:v>
                </c:pt>
                <c:pt idx="833">
                  <c:v>46349</c:v>
                </c:pt>
                <c:pt idx="834">
                  <c:v>46350</c:v>
                </c:pt>
                <c:pt idx="835">
                  <c:v>46351</c:v>
                </c:pt>
                <c:pt idx="836">
                  <c:v>46352</c:v>
                </c:pt>
                <c:pt idx="837">
                  <c:v>46353</c:v>
                </c:pt>
                <c:pt idx="838">
                  <c:v>46356</c:v>
                </c:pt>
                <c:pt idx="839">
                  <c:v>46357</c:v>
                </c:pt>
                <c:pt idx="840">
                  <c:v>46358</c:v>
                </c:pt>
                <c:pt idx="841">
                  <c:v>46359</c:v>
                </c:pt>
                <c:pt idx="842">
                  <c:v>46360</c:v>
                </c:pt>
                <c:pt idx="843">
                  <c:v>46363</c:v>
                </c:pt>
                <c:pt idx="844">
                  <c:v>46364</c:v>
                </c:pt>
                <c:pt idx="845">
                  <c:v>46365</c:v>
                </c:pt>
                <c:pt idx="846">
                  <c:v>46366</c:v>
                </c:pt>
                <c:pt idx="847">
                  <c:v>46367</c:v>
                </c:pt>
                <c:pt idx="848">
                  <c:v>46370</c:v>
                </c:pt>
                <c:pt idx="849">
                  <c:v>46371</c:v>
                </c:pt>
                <c:pt idx="850">
                  <c:v>46372</c:v>
                </c:pt>
                <c:pt idx="851">
                  <c:v>46373</c:v>
                </c:pt>
                <c:pt idx="852">
                  <c:v>46374</c:v>
                </c:pt>
                <c:pt idx="853">
                  <c:v>46377</c:v>
                </c:pt>
                <c:pt idx="854">
                  <c:v>46378</c:v>
                </c:pt>
                <c:pt idx="855">
                  <c:v>46379</c:v>
                </c:pt>
                <c:pt idx="856">
                  <c:v>46380</c:v>
                </c:pt>
                <c:pt idx="857">
                  <c:v>46381</c:v>
                </c:pt>
                <c:pt idx="858">
                  <c:v>46384</c:v>
                </c:pt>
                <c:pt idx="859">
                  <c:v>46385</c:v>
                </c:pt>
                <c:pt idx="860">
                  <c:v>46386</c:v>
                </c:pt>
                <c:pt idx="861">
                  <c:v>46387</c:v>
                </c:pt>
                <c:pt idx="862">
                  <c:v>46388</c:v>
                </c:pt>
                <c:pt idx="863">
                  <c:v>46391</c:v>
                </c:pt>
                <c:pt idx="864">
                  <c:v>46392</c:v>
                </c:pt>
                <c:pt idx="865">
                  <c:v>46393</c:v>
                </c:pt>
                <c:pt idx="866">
                  <c:v>46394</c:v>
                </c:pt>
                <c:pt idx="867">
                  <c:v>46395</c:v>
                </c:pt>
                <c:pt idx="868">
                  <c:v>46398</c:v>
                </c:pt>
                <c:pt idx="869">
                  <c:v>46399</c:v>
                </c:pt>
                <c:pt idx="870">
                  <c:v>46400</c:v>
                </c:pt>
                <c:pt idx="871">
                  <c:v>46401</c:v>
                </c:pt>
                <c:pt idx="872">
                  <c:v>46402</c:v>
                </c:pt>
                <c:pt idx="873">
                  <c:v>46405</c:v>
                </c:pt>
                <c:pt idx="874">
                  <c:v>46406</c:v>
                </c:pt>
                <c:pt idx="875">
                  <c:v>46407</c:v>
                </c:pt>
                <c:pt idx="876">
                  <c:v>46408</c:v>
                </c:pt>
                <c:pt idx="877">
                  <c:v>46409</c:v>
                </c:pt>
                <c:pt idx="878">
                  <c:v>46412</c:v>
                </c:pt>
                <c:pt idx="879">
                  <c:v>46413</c:v>
                </c:pt>
                <c:pt idx="880">
                  <c:v>46414</c:v>
                </c:pt>
                <c:pt idx="881">
                  <c:v>46415</c:v>
                </c:pt>
                <c:pt idx="882">
                  <c:v>46416</c:v>
                </c:pt>
                <c:pt idx="883">
                  <c:v>46419</c:v>
                </c:pt>
                <c:pt idx="884">
                  <c:v>46420</c:v>
                </c:pt>
                <c:pt idx="885">
                  <c:v>46421</c:v>
                </c:pt>
                <c:pt idx="886">
                  <c:v>46422</c:v>
                </c:pt>
                <c:pt idx="887">
                  <c:v>46423</c:v>
                </c:pt>
                <c:pt idx="888">
                  <c:v>46426</c:v>
                </c:pt>
                <c:pt idx="889">
                  <c:v>46427</c:v>
                </c:pt>
                <c:pt idx="890">
                  <c:v>46428</c:v>
                </c:pt>
                <c:pt idx="891">
                  <c:v>46429</c:v>
                </c:pt>
                <c:pt idx="892">
                  <c:v>46430</c:v>
                </c:pt>
                <c:pt idx="893">
                  <c:v>46433</c:v>
                </c:pt>
                <c:pt idx="894">
                  <c:v>46434</c:v>
                </c:pt>
                <c:pt idx="895">
                  <c:v>46435</c:v>
                </c:pt>
                <c:pt idx="896">
                  <c:v>46436</c:v>
                </c:pt>
                <c:pt idx="897">
                  <c:v>46437</c:v>
                </c:pt>
                <c:pt idx="898">
                  <c:v>46440</c:v>
                </c:pt>
                <c:pt idx="899">
                  <c:v>46441</c:v>
                </c:pt>
                <c:pt idx="900">
                  <c:v>46442</c:v>
                </c:pt>
                <c:pt idx="901">
                  <c:v>46443</c:v>
                </c:pt>
                <c:pt idx="902">
                  <c:v>46444</c:v>
                </c:pt>
                <c:pt idx="903">
                  <c:v>46447</c:v>
                </c:pt>
                <c:pt idx="904">
                  <c:v>46448</c:v>
                </c:pt>
                <c:pt idx="905">
                  <c:v>46449</c:v>
                </c:pt>
                <c:pt idx="906">
                  <c:v>46450</c:v>
                </c:pt>
                <c:pt idx="907">
                  <c:v>46451</c:v>
                </c:pt>
                <c:pt idx="908">
                  <c:v>46454</c:v>
                </c:pt>
                <c:pt idx="909">
                  <c:v>46455</c:v>
                </c:pt>
                <c:pt idx="910">
                  <c:v>46456</c:v>
                </c:pt>
                <c:pt idx="911">
                  <c:v>46457</c:v>
                </c:pt>
                <c:pt idx="912">
                  <c:v>46458</c:v>
                </c:pt>
                <c:pt idx="913">
                  <c:v>46461</c:v>
                </c:pt>
                <c:pt idx="914">
                  <c:v>46462</c:v>
                </c:pt>
                <c:pt idx="915">
                  <c:v>46463</c:v>
                </c:pt>
                <c:pt idx="916">
                  <c:v>46464</c:v>
                </c:pt>
                <c:pt idx="917">
                  <c:v>46465</c:v>
                </c:pt>
                <c:pt idx="918">
                  <c:v>46468</c:v>
                </c:pt>
                <c:pt idx="919">
                  <c:v>46469</c:v>
                </c:pt>
                <c:pt idx="920">
                  <c:v>46470</c:v>
                </c:pt>
                <c:pt idx="921">
                  <c:v>46471</c:v>
                </c:pt>
                <c:pt idx="922">
                  <c:v>46472</c:v>
                </c:pt>
                <c:pt idx="923">
                  <c:v>46475</c:v>
                </c:pt>
                <c:pt idx="924">
                  <c:v>46476</c:v>
                </c:pt>
                <c:pt idx="925">
                  <c:v>46477</c:v>
                </c:pt>
                <c:pt idx="926">
                  <c:v>46478</c:v>
                </c:pt>
                <c:pt idx="927">
                  <c:v>46479</c:v>
                </c:pt>
                <c:pt idx="928">
                  <c:v>46482</c:v>
                </c:pt>
                <c:pt idx="929">
                  <c:v>46483</c:v>
                </c:pt>
                <c:pt idx="930">
                  <c:v>46484</c:v>
                </c:pt>
                <c:pt idx="931">
                  <c:v>46485</c:v>
                </c:pt>
                <c:pt idx="932">
                  <c:v>46486</c:v>
                </c:pt>
                <c:pt idx="933">
                  <c:v>46489</c:v>
                </c:pt>
                <c:pt idx="934">
                  <c:v>46490</c:v>
                </c:pt>
                <c:pt idx="935">
                  <c:v>46491</c:v>
                </c:pt>
                <c:pt idx="936">
                  <c:v>46492</c:v>
                </c:pt>
                <c:pt idx="937">
                  <c:v>46493</c:v>
                </c:pt>
                <c:pt idx="938">
                  <c:v>46496</c:v>
                </c:pt>
                <c:pt idx="939">
                  <c:v>46497</c:v>
                </c:pt>
                <c:pt idx="940">
                  <c:v>46498</c:v>
                </c:pt>
                <c:pt idx="941">
                  <c:v>46499</c:v>
                </c:pt>
                <c:pt idx="942">
                  <c:v>46500</c:v>
                </c:pt>
                <c:pt idx="943">
                  <c:v>46503</c:v>
                </c:pt>
                <c:pt idx="944">
                  <c:v>46504</c:v>
                </c:pt>
                <c:pt idx="945">
                  <c:v>46505</c:v>
                </c:pt>
                <c:pt idx="946">
                  <c:v>46506</c:v>
                </c:pt>
                <c:pt idx="947">
                  <c:v>46507</c:v>
                </c:pt>
                <c:pt idx="948">
                  <c:v>46510</c:v>
                </c:pt>
                <c:pt idx="949">
                  <c:v>46511</c:v>
                </c:pt>
                <c:pt idx="950">
                  <c:v>46512</c:v>
                </c:pt>
                <c:pt idx="951">
                  <c:v>46513</c:v>
                </c:pt>
                <c:pt idx="952">
                  <c:v>46514</c:v>
                </c:pt>
                <c:pt idx="953">
                  <c:v>46517</c:v>
                </c:pt>
                <c:pt idx="954">
                  <c:v>46518</c:v>
                </c:pt>
                <c:pt idx="955">
                  <c:v>46519</c:v>
                </c:pt>
                <c:pt idx="956">
                  <c:v>46520</c:v>
                </c:pt>
                <c:pt idx="957">
                  <c:v>46521</c:v>
                </c:pt>
                <c:pt idx="958">
                  <c:v>46524</c:v>
                </c:pt>
                <c:pt idx="959">
                  <c:v>46525</c:v>
                </c:pt>
                <c:pt idx="960">
                  <c:v>46526</c:v>
                </c:pt>
                <c:pt idx="961">
                  <c:v>46527</c:v>
                </c:pt>
                <c:pt idx="962">
                  <c:v>46528</c:v>
                </c:pt>
                <c:pt idx="963">
                  <c:v>46531</c:v>
                </c:pt>
                <c:pt idx="964">
                  <c:v>46532</c:v>
                </c:pt>
                <c:pt idx="965">
                  <c:v>46533</c:v>
                </c:pt>
                <c:pt idx="966">
                  <c:v>46534</c:v>
                </c:pt>
                <c:pt idx="967">
                  <c:v>46535</c:v>
                </c:pt>
                <c:pt idx="968">
                  <c:v>46538</c:v>
                </c:pt>
                <c:pt idx="969">
                  <c:v>46539</c:v>
                </c:pt>
                <c:pt idx="970">
                  <c:v>46540</c:v>
                </c:pt>
                <c:pt idx="971">
                  <c:v>46541</c:v>
                </c:pt>
                <c:pt idx="972">
                  <c:v>46542</c:v>
                </c:pt>
                <c:pt idx="973">
                  <c:v>46545</c:v>
                </c:pt>
                <c:pt idx="974">
                  <c:v>46546</c:v>
                </c:pt>
                <c:pt idx="975">
                  <c:v>46547</c:v>
                </c:pt>
                <c:pt idx="976">
                  <c:v>46548</c:v>
                </c:pt>
                <c:pt idx="977">
                  <c:v>46549</c:v>
                </c:pt>
                <c:pt idx="978">
                  <c:v>46552</c:v>
                </c:pt>
                <c:pt idx="979">
                  <c:v>46553</c:v>
                </c:pt>
                <c:pt idx="980">
                  <c:v>46554</c:v>
                </c:pt>
                <c:pt idx="981">
                  <c:v>46555</c:v>
                </c:pt>
                <c:pt idx="982">
                  <c:v>46556</c:v>
                </c:pt>
                <c:pt idx="983">
                  <c:v>46559</c:v>
                </c:pt>
                <c:pt idx="984">
                  <c:v>46560</c:v>
                </c:pt>
                <c:pt idx="985">
                  <c:v>46561</c:v>
                </c:pt>
                <c:pt idx="986">
                  <c:v>46562</c:v>
                </c:pt>
                <c:pt idx="987">
                  <c:v>46563</c:v>
                </c:pt>
                <c:pt idx="988">
                  <c:v>46566</c:v>
                </c:pt>
                <c:pt idx="989">
                  <c:v>46567</c:v>
                </c:pt>
                <c:pt idx="990">
                  <c:v>46568</c:v>
                </c:pt>
                <c:pt idx="991">
                  <c:v>46569</c:v>
                </c:pt>
                <c:pt idx="992">
                  <c:v>46570</c:v>
                </c:pt>
                <c:pt idx="993">
                  <c:v>46573</c:v>
                </c:pt>
                <c:pt idx="994">
                  <c:v>46574</c:v>
                </c:pt>
                <c:pt idx="995">
                  <c:v>46575</c:v>
                </c:pt>
                <c:pt idx="996">
                  <c:v>46576</c:v>
                </c:pt>
                <c:pt idx="997">
                  <c:v>46577</c:v>
                </c:pt>
                <c:pt idx="998">
                  <c:v>46580</c:v>
                </c:pt>
              </c:numCache>
            </c:numRef>
          </c:cat>
          <c:val>
            <c:numRef>
              <c:f>Daily!$K$2:$K$1057</c:f>
            </c:numRef>
          </c:val>
          <c:smooth val="0"/>
          <c:extLst>
            <c:ext xmlns:c16="http://schemas.microsoft.com/office/drawing/2014/chart" uri="{C3380CC4-5D6E-409C-BE32-E72D297353CC}">
              <c16:uniqueId val="{00000010-094D-4E29-B010-D717A2A1A293}"/>
            </c:ext>
          </c:extLst>
        </c:ser>
        <c:ser>
          <c:idx val="10"/>
          <c:order val="10"/>
          <c:tx>
            <c:strRef>
              <c:f>Daily!$L$1</c:f>
              <c:strCache>
                <c:ptCount val="1"/>
                <c:pt idx="0">
                  <c:v>M+10</c:v>
                </c:pt>
              </c:strCache>
            </c:strRef>
          </c:tx>
          <c:spPr>
            <a:ln w="28575" cap="rnd" cmpd="sng" algn="ctr">
              <a:solidFill>
                <a:schemeClr val="accent5">
                  <a:lumMod val="60000"/>
                  <a:shade val="95000"/>
                  <a:satMod val="105000"/>
                </a:schemeClr>
              </a:solidFill>
              <a:prstDash val="solid"/>
              <a:round/>
            </a:ln>
            <a:effectLst/>
          </c:spPr>
          <c:marker>
            <c:symbol val="none"/>
          </c:marker>
          <c:cat>
            <c:numRef>
              <c:f>Daily!$A$2:$A$1000</c:f>
              <c:numCache>
                <c:formatCode>d\-mmm\-yy</c:formatCode>
                <c:ptCount val="999"/>
                <c:pt idx="0">
                  <c:v>45128</c:v>
                </c:pt>
                <c:pt idx="1">
                  <c:v>45131</c:v>
                </c:pt>
                <c:pt idx="2">
                  <c:v>45132</c:v>
                </c:pt>
                <c:pt idx="3">
                  <c:v>45133</c:v>
                </c:pt>
                <c:pt idx="4">
                  <c:v>45134</c:v>
                </c:pt>
                <c:pt idx="5">
                  <c:v>45135</c:v>
                </c:pt>
                <c:pt idx="6">
                  <c:v>45138</c:v>
                </c:pt>
                <c:pt idx="7">
                  <c:v>45139</c:v>
                </c:pt>
                <c:pt idx="8">
                  <c:v>45140</c:v>
                </c:pt>
                <c:pt idx="9">
                  <c:v>45141</c:v>
                </c:pt>
                <c:pt idx="10">
                  <c:v>45142</c:v>
                </c:pt>
                <c:pt idx="11">
                  <c:v>45145</c:v>
                </c:pt>
                <c:pt idx="12">
                  <c:v>45146</c:v>
                </c:pt>
                <c:pt idx="13">
                  <c:v>45147</c:v>
                </c:pt>
                <c:pt idx="14">
                  <c:v>45148</c:v>
                </c:pt>
                <c:pt idx="15">
                  <c:v>45149</c:v>
                </c:pt>
                <c:pt idx="16">
                  <c:v>45152</c:v>
                </c:pt>
                <c:pt idx="17">
                  <c:v>45153</c:v>
                </c:pt>
                <c:pt idx="18">
                  <c:v>45154</c:v>
                </c:pt>
                <c:pt idx="19">
                  <c:v>45155</c:v>
                </c:pt>
                <c:pt idx="20">
                  <c:v>45156</c:v>
                </c:pt>
                <c:pt idx="21">
                  <c:v>45159</c:v>
                </c:pt>
                <c:pt idx="22">
                  <c:v>45160</c:v>
                </c:pt>
                <c:pt idx="23">
                  <c:v>45161</c:v>
                </c:pt>
                <c:pt idx="24">
                  <c:v>45162</c:v>
                </c:pt>
                <c:pt idx="25">
                  <c:v>45163</c:v>
                </c:pt>
                <c:pt idx="26">
                  <c:v>45166</c:v>
                </c:pt>
                <c:pt idx="27">
                  <c:v>45167</c:v>
                </c:pt>
                <c:pt idx="28">
                  <c:v>45168</c:v>
                </c:pt>
                <c:pt idx="29">
                  <c:v>45169</c:v>
                </c:pt>
                <c:pt idx="30">
                  <c:v>45170</c:v>
                </c:pt>
                <c:pt idx="31">
                  <c:v>45173</c:v>
                </c:pt>
                <c:pt idx="32">
                  <c:v>45174</c:v>
                </c:pt>
                <c:pt idx="33">
                  <c:v>45175</c:v>
                </c:pt>
                <c:pt idx="34">
                  <c:v>45176</c:v>
                </c:pt>
                <c:pt idx="35">
                  <c:v>45177</c:v>
                </c:pt>
                <c:pt idx="36">
                  <c:v>45180</c:v>
                </c:pt>
                <c:pt idx="37">
                  <c:v>45181</c:v>
                </c:pt>
                <c:pt idx="38">
                  <c:v>45182</c:v>
                </c:pt>
                <c:pt idx="39">
                  <c:v>45183</c:v>
                </c:pt>
                <c:pt idx="40">
                  <c:v>45184</c:v>
                </c:pt>
                <c:pt idx="41">
                  <c:v>45187</c:v>
                </c:pt>
                <c:pt idx="42">
                  <c:v>45188</c:v>
                </c:pt>
                <c:pt idx="43">
                  <c:v>45189</c:v>
                </c:pt>
                <c:pt idx="44">
                  <c:v>45190</c:v>
                </c:pt>
                <c:pt idx="45">
                  <c:v>45191</c:v>
                </c:pt>
                <c:pt idx="46">
                  <c:v>45194</c:v>
                </c:pt>
                <c:pt idx="47">
                  <c:v>45195</c:v>
                </c:pt>
                <c:pt idx="48">
                  <c:v>45196</c:v>
                </c:pt>
                <c:pt idx="49">
                  <c:v>45197</c:v>
                </c:pt>
                <c:pt idx="50">
                  <c:v>45208</c:v>
                </c:pt>
                <c:pt idx="51">
                  <c:v>45209</c:v>
                </c:pt>
                <c:pt idx="52">
                  <c:v>45210</c:v>
                </c:pt>
                <c:pt idx="53">
                  <c:v>45211</c:v>
                </c:pt>
                <c:pt idx="54">
                  <c:v>45212</c:v>
                </c:pt>
                <c:pt idx="55">
                  <c:v>45215</c:v>
                </c:pt>
                <c:pt idx="56">
                  <c:v>45216</c:v>
                </c:pt>
                <c:pt idx="57">
                  <c:v>45217</c:v>
                </c:pt>
                <c:pt idx="58">
                  <c:v>45218</c:v>
                </c:pt>
                <c:pt idx="59">
                  <c:v>45219</c:v>
                </c:pt>
                <c:pt idx="60">
                  <c:v>45222</c:v>
                </c:pt>
                <c:pt idx="61">
                  <c:v>45223</c:v>
                </c:pt>
                <c:pt idx="62">
                  <c:v>45224</c:v>
                </c:pt>
                <c:pt idx="63">
                  <c:v>45225</c:v>
                </c:pt>
                <c:pt idx="64">
                  <c:v>45226</c:v>
                </c:pt>
                <c:pt idx="65">
                  <c:v>45229</c:v>
                </c:pt>
                <c:pt idx="66">
                  <c:v>45230</c:v>
                </c:pt>
                <c:pt idx="67">
                  <c:v>45231</c:v>
                </c:pt>
                <c:pt idx="68">
                  <c:v>45232</c:v>
                </c:pt>
                <c:pt idx="69">
                  <c:v>45233</c:v>
                </c:pt>
                <c:pt idx="70">
                  <c:v>45236</c:v>
                </c:pt>
                <c:pt idx="71">
                  <c:v>45237</c:v>
                </c:pt>
                <c:pt idx="72">
                  <c:v>45238</c:v>
                </c:pt>
                <c:pt idx="73">
                  <c:v>45239</c:v>
                </c:pt>
                <c:pt idx="74">
                  <c:v>45240</c:v>
                </c:pt>
                <c:pt idx="75">
                  <c:v>45243</c:v>
                </c:pt>
                <c:pt idx="76">
                  <c:v>45244</c:v>
                </c:pt>
                <c:pt idx="77">
                  <c:v>45245</c:v>
                </c:pt>
                <c:pt idx="78">
                  <c:v>45246</c:v>
                </c:pt>
                <c:pt idx="79">
                  <c:v>45247</c:v>
                </c:pt>
                <c:pt idx="80">
                  <c:v>45250</c:v>
                </c:pt>
                <c:pt idx="81">
                  <c:v>45251</c:v>
                </c:pt>
                <c:pt idx="82">
                  <c:v>45252</c:v>
                </c:pt>
                <c:pt idx="83">
                  <c:v>45253</c:v>
                </c:pt>
                <c:pt idx="84">
                  <c:v>45254</c:v>
                </c:pt>
                <c:pt idx="85">
                  <c:v>45257</c:v>
                </c:pt>
                <c:pt idx="86">
                  <c:v>45258</c:v>
                </c:pt>
                <c:pt idx="87">
                  <c:v>45259</c:v>
                </c:pt>
                <c:pt idx="88">
                  <c:v>45260</c:v>
                </c:pt>
                <c:pt idx="89">
                  <c:v>45261</c:v>
                </c:pt>
                <c:pt idx="90">
                  <c:v>45264</c:v>
                </c:pt>
                <c:pt idx="91">
                  <c:v>45265</c:v>
                </c:pt>
                <c:pt idx="92">
                  <c:v>45266</c:v>
                </c:pt>
                <c:pt idx="93">
                  <c:v>45267</c:v>
                </c:pt>
                <c:pt idx="94">
                  <c:v>45268</c:v>
                </c:pt>
                <c:pt idx="95">
                  <c:v>45271</c:v>
                </c:pt>
                <c:pt idx="96">
                  <c:v>45272</c:v>
                </c:pt>
                <c:pt idx="97">
                  <c:v>45273</c:v>
                </c:pt>
                <c:pt idx="98">
                  <c:v>45274</c:v>
                </c:pt>
                <c:pt idx="99">
                  <c:v>45275</c:v>
                </c:pt>
                <c:pt idx="100">
                  <c:v>45278</c:v>
                </c:pt>
                <c:pt idx="101">
                  <c:v>45279</c:v>
                </c:pt>
                <c:pt idx="102">
                  <c:v>45280</c:v>
                </c:pt>
                <c:pt idx="103">
                  <c:v>45281</c:v>
                </c:pt>
                <c:pt idx="104">
                  <c:v>45282</c:v>
                </c:pt>
                <c:pt idx="105">
                  <c:v>45285</c:v>
                </c:pt>
                <c:pt idx="106">
                  <c:v>45286</c:v>
                </c:pt>
                <c:pt idx="107">
                  <c:v>45287</c:v>
                </c:pt>
                <c:pt idx="108">
                  <c:v>45288</c:v>
                </c:pt>
                <c:pt idx="109">
                  <c:v>45289</c:v>
                </c:pt>
                <c:pt idx="110">
                  <c:v>45293</c:v>
                </c:pt>
                <c:pt idx="111">
                  <c:v>45294</c:v>
                </c:pt>
                <c:pt idx="112">
                  <c:v>45295</c:v>
                </c:pt>
                <c:pt idx="113">
                  <c:v>45296</c:v>
                </c:pt>
                <c:pt idx="114">
                  <c:v>45299</c:v>
                </c:pt>
                <c:pt idx="115">
                  <c:v>45300</c:v>
                </c:pt>
                <c:pt idx="116">
                  <c:v>45301</c:v>
                </c:pt>
                <c:pt idx="117">
                  <c:v>45302</c:v>
                </c:pt>
                <c:pt idx="118">
                  <c:v>45303</c:v>
                </c:pt>
                <c:pt idx="119">
                  <c:v>45306</c:v>
                </c:pt>
                <c:pt idx="120">
                  <c:v>45307</c:v>
                </c:pt>
                <c:pt idx="121">
                  <c:v>45308</c:v>
                </c:pt>
                <c:pt idx="122">
                  <c:v>45309</c:v>
                </c:pt>
                <c:pt idx="123">
                  <c:v>45310</c:v>
                </c:pt>
                <c:pt idx="124">
                  <c:v>45313</c:v>
                </c:pt>
                <c:pt idx="125">
                  <c:v>45314</c:v>
                </c:pt>
                <c:pt idx="126">
                  <c:v>45315</c:v>
                </c:pt>
                <c:pt idx="127">
                  <c:v>45316</c:v>
                </c:pt>
                <c:pt idx="128">
                  <c:v>45317</c:v>
                </c:pt>
                <c:pt idx="129">
                  <c:v>45320</c:v>
                </c:pt>
                <c:pt idx="130">
                  <c:v>45321</c:v>
                </c:pt>
                <c:pt idx="131">
                  <c:v>45322</c:v>
                </c:pt>
                <c:pt idx="132">
                  <c:v>45323</c:v>
                </c:pt>
                <c:pt idx="133">
                  <c:v>45324</c:v>
                </c:pt>
                <c:pt idx="134">
                  <c:v>45327</c:v>
                </c:pt>
                <c:pt idx="135">
                  <c:v>45328</c:v>
                </c:pt>
                <c:pt idx="136">
                  <c:v>45329</c:v>
                </c:pt>
                <c:pt idx="137">
                  <c:v>45330</c:v>
                </c:pt>
                <c:pt idx="138">
                  <c:v>45341</c:v>
                </c:pt>
                <c:pt idx="139">
                  <c:v>45342</c:v>
                </c:pt>
                <c:pt idx="140">
                  <c:v>45343</c:v>
                </c:pt>
                <c:pt idx="141">
                  <c:v>45344</c:v>
                </c:pt>
                <c:pt idx="142">
                  <c:v>45345</c:v>
                </c:pt>
                <c:pt idx="143">
                  <c:v>45348</c:v>
                </c:pt>
                <c:pt idx="144">
                  <c:v>45349</c:v>
                </c:pt>
                <c:pt idx="145">
                  <c:v>45350</c:v>
                </c:pt>
                <c:pt idx="146">
                  <c:v>45351</c:v>
                </c:pt>
                <c:pt idx="147">
                  <c:v>45352</c:v>
                </c:pt>
                <c:pt idx="148">
                  <c:v>45355</c:v>
                </c:pt>
                <c:pt idx="149">
                  <c:v>45356</c:v>
                </c:pt>
                <c:pt idx="150">
                  <c:v>45357</c:v>
                </c:pt>
                <c:pt idx="151">
                  <c:v>45358</c:v>
                </c:pt>
                <c:pt idx="152">
                  <c:v>45359</c:v>
                </c:pt>
                <c:pt idx="153">
                  <c:v>45362</c:v>
                </c:pt>
                <c:pt idx="154">
                  <c:v>45363</c:v>
                </c:pt>
                <c:pt idx="155">
                  <c:v>45364</c:v>
                </c:pt>
                <c:pt idx="156">
                  <c:v>45365</c:v>
                </c:pt>
                <c:pt idx="157">
                  <c:v>45366</c:v>
                </c:pt>
                <c:pt idx="158">
                  <c:v>45369</c:v>
                </c:pt>
                <c:pt idx="159">
                  <c:v>45370</c:v>
                </c:pt>
                <c:pt idx="160">
                  <c:v>45371</c:v>
                </c:pt>
                <c:pt idx="161">
                  <c:v>45372</c:v>
                </c:pt>
                <c:pt idx="162">
                  <c:v>45373</c:v>
                </c:pt>
                <c:pt idx="163">
                  <c:v>45376</c:v>
                </c:pt>
                <c:pt idx="164">
                  <c:v>45377</c:v>
                </c:pt>
                <c:pt idx="165">
                  <c:v>45378</c:v>
                </c:pt>
                <c:pt idx="166">
                  <c:v>45379</c:v>
                </c:pt>
                <c:pt idx="167">
                  <c:v>45380</c:v>
                </c:pt>
                <c:pt idx="168">
                  <c:v>45383</c:v>
                </c:pt>
                <c:pt idx="169">
                  <c:v>45384</c:v>
                </c:pt>
                <c:pt idx="170">
                  <c:v>45385</c:v>
                </c:pt>
                <c:pt idx="171">
                  <c:v>45390</c:v>
                </c:pt>
                <c:pt idx="172">
                  <c:v>45391</c:v>
                </c:pt>
                <c:pt idx="173">
                  <c:v>45392</c:v>
                </c:pt>
                <c:pt idx="174">
                  <c:v>45393</c:v>
                </c:pt>
                <c:pt idx="175">
                  <c:v>45394</c:v>
                </c:pt>
                <c:pt idx="176">
                  <c:v>45397</c:v>
                </c:pt>
                <c:pt idx="177">
                  <c:v>45398</c:v>
                </c:pt>
                <c:pt idx="178">
                  <c:v>45399</c:v>
                </c:pt>
                <c:pt idx="179">
                  <c:v>45400</c:v>
                </c:pt>
                <c:pt idx="180">
                  <c:v>45401</c:v>
                </c:pt>
                <c:pt idx="181">
                  <c:v>45404</c:v>
                </c:pt>
                <c:pt idx="182">
                  <c:v>45405</c:v>
                </c:pt>
                <c:pt idx="183">
                  <c:v>45406</c:v>
                </c:pt>
                <c:pt idx="184">
                  <c:v>45407</c:v>
                </c:pt>
                <c:pt idx="185">
                  <c:v>45408</c:v>
                </c:pt>
                <c:pt idx="186">
                  <c:v>45411</c:v>
                </c:pt>
                <c:pt idx="187">
                  <c:v>45412</c:v>
                </c:pt>
                <c:pt idx="188">
                  <c:v>45418</c:v>
                </c:pt>
                <c:pt idx="189">
                  <c:v>45419</c:v>
                </c:pt>
                <c:pt idx="190">
                  <c:v>45420</c:v>
                </c:pt>
                <c:pt idx="191">
                  <c:v>45421</c:v>
                </c:pt>
                <c:pt idx="192">
                  <c:v>45422</c:v>
                </c:pt>
                <c:pt idx="193">
                  <c:v>45425</c:v>
                </c:pt>
                <c:pt idx="194">
                  <c:v>45426</c:v>
                </c:pt>
                <c:pt idx="195">
                  <c:v>45427</c:v>
                </c:pt>
                <c:pt idx="196">
                  <c:v>45428</c:v>
                </c:pt>
                <c:pt idx="197">
                  <c:v>45429</c:v>
                </c:pt>
                <c:pt idx="198">
                  <c:v>45432</c:v>
                </c:pt>
                <c:pt idx="199">
                  <c:v>45433</c:v>
                </c:pt>
                <c:pt idx="200">
                  <c:v>45434</c:v>
                </c:pt>
                <c:pt idx="201">
                  <c:v>45435</c:v>
                </c:pt>
                <c:pt idx="202">
                  <c:v>45436</c:v>
                </c:pt>
                <c:pt idx="203">
                  <c:v>45439</c:v>
                </c:pt>
                <c:pt idx="204">
                  <c:v>45440</c:v>
                </c:pt>
                <c:pt idx="205">
                  <c:v>45441</c:v>
                </c:pt>
                <c:pt idx="206">
                  <c:v>45442</c:v>
                </c:pt>
                <c:pt idx="207">
                  <c:v>45443</c:v>
                </c:pt>
                <c:pt idx="208">
                  <c:v>45446</c:v>
                </c:pt>
                <c:pt idx="209">
                  <c:v>45447</c:v>
                </c:pt>
                <c:pt idx="210">
                  <c:v>45448</c:v>
                </c:pt>
                <c:pt idx="211">
                  <c:v>45449</c:v>
                </c:pt>
                <c:pt idx="212">
                  <c:v>45450</c:v>
                </c:pt>
                <c:pt idx="213">
                  <c:v>45454</c:v>
                </c:pt>
                <c:pt idx="214">
                  <c:v>45455</c:v>
                </c:pt>
                <c:pt idx="215">
                  <c:v>45456</c:v>
                </c:pt>
                <c:pt idx="216">
                  <c:v>45457</c:v>
                </c:pt>
                <c:pt idx="217">
                  <c:v>45460</c:v>
                </c:pt>
                <c:pt idx="218">
                  <c:v>45461</c:v>
                </c:pt>
                <c:pt idx="219">
                  <c:v>45462</c:v>
                </c:pt>
                <c:pt idx="220">
                  <c:v>45463</c:v>
                </c:pt>
                <c:pt idx="221">
                  <c:v>45464</c:v>
                </c:pt>
                <c:pt idx="222">
                  <c:v>45467</c:v>
                </c:pt>
                <c:pt idx="223">
                  <c:v>45468</c:v>
                </c:pt>
                <c:pt idx="224">
                  <c:v>45469</c:v>
                </c:pt>
                <c:pt idx="225">
                  <c:v>45470</c:v>
                </c:pt>
                <c:pt idx="226">
                  <c:v>45471</c:v>
                </c:pt>
                <c:pt idx="227">
                  <c:v>45474</c:v>
                </c:pt>
                <c:pt idx="228">
                  <c:v>45475</c:v>
                </c:pt>
                <c:pt idx="229">
                  <c:v>45476</c:v>
                </c:pt>
                <c:pt idx="230">
                  <c:v>45477</c:v>
                </c:pt>
                <c:pt idx="231">
                  <c:v>45478</c:v>
                </c:pt>
                <c:pt idx="232">
                  <c:v>45481</c:v>
                </c:pt>
                <c:pt idx="233">
                  <c:v>45482</c:v>
                </c:pt>
                <c:pt idx="234">
                  <c:v>45483</c:v>
                </c:pt>
                <c:pt idx="235">
                  <c:v>45484</c:v>
                </c:pt>
                <c:pt idx="236">
                  <c:v>45485</c:v>
                </c:pt>
                <c:pt idx="237">
                  <c:v>45488</c:v>
                </c:pt>
                <c:pt idx="238">
                  <c:v>45489</c:v>
                </c:pt>
                <c:pt idx="239">
                  <c:v>45490</c:v>
                </c:pt>
                <c:pt idx="240">
                  <c:v>45491</c:v>
                </c:pt>
                <c:pt idx="241">
                  <c:v>45492</c:v>
                </c:pt>
                <c:pt idx="242">
                  <c:v>45495</c:v>
                </c:pt>
                <c:pt idx="243">
                  <c:v>45496</c:v>
                </c:pt>
                <c:pt idx="244">
                  <c:v>45497</c:v>
                </c:pt>
                <c:pt idx="245">
                  <c:v>45498</c:v>
                </c:pt>
                <c:pt idx="246">
                  <c:v>45499</c:v>
                </c:pt>
                <c:pt idx="247">
                  <c:v>45502</c:v>
                </c:pt>
                <c:pt idx="248">
                  <c:v>45503</c:v>
                </c:pt>
                <c:pt idx="249">
                  <c:v>45504</c:v>
                </c:pt>
                <c:pt idx="250">
                  <c:v>45505</c:v>
                </c:pt>
                <c:pt idx="251">
                  <c:v>45506</c:v>
                </c:pt>
                <c:pt idx="252">
                  <c:v>45509</c:v>
                </c:pt>
                <c:pt idx="253">
                  <c:v>45510</c:v>
                </c:pt>
                <c:pt idx="254">
                  <c:v>45511</c:v>
                </c:pt>
                <c:pt idx="255">
                  <c:v>45512</c:v>
                </c:pt>
                <c:pt idx="256">
                  <c:v>45513</c:v>
                </c:pt>
                <c:pt idx="257">
                  <c:v>45516</c:v>
                </c:pt>
                <c:pt idx="258">
                  <c:v>45517</c:v>
                </c:pt>
                <c:pt idx="259">
                  <c:v>45518</c:v>
                </c:pt>
                <c:pt idx="260">
                  <c:v>45519</c:v>
                </c:pt>
                <c:pt idx="261">
                  <c:v>45520</c:v>
                </c:pt>
                <c:pt idx="262">
                  <c:v>45523</c:v>
                </c:pt>
                <c:pt idx="263">
                  <c:v>45524</c:v>
                </c:pt>
                <c:pt idx="264">
                  <c:v>45525</c:v>
                </c:pt>
                <c:pt idx="265">
                  <c:v>45526</c:v>
                </c:pt>
                <c:pt idx="266">
                  <c:v>45527</c:v>
                </c:pt>
                <c:pt idx="267">
                  <c:v>45530</c:v>
                </c:pt>
                <c:pt idx="268">
                  <c:v>45531</c:v>
                </c:pt>
                <c:pt idx="269">
                  <c:v>45532</c:v>
                </c:pt>
                <c:pt idx="270">
                  <c:v>45533</c:v>
                </c:pt>
                <c:pt idx="271">
                  <c:v>45534</c:v>
                </c:pt>
                <c:pt idx="272">
                  <c:v>45537</c:v>
                </c:pt>
                <c:pt idx="273">
                  <c:v>45538</c:v>
                </c:pt>
                <c:pt idx="274">
                  <c:v>45539</c:v>
                </c:pt>
                <c:pt idx="275">
                  <c:v>45540</c:v>
                </c:pt>
                <c:pt idx="276">
                  <c:v>45541</c:v>
                </c:pt>
                <c:pt idx="277">
                  <c:v>45544</c:v>
                </c:pt>
                <c:pt idx="278">
                  <c:v>45545</c:v>
                </c:pt>
                <c:pt idx="279">
                  <c:v>45546</c:v>
                </c:pt>
                <c:pt idx="280">
                  <c:v>45547</c:v>
                </c:pt>
                <c:pt idx="281">
                  <c:v>45548</c:v>
                </c:pt>
                <c:pt idx="282">
                  <c:v>45553</c:v>
                </c:pt>
                <c:pt idx="283">
                  <c:v>45554</c:v>
                </c:pt>
                <c:pt idx="284">
                  <c:v>45555</c:v>
                </c:pt>
                <c:pt idx="285">
                  <c:v>45558</c:v>
                </c:pt>
                <c:pt idx="286">
                  <c:v>45559</c:v>
                </c:pt>
                <c:pt idx="287">
                  <c:v>45560</c:v>
                </c:pt>
                <c:pt idx="288">
                  <c:v>45561</c:v>
                </c:pt>
                <c:pt idx="289">
                  <c:v>45562</c:v>
                </c:pt>
                <c:pt idx="290">
                  <c:v>45565</c:v>
                </c:pt>
                <c:pt idx="291">
                  <c:v>45573</c:v>
                </c:pt>
                <c:pt idx="292">
                  <c:v>45574</c:v>
                </c:pt>
                <c:pt idx="293">
                  <c:v>45575</c:v>
                </c:pt>
                <c:pt idx="294">
                  <c:v>45576</c:v>
                </c:pt>
                <c:pt idx="295">
                  <c:v>45579</c:v>
                </c:pt>
                <c:pt idx="296">
                  <c:v>45580</c:v>
                </c:pt>
                <c:pt idx="297">
                  <c:v>45581</c:v>
                </c:pt>
                <c:pt idx="298">
                  <c:v>45582</c:v>
                </c:pt>
                <c:pt idx="299">
                  <c:v>45583</c:v>
                </c:pt>
                <c:pt idx="300">
                  <c:v>45586</c:v>
                </c:pt>
                <c:pt idx="301">
                  <c:v>45587</c:v>
                </c:pt>
                <c:pt idx="302">
                  <c:v>45588</c:v>
                </c:pt>
                <c:pt idx="303">
                  <c:v>45589</c:v>
                </c:pt>
                <c:pt idx="304">
                  <c:v>45590</c:v>
                </c:pt>
                <c:pt idx="305">
                  <c:v>45593</c:v>
                </c:pt>
                <c:pt idx="306">
                  <c:v>45594</c:v>
                </c:pt>
                <c:pt idx="307">
                  <c:v>45595</c:v>
                </c:pt>
                <c:pt idx="308">
                  <c:v>45596</c:v>
                </c:pt>
                <c:pt idx="309">
                  <c:v>45597</c:v>
                </c:pt>
                <c:pt idx="310">
                  <c:v>45600</c:v>
                </c:pt>
                <c:pt idx="311">
                  <c:v>45601</c:v>
                </c:pt>
                <c:pt idx="312">
                  <c:v>45602</c:v>
                </c:pt>
                <c:pt idx="313">
                  <c:v>45603</c:v>
                </c:pt>
                <c:pt idx="314">
                  <c:v>45604</c:v>
                </c:pt>
                <c:pt idx="315">
                  <c:v>45607</c:v>
                </c:pt>
                <c:pt idx="316">
                  <c:v>45608</c:v>
                </c:pt>
                <c:pt idx="317">
                  <c:v>45609</c:v>
                </c:pt>
                <c:pt idx="318">
                  <c:v>45610</c:v>
                </c:pt>
                <c:pt idx="319">
                  <c:v>45611</c:v>
                </c:pt>
                <c:pt idx="320">
                  <c:v>45614</c:v>
                </c:pt>
                <c:pt idx="321">
                  <c:v>45615</c:v>
                </c:pt>
                <c:pt idx="322">
                  <c:v>45616</c:v>
                </c:pt>
                <c:pt idx="323">
                  <c:v>45617</c:v>
                </c:pt>
                <c:pt idx="324">
                  <c:v>45618</c:v>
                </c:pt>
                <c:pt idx="325">
                  <c:v>45621</c:v>
                </c:pt>
                <c:pt idx="326">
                  <c:v>45622</c:v>
                </c:pt>
                <c:pt idx="327">
                  <c:v>45623</c:v>
                </c:pt>
                <c:pt idx="328">
                  <c:v>45624</c:v>
                </c:pt>
                <c:pt idx="329">
                  <c:v>45625</c:v>
                </c:pt>
                <c:pt idx="330">
                  <c:v>45628</c:v>
                </c:pt>
                <c:pt idx="331">
                  <c:v>45629</c:v>
                </c:pt>
                <c:pt idx="332">
                  <c:v>45630</c:v>
                </c:pt>
                <c:pt idx="333">
                  <c:v>45631</c:v>
                </c:pt>
                <c:pt idx="334">
                  <c:v>45632</c:v>
                </c:pt>
                <c:pt idx="335">
                  <c:v>45635</c:v>
                </c:pt>
                <c:pt idx="336">
                  <c:v>45636</c:v>
                </c:pt>
                <c:pt idx="337">
                  <c:v>45637</c:v>
                </c:pt>
                <c:pt idx="338">
                  <c:v>45638</c:v>
                </c:pt>
                <c:pt idx="339">
                  <c:v>45639</c:v>
                </c:pt>
                <c:pt idx="340">
                  <c:v>45642</c:v>
                </c:pt>
                <c:pt idx="341">
                  <c:v>45643</c:v>
                </c:pt>
                <c:pt idx="342">
                  <c:v>45644</c:v>
                </c:pt>
                <c:pt idx="343">
                  <c:v>45645</c:v>
                </c:pt>
                <c:pt idx="344">
                  <c:v>45646</c:v>
                </c:pt>
                <c:pt idx="345">
                  <c:v>45649</c:v>
                </c:pt>
                <c:pt idx="346">
                  <c:v>45650</c:v>
                </c:pt>
                <c:pt idx="347">
                  <c:v>45651</c:v>
                </c:pt>
                <c:pt idx="348">
                  <c:v>45652</c:v>
                </c:pt>
                <c:pt idx="349">
                  <c:v>45653</c:v>
                </c:pt>
                <c:pt idx="350">
                  <c:v>45656</c:v>
                </c:pt>
                <c:pt idx="351">
                  <c:v>45657</c:v>
                </c:pt>
                <c:pt idx="352">
                  <c:v>45659</c:v>
                </c:pt>
                <c:pt idx="353">
                  <c:v>45660</c:v>
                </c:pt>
                <c:pt idx="354">
                  <c:v>45663</c:v>
                </c:pt>
                <c:pt idx="355">
                  <c:v>45664</c:v>
                </c:pt>
                <c:pt idx="356">
                  <c:v>45665</c:v>
                </c:pt>
                <c:pt idx="357">
                  <c:v>45666</c:v>
                </c:pt>
                <c:pt idx="358">
                  <c:v>45667</c:v>
                </c:pt>
                <c:pt idx="359">
                  <c:v>45670</c:v>
                </c:pt>
                <c:pt idx="360">
                  <c:v>45671</c:v>
                </c:pt>
                <c:pt idx="361">
                  <c:v>45672</c:v>
                </c:pt>
                <c:pt idx="362">
                  <c:v>45673</c:v>
                </c:pt>
                <c:pt idx="363">
                  <c:v>45674</c:v>
                </c:pt>
                <c:pt idx="364">
                  <c:v>45677</c:v>
                </c:pt>
                <c:pt idx="365">
                  <c:v>45678</c:v>
                </c:pt>
                <c:pt idx="366">
                  <c:v>45679</c:v>
                </c:pt>
                <c:pt idx="367">
                  <c:v>45680</c:v>
                </c:pt>
                <c:pt idx="368">
                  <c:v>45681</c:v>
                </c:pt>
                <c:pt idx="369">
                  <c:v>45684</c:v>
                </c:pt>
                <c:pt idx="370">
                  <c:v>45693</c:v>
                </c:pt>
                <c:pt idx="371">
                  <c:v>45694</c:v>
                </c:pt>
                <c:pt idx="372">
                  <c:v>45695</c:v>
                </c:pt>
                <c:pt idx="373">
                  <c:v>45698</c:v>
                </c:pt>
                <c:pt idx="374">
                  <c:v>45699</c:v>
                </c:pt>
                <c:pt idx="375">
                  <c:v>45700</c:v>
                </c:pt>
                <c:pt idx="376">
                  <c:v>45701</c:v>
                </c:pt>
                <c:pt idx="377">
                  <c:v>45702</c:v>
                </c:pt>
                <c:pt idx="378">
                  <c:v>45705</c:v>
                </c:pt>
                <c:pt idx="379">
                  <c:v>45706</c:v>
                </c:pt>
                <c:pt idx="380">
                  <c:v>45707</c:v>
                </c:pt>
                <c:pt idx="381">
                  <c:v>45708</c:v>
                </c:pt>
                <c:pt idx="382">
                  <c:v>45709</c:v>
                </c:pt>
                <c:pt idx="383">
                  <c:v>45712</c:v>
                </c:pt>
                <c:pt idx="384">
                  <c:v>45713</c:v>
                </c:pt>
                <c:pt idx="385">
                  <c:v>45714</c:v>
                </c:pt>
                <c:pt idx="386">
                  <c:v>45715</c:v>
                </c:pt>
                <c:pt idx="387">
                  <c:v>45716</c:v>
                </c:pt>
                <c:pt idx="388">
                  <c:v>45719</c:v>
                </c:pt>
                <c:pt idx="389">
                  <c:v>45720</c:v>
                </c:pt>
                <c:pt idx="390">
                  <c:v>45721</c:v>
                </c:pt>
                <c:pt idx="391">
                  <c:v>45722</c:v>
                </c:pt>
                <c:pt idx="392">
                  <c:v>45723</c:v>
                </c:pt>
                <c:pt idx="393">
                  <c:v>45726</c:v>
                </c:pt>
                <c:pt idx="394">
                  <c:v>45727</c:v>
                </c:pt>
                <c:pt idx="395">
                  <c:v>45728</c:v>
                </c:pt>
                <c:pt idx="396">
                  <c:v>45729</c:v>
                </c:pt>
                <c:pt idx="397">
                  <c:v>45730</c:v>
                </c:pt>
                <c:pt idx="398">
                  <c:v>45733</c:v>
                </c:pt>
                <c:pt idx="399">
                  <c:v>45734</c:v>
                </c:pt>
                <c:pt idx="400">
                  <c:v>45735</c:v>
                </c:pt>
                <c:pt idx="401">
                  <c:v>45736</c:v>
                </c:pt>
                <c:pt idx="402">
                  <c:v>45737</c:v>
                </c:pt>
                <c:pt idx="403">
                  <c:v>45740</c:v>
                </c:pt>
                <c:pt idx="404">
                  <c:v>45741</c:v>
                </c:pt>
                <c:pt idx="405">
                  <c:v>45742</c:v>
                </c:pt>
                <c:pt idx="406">
                  <c:v>45743</c:v>
                </c:pt>
                <c:pt idx="407">
                  <c:v>45744</c:v>
                </c:pt>
                <c:pt idx="408">
                  <c:v>45747</c:v>
                </c:pt>
                <c:pt idx="409">
                  <c:v>45748</c:v>
                </c:pt>
                <c:pt idx="410">
                  <c:v>45749</c:v>
                </c:pt>
                <c:pt idx="411">
                  <c:v>45750</c:v>
                </c:pt>
                <c:pt idx="412">
                  <c:v>45754</c:v>
                </c:pt>
                <c:pt idx="413">
                  <c:v>45755</c:v>
                </c:pt>
                <c:pt idx="414">
                  <c:v>45756</c:v>
                </c:pt>
                <c:pt idx="415">
                  <c:v>45757</c:v>
                </c:pt>
                <c:pt idx="416">
                  <c:v>45758</c:v>
                </c:pt>
                <c:pt idx="417">
                  <c:v>45761</c:v>
                </c:pt>
                <c:pt idx="418">
                  <c:v>45762</c:v>
                </c:pt>
                <c:pt idx="419">
                  <c:v>45763</c:v>
                </c:pt>
                <c:pt idx="420">
                  <c:v>45764</c:v>
                </c:pt>
                <c:pt idx="421">
                  <c:v>45765</c:v>
                </c:pt>
                <c:pt idx="422">
                  <c:v>45768</c:v>
                </c:pt>
                <c:pt idx="423">
                  <c:v>45769</c:v>
                </c:pt>
                <c:pt idx="424">
                  <c:v>45770</c:v>
                </c:pt>
                <c:pt idx="425">
                  <c:v>45771</c:v>
                </c:pt>
                <c:pt idx="426">
                  <c:v>45772</c:v>
                </c:pt>
                <c:pt idx="427">
                  <c:v>45775</c:v>
                </c:pt>
                <c:pt idx="428">
                  <c:v>45776</c:v>
                </c:pt>
                <c:pt idx="429">
                  <c:v>45777</c:v>
                </c:pt>
                <c:pt idx="430">
                  <c:v>45783</c:v>
                </c:pt>
                <c:pt idx="431">
                  <c:v>45784</c:v>
                </c:pt>
                <c:pt idx="432">
                  <c:v>45785</c:v>
                </c:pt>
                <c:pt idx="433">
                  <c:v>45786</c:v>
                </c:pt>
                <c:pt idx="434">
                  <c:v>45789</c:v>
                </c:pt>
                <c:pt idx="435">
                  <c:v>45790</c:v>
                </c:pt>
                <c:pt idx="436">
                  <c:v>45791</c:v>
                </c:pt>
                <c:pt idx="437">
                  <c:v>45792</c:v>
                </c:pt>
                <c:pt idx="438">
                  <c:v>45793</c:v>
                </c:pt>
                <c:pt idx="439">
                  <c:v>45796</c:v>
                </c:pt>
                <c:pt idx="440">
                  <c:v>45797</c:v>
                </c:pt>
                <c:pt idx="441">
                  <c:v>45798</c:v>
                </c:pt>
                <c:pt idx="442">
                  <c:v>45799</c:v>
                </c:pt>
                <c:pt idx="443">
                  <c:v>45800</c:v>
                </c:pt>
                <c:pt idx="444">
                  <c:v>45803</c:v>
                </c:pt>
                <c:pt idx="445">
                  <c:v>45804</c:v>
                </c:pt>
                <c:pt idx="446">
                  <c:v>45805</c:v>
                </c:pt>
                <c:pt idx="447">
                  <c:v>45806</c:v>
                </c:pt>
                <c:pt idx="448">
                  <c:v>45807</c:v>
                </c:pt>
                <c:pt idx="449">
                  <c:v>45811</c:v>
                </c:pt>
                <c:pt idx="450">
                  <c:v>45812</c:v>
                </c:pt>
                <c:pt idx="451">
                  <c:v>45813</c:v>
                </c:pt>
                <c:pt idx="452">
                  <c:v>45814</c:v>
                </c:pt>
                <c:pt idx="453">
                  <c:v>45817</c:v>
                </c:pt>
                <c:pt idx="454">
                  <c:v>45818</c:v>
                </c:pt>
                <c:pt idx="455">
                  <c:v>45819</c:v>
                </c:pt>
                <c:pt idx="456">
                  <c:v>45820</c:v>
                </c:pt>
                <c:pt idx="457">
                  <c:v>45821</c:v>
                </c:pt>
                <c:pt idx="458">
                  <c:v>45824</c:v>
                </c:pt>
                <c:pt idx="459">
                  <c:v>45825</c:v>
                </c:pt>
                <c:pt idx="460">
                  <c:v>45826</c:v>
                </c:pt>
                <c:pt idx="461">
                  <c:v>45827</c:v>
                </c:pt>
                <c:pt idx="462">
                  <c:v>45828</c:v>
                </c:pt>
                <c:pt idx="463">
                  <c:v>45831</c:v>
                </c:pt>
                <c:pt idx="464">
                  <c:v>45832</c:v>
                </c:pt>
                <c:pt idx="465">
                  <c:v>45833</c:v>
                </c:pt>
                <c:pt idx="466">
                  <c:v>45834</c:v>
                </c:pt>
                <c:pt idx="467">
                  <c:v>45835</c:v>
                </c:pt>
                <c:pt idx="468">
                  <c:v>45838</c:v>
                </c:pt>
                <c:pt idx="469">
                  <c:v>45839</c:v>
                </c:pt>
                <c:pt idx="470">
                  <c:v>45840</c:v>
                </c:pt>
                <c:pt idx="471">
                  <c:v>45841</c:v>
                </c:pt>
                <c:pt idx="472">
                  <c:v>45842</c:v>
                </c:pt>
                <c:pt idx="473">
                  <c:v>45845</c:v>
                </c:pt>
                <c:pt idx="474">
                  <c:v>45846</c:v>
                </c:pt>
                <c:pt idx="475">
                  <c:v>45847</c:v>
                </c:pt>
                <c:pt idx="476">
                  <c:v>45848</c:v>
                </c:pt>
                <c:pt idx="477">
                  <c:v>45849</c:v>
                </c:pt>
                <c:pt idx="478">
                  <c:v>45852</c:v>
                </c:pt>
                <c:pt idx="479">
                  <c:v>45853</c:v>
                </c:pt>
                <c:pt idx="480">
                  <c:v>45854</c:v>
                </c:pt>
                <c:pt idx="481">
                  <c:v>45855</c:v>
                </c:pt>
                <c:pt idx="482">
                  <c:v>45856</c:v>
                </c:pt>
                <c:pt idx="483">
                  <c:v>45859</c:v>
                </c:pt>
                <c:pt idx="484">
                  <c:v>45860</c:v>
                </c:pt>
                <c:pt idx="485">
                  <c:v>45861</c:v>
                </c:pt>
                <c:pt idx="486">
                  <c:v>45862</c:v>
                </c:pt>
                <c:pt idx="487">
                  <c:v>45863</c:v>
                </c:pt>
                <c:pt idx="488">
                  <c:v>45866</c:v>
                </c:pt>
                <c:pt idx="489">
                  <c:v>45867</c:v>
                </c:pt>
                <c:pt idx="490">
                  <c:v>45868</c:v>
                </c:pt>
                <c:pt idx="491">
                  <c:v>45869</c:v>
                </c:pt>
                <c:pt idx="492">
                  <c:v>45870</c:v>
                </c:pt>
                <c:pt idx="493">
                  <c:v>45873</c:v>
                </c:pt>
                <c:pt idx="494">
                  <c:v>45874</c:v>
                </c:pt>
                <c:pt idx="495">
                  <c:v>45875</c:v>
                </c:pt>
                <c:pt idx="496">
                  <c:v>45876</c:v>
                </c:pt>
                <c:pt idx="497">
                  <c:v>45877</c:v>
                </c:pt>
                <c:pt idx="498">
                  <c:v>45880</c:v>
                </c:pt>
                <c:pt idx="499">
                  <c:v>45881</c:v>
                </c:pt>
                <c:pt idx="500">
                  <c:v>45882</c:v>
                </c:pt>
                <c:pt idx="501">
                  <c:v>45883</c:v>
                </c:pt>
                <c:pt idx="502">
                  <c:v>45884</c:v>
                </c:pt>
                <c:pt idx="503">
                  <c:v>45887</c:v>
                </c:pt>
                <c:pt idx="504">
                  <c:v>45888</c:v>
                </c:pt>
                <c:pt idx="505">
                  <c:v>45889</c:v>
                </c:pt>
                <c:pt idx="506">
                  <c:v>45890</c:v>
                </c:pt>
                <c:pt idx="507">
                  <c:v>45891</c:v>
                </c:pt>
                <c:pt idx="508">
                  <c:v>45894</c:v>
                </c:pt>
                <c:pt idx="509">
                  <c:v>45895</c:v>
                </c:pt>
                <c:pt idx="510">
                  <c:v>45896</c:v>
                </c:pt>
                <c:pt idx="511">
                  <c:v>45897</c:v>
                </c:pt>
                <c:pt idx="512">
                  <c:v>45898</c:v>
                </c:pt>
                <c:pt idx="513">
                  <c:v>45901</c:v>
                </c:pt>
                <c:pt idx="514">
                  <c:v>45902</c:v>
                </c:pt>
                <c:pt idx="515">
                  <c:v>45903</c:v>
                </c:pt>
                <c:pt idx="516">
                  <c:v>45904</c:v>
                </c:pt>
                <c:pt idx="517">
                  <c:v>45905</c:v>
                </c:pt>
                <c:pt idx="518">
                  <c:v>45908</c:v>
                </c:pt>
                <c:pt idx="519">
                  <c:v>45909</c:v>
                </c:pt>
                <c:pt idx="520">
                  <c:v>45910</c:v>
                </c:pt>
                <c:pt idx="521">
                  <c:v>45911</c:v>
                </c:pt>
                <c:pt idx="522">
                  <c:v>45912</c:v>
                </c:pt>
                <c:pt idx="523">
                  <c:v>45915</c:v>
                </c:pt>
                <c:pt idx="524">
                  <c:v>45916</c:v>
                </c:pt>
                <c:pt idx="525">
                  <c:v>45917</c:v>
                </c:pt>
                <c:pt idx="526">
                  <c:v>45918</c:v>
                </c:pt>
                <c:pt idx="527">
                  <c:v>45919</c:v>
                </c:pt>
                <c:pt idx="528">
                  <c:v>45922</c:v>
                </c:pt>
                <c:pt idx="529">
                  <c:v>45923</c:v>
                </c:pt>
                <c:pt idx="530">
                  <c:v>45924</c:v>
                </c:pt>
                <c:pt idx="531">
                  <c:v>45925</c:v>
                </c:pt>
                <c:pt idx="532">
                  <c:v>45926</c:v>
                </c:pt>
                <c:pt idx="533">
                  <c:v>45929</c:v>
                </c:pt>
                <c:pt idx="534">
                  <c:v>45930</c:v>
                </c:pt>
                <c:pt idx="535">
                  <c:v>45931</c:v>
                </c:pt>
                <c:pt idx="536">
                  <c:v>45932</c:v>
                </c:pt>
                <c:pt idx="537">
                  <c:v>45933</c:v>
                </c:pt>
                <c:pt idx="538">
                  <c:v>45936</c:v>
                </c:pt>
                <c:pt idx="539">
                  <c:v>45937</c:v>
                </c:pt>
                <c:pt idx="540">
                  <c:v>45938</c:v>
                </c:pt>
                <c:pt idx="541">
                  <c:v>45939</c:v>
                </c:pt>
                <c:pt idx="542">
                  <c:v>45940</c:v>
                </c:pt>
                <c:pt idx="543">
                  <c:v>45943</c:v>
                </c:pt>
                <c:pt idx="544">
                  <c:v>45944</c:v>
                </c:pt>
                <c:pt idx="545">
                  <c:v>45945</c:v>
                </c:pt>
                <c:pt idx="546">
                  <c:v>45946</c:v>
                </c:pt>
                <c:pt idx="547">
                  <c:v>45947</c:v>
                </c:pt>
                <c:pt idx="548">
                  <c:v>45950</c:v>
                </c:pt>
                <c:pt idx="549">
                  <c:v>45951</c:v>
                </c:pt>
                <c:pt idx="550">
                  <c:v>45952</c:v>
                </c:pt>
                <c:pt idx="551">
                  <c:v>45953</c:v>
                </c:pt>
                <c:pt idx="552">
                  <c:v>45954</c:v>
                </c:pt>
                <c:pt idx="553">
                  <c:v>45957</c:v>
                </c:pt>
                <c:pt idx="554">
                  <c:v>45958</c:v>
                </c:pt>
                <c:pt idx="555">
                  <c:v>45959</c:v>
                </c:pt>
                <c:pt idx="556">
                  <c:v>45960</c:v>
                </c:pt>
                <c:pt idx="557">
                  <c:v>45961</c:v>
                </c:pt>
                <c:pt idx="558">
                  <c:v>45964</c:v>
                </c:pt>
                <c:pt idx="559">
                  <c:v>45965</c:v>
                </c:pt>
                <c:pt idx="560">
                  <c:v>45966</c:v>
                </c:pt>
                <c:pt idx="561">
                  <c:v>45967</c:v>
                </c:pt>
                <c:pt idx="562">
                  <c:v>45968</c:v>
                </c:pt>
                <c:pt idx="563">
                  <c:v>45971</c:v>
                </c:pt>
                <c:pt idx="564">
                  <c:v>45972</c:v>
                </c:pt>
                <c:pt idx="565">
                  <c:v>45973</c:v>
                </c:pt>
                <c:pt idx="566">
                  <c:v>45974</c:v>
                </c:pt>
                <c:pt idx="567">
                  <c:v>45975</c:v>
                </c:pt>
                <c:pt idx="568">
                  <c:v>45978</c:v>
                </c:pt>
                <c:pt idx="569">
                  <c:v>45979</c:v>
                </c:pt>
                <c:pt idx="570">
                  <c:v>45980</c:v>
                </c:pt>
                <c:pt idx="571">
                  <c:v>45981</c:v>
                </c:pt>
                <c:pt idx="572">
                  <c:v>45982</c:v>
                </c:pt>
                <c:pt idx="573">
                  <c:v>45985</c:v>
                </c:pt>
                <c:pt idx="574">
                  <c:v>45986</c:v>
                </c:pt>
                <c:pt idx="575">
                  <c:v>45987</c:v>
                </c:pt>
                <c:pt idx="576">
                  <c:v>45988</c:v>
                </c:pt>
                <c:pt idx="577">
                  <c:v>45989</c:v>
                </c:pt>
                <c:pt idx="578">
                  <c:v>45992</c:v>
                </c:pt>
                <c:pt idx="579">
                  <c:v>45993</c:v>
                </c:pt>
                <c:pt idx="580">
                  <c:v>45994</c:v>
                </c:pt>
                <c:pt idx="581">
                  <c:v>45995</c:v>
                </c:pt>
                <c:pt idx="582">
                  <c:v>45996</c:v>
                </c:pt>
                <c:pt idx="583">
                  <c:v>45999</c:v>
                </c:pt>
                <c:pt idx="584">
                  <c:v>46000</c:v>
                </c:pt>
                <c:pt idx="585">
                  <c:v>46001</c:v>
                </c:pt>
                <c:pt idx="586">
                  <c:v>46002</c:v>
                </c:pt>
                <c:pt idx="587">
                  <c:v>46003</c:v>
                </c:pt>
                <c:pt idx="588">
                  <c:v>46006</c:v>
                </c:pt>
                <c:pt idx="589">
                  <c:v>46007</c:v>
                </c:pt>
                <c:pt idx="590">
                  <c:v>46008</c:v>
                </c:pt>
                <c:pt idx="591">
                  <c:v>46009</c:v>
                </c:pt>
                <c:pt idx="592">
                  <c:v>46010</c:v>
                </c:pt>
                <c:pt idx="593">
                  <c:v>46013</c:v>
                </c:pt>
                <c:pt idx="594">
                  <c:v>46014</c:v>
                </c:pt>
                <c:pt idx="595">
                  <c:v>46015</c:v>
                </c:pt>
                <c:pt idx="596">
                  <c:v>46016</c:v>
                </c:pt>
                <c:pt idx="597">
                  <c:v>46017</c:v>
                </c:pt>
                <c:pt idx="598">
                  <c:v>46020</c:v>
                </c:pt>
                <c:pt idx="599">
                  <c:v>46021</c:v>
                </c:pt>
                <c:pt idx="600">
                  <c:v>46022</c:v>
                </c:pt>
                <c:pt idx="601">
                  <c:v>46023</c:v>
                </c:pt>
                <c:pt idx="602">
                  <c:v>46024</c:v>
                </c:pt>
                <c:pt idx="603">
                  <c:v>46027</c:v>
                </c:pt>
                <c:pt idx="604">
                  <c:v>46028</c:v>
                </c:pt>
                <c:pt idx="605">
                  <c:v>46029</c:v>
                </c:pt>
                <c:pt idx="606">
                  <c:v>46030</c:v>
                </c:pt>
                <c:pt idx="607">
                  <c:v>46031</c:v>
                </c:pt>
                <c:pt idx="608">
                  <c:v>46034</c:v>
                </c:pt>
                <c:pt idx="609">
                  <c:v>46035</c:v>
                </c:pt>
                <c:pt idx="610">
                  <c:v>46036</c:v>
                </c:pt>
                <c:pt idx="611">
                  <c:v>46037</c:v>
                </c:pt>
                <c:pt idx="612">
                  <c:v>46038</c:v>
                </c:pt>
                <c:pt idx="613">
                  <c:v>46041</c:v>
                </c:pt>
                <c:pt idx="614">
                  <c:v>46042</c:v>
                </c:pt>
                <c:pt idx="615">
                  <c:v>46043</c:v>
                </c:pt>
                <c:pt idx="616">
                  <c:v>46044</c:v>
                </c:pt>
                <c:pt idx="617">
                  <c:v>46045</c:v>
                </c:pt>
                <c:pt idx="618">
                  <c:v>46048</c:v>
                </c:pt>
                <c:pt idx="619">
                  <c:v>46049</c:v>
                </c:pt>
                <c:pt idx="620">
                  <c:v>46050</c:v>
                </c:pt>
                <c:pt idx="621">
                  <c:v>46051</c:v>
                </c:pt>
                <c:pt idx="622">
                  <c:v>46052</c:v>
                </c:pt>
                <c:pt idx="623">
                  <c:v>46055</c:v>
                </c:pt>
                <c:pt idx="624">
                  <c:v>46056</c:v>
                </c:pt>
                <c:pt idx="625">
                  <c:v>46057</c:v>
                </c:pt>
                <c:pt idx="626">
                  <c:v>46058</c:v>
                </c:pt>
                <c:pt idx="627">
                  <c:v>46059</c:v>
                </c:pt>
                <c:pt idx="628">
                  <c:v>46062</c:v>
                </c:pt>
                <c:pt idx="629">
                  <c:v>46063</c:v>
                </c:pt>
                <c:pt idx="630">
                  <c:v>46064</c:v>
                </c:pt>
                <c:pt idx="631">
                  <c:v>46065</c:v>
                </c:pt>
                <c:pt idx="632">
                  <c:v>46066</c:v>
                </c:pt>
                <c:pt idx="633">
                  <c:v>46069</c:v>
                </c:pt>
                <c:pt idx="634">
                  <c:v>46070</c:v>
                </c:pt>
                <c:pt idx="635">
                  <c:v>46071</c:v>
                </c:pt>
                <c:pt idx="636">
                  <c:v>46072</c:v>
                </c:pt>
                <c:pt idx="637">
                  <c:v>46073</c:v>
                </c:pt>
                <c:pt idx="638">
                  <c:v>46076</c:v>
                </c:pt>
                <c:pt idx="639">
                  <c:v>46077</c:v>
                </c:pt>
                <c:pt idx="640">
                  <c:v>46078</c:v>
                </c:pt>
                <c:pt idx="641">
                  <c:v>46079</c:v>
                </c:pt>
                <c:pt idx="642">
                  <c:v>46080</c:v>
                </c:pt>
                <c:pt idx="643">
                  <c:v>46083</c:v>
                </c:pt>
                <c:pt idx="644">
                  <c:v>46084</c:v>
                </c:pt>
                <c:pt idx="645">
                  <c:v>46085</c:v>
                </c:pt>
                <c:pt idx="646">
                  <c:v>46086</c:v>
                </c:pt>
                <c:pt idx="647">
                  <c:v>46087</c:v>
                </c:pt>
                <c:pt idx="648">
                  <c:v>46090</c:v>
                </c:pt>
                <c:pt idx="649">
                  <c:v>46091</c:v>
                </c:pt>
                <c:pt idx="650">
                  <c:v>46092</c:v>
                </c:pt>
                <c:pt idx="651">
                  <c:v>46093</c:v>
                </c:pt>
                <c:pt idx="652">
                  <c:v>46094</c:v>
                </c:pt>
                <c:pt idx="653">
                  <c:v>46097</c:v>
                </c:pt>
                <c:pt idx="654">
                  <c:v>46098</c:v>
                </c:pt>
                <c:pt idx="655">
                  <c:v>46099</c:v>
                </c:pt>
                <c:pt idx="656">
                  <c:v>46100</c:v>
                </c:pt>
                <c:pt idx="657">
                  <c:v>46101</c:v>
                </c:pt>
                <c:pt idx="658">
                  <c:v>46104</c:v>
                </c:pt>
                <c:pt idx="659">
                  <c:v>46105</c:v>
                </c:pt>
                <c:pt idx="660">
                  <c:v>46106</c:v>
                </c:pt>
                <c:pt idx="661">
                  <c:v>46107</c:v>
                </c:pt>
                <c:pt idx="662">
                  <c:v>46108</c:v>
                </c:pt>
                <c:pt idx="663">
                  <c:v>46111</c:v>
                </c:pt>
                <c:pt idx="664">
                  <c:v>46112</c:v>
                </c:pt>
                <c:pt idx="665">
                  <c:v>46113</c:v>
                </c:pt>
                <c:pt idx="666">
                  <c:v>46114</c:v>
                </c:pt>
                <c:pt idx="667">
                  <c:v>46115</c:v>
                </c:pt>
                <c:pt idx="668">
                  <c:v>46118</c:v>
                </c:pt>
                <c:pt idx="669">
                  <c:v>46119</c:v>
                </c:pt>
                <c:pt idx="670">
                  <c:v>46120</c:v>
                </c:pt>
                <c:pt idx="671">
                  <c:v>46121</c:v>
                </c:pt>
                <c:pt idx="672">
                  <c:v>46122</c:v>
                </c:pt>
                <c:pt idx="673">
                  <c:v>46125</c:v>
                </c:pt>
                <c:pt idx="674">
                  <c:v>46126</c:v>
                </c:pt>
                <c:pt idx="675">
                  <c:v>46127</c:v>
                </c:pt>
                <c:pt idx="676">
                  <c:v>46128</c:v>
                </c:pt>
                <c:pt idx="677">
                  <c:v>46129</c:v>
                </c:pt>
                <c:pt idx="678">
                  <c:v>46132</c:v>
                </c:pt>
                <c:pt idx="679">
                  <c:v>46133</c:v>
                </c:pt>
                <c:pt idx="680">
                  <c:v>46134</c:v>
                </c:pt>
                <c:pt idx="681">
                  <c:v>46135</c:v>
                </c:pt>
                <c:pt idx="682">
                  <c:v>46136</c:v>
                </c:pt>
                <c:pt idx="683">
                  <c:v>46139</c:v>
                </c:pt>
                <c:pt idx="684">
                  <c:v>46140</c:v>
                </c:pt>
                <c:pt idx="685">
                  <c:v>46141</c:v>
                </c:pt>
                <c:pt idx="686">
                  <c:v>46142</c:v>
                </c:pt>
                <c:pt idx="687">
                  <c:v>46143</c:v>
                </c:pt>
                <c:pt idx="688">
                  <c:v>46146</c:v>
                </c:pt>
                <c:pt idx="689">
                  <c:v>46147</c:v>
                </c:pt>
                <c:pt idx="690">
                  <c:v>46148</c:v>
                </c:pt>
                <c:pt idx="691">
                  <c:v>46149</c:v>
                </c:pt>
                <c:pt idx="692">
                  <c:v>46150</c:v>
                </c:pt>
                <c:pt idx="693">
                  <c:v>46153</c:v>
                </c:pt>
                <c:pt idx="694">
                  <c:v>46154</c:v>
                </c:pt>
                <c:pt idx="695">
                  <c:v>46155</c:v>
                </c:pt>
                <c:pt idx="696">
                  <c:v>46156</c:v>
                </c:pt>
                <c:pt idx="697">
                  <c:v>46157</c:v>
                </c:pt>
                <c:pt idx="698">
                  <c:v>46160</c:v>
                </c:pt>
                <c:pt idx="699">
                  <c:v>46161</c:v>
                </c:pt>
                <c:pt idx="700">
                  <c:v>46162</c:v>
                </c:pt>
                <c:pt idx="701">
                  <c:v>46163</c:v>
                </c:pt>
                <c:pt idx="702">
                  <c:v>46164</c:v>
                </c:pt>
                <c:pt idx="703">
                  <c:v>46167</c:v>
                </c:pt>
                <c:pt idx="704">
                  <c:v>46168</c:v>
                </c:pt>
                <c:pt idx="705">
                  <c:v>46169</c:v>
                </c:pt>
                <c:pt idx="706">
                  <c:v>46170</c:v>
                </c:pt>
                <c:pt idx="707">
                  <c:v>46171</c:v>
                </c:pt>
                <c:pt idx="708">
                  <c:v>46174</c:v>
                </c:pt>
                <c:pt idx="709">
                  <c:v>46175</c:v>
                </c:pt>
                <c:pt idx="710">
                  <c:v>46176</c:v>
                </c:pt>
                <c:pt idx="711">
                  <c:v>46177</c:v>
                </c:pt>
                <c:pt idx="712">
                  <c:v>46178</c:v>
                </c:pt>
                <c:pt idx="713">
                  <c:v>46181</c:v>
                </c:pt>
                <c:pt idx="714">
                  <c:v>46182</c:v>
                </c:pt>
                <c:pt idx="715">
                  <c:v>46183</c:v>
                </c:pt>
                <c:pt idx="716">
                  <c:v>46184</c:v>
                </c:pt>
                <c:pt idx="717">
                  <c:v>46185</c:v>
                </c:pt>
                <c:pt idx="718">
                  <c:v>46188</c:v>
                </c:pt>
                <c:pt idx="719">
                  <c:v>46189</c:v>
                </c:pt>
                <c:pt idx="720">
                  <c:v>46190</c:v>
                </c:pt>
                <c:pt idx="721">
                  <c:v>46191</c:v>
                </c:pt>
                <c:pt idx="722">
                  <c:v>46192</c:v>
                </c:pt>
                <c:pt idx="723">
                  <c:v>46195</c:v>
                </c:pt>
                <c:pt idx="724">
                  <c:v>46196</c:v>
                </c:pt>
                <c:pt idx="725">
                  <c:v>46197</c:v>
                </c:pt>
                <c:pt idx="726">
                  <c:v>46198</c:v>
                </c:pt>
                <c:pt idx="727">
                  <c:v>46199</c:v>
                </c:pt>
                <c:pt idx="728">
                  <c:v>46202</c:v>
                </c:pt>
                <c:pt idx="729">
                  <c:v>46203</c:v>
                </c:pt>
                <c:pt idx="730">
                  <c:v>46204</c:v>
                </c:pt>
                <c:pt idx="731">
                  <c:v>46205</c:v>
                </c:pt>
                <c:pt idx="732">
                  <c:v>46206</c:v>
                </c:pt>
                <c:pt idx="733">
                  <c:v>46209</c:v>
                </c:pt>
                <c:pt idx="734">
                  <c:v>46210</c:v>
                </c:pt>
                <c:pt idx="735">
                  <c:v>46211</c:v>
                </c:pt>
                <c:pt idx="736">
                  <c:v>46212</c:v>
                </c:pt>
                <c:pt idx="737">
                  <c:v>46213</c:v>
                </c:pt>
                <c:pt idx="738">
                  <c:v>46216</c:v>
                </c:pt>
                <c:pt idx="739">
                  <c:v>46217</c:v>
                </c:pt>
                <c:pt idx="740">
                  <c:v>46218</c:v>
                </c:pt>
                <c:pt idx="741">
                  <c:v>46219</c:v>
                </c:pt>
                <c:pt idx="742">
                  <c:v>46220</c:v>
                </c:pt>
                <c:pt idx="743">
                  <c:v>46223</c:v>
                </c:pt>
                <c:pt idx="744">
                  <c:v>46224</c:v>
                </c:pt>
                <c:pt idx="745">
                  <c:v>46225</c:v>
                </c:pt>
                <c:pt idx="746">
                  <c:v>46226</c:v>
                </c:pt>
                <c:pt idx="747">
                  <c:v>46227</c:v>
                </c:pt>
                <c:pt idx="748">
                  <c:v>46230</c:v>
                </c:pt>
                <c:pt idx="749">
                  <c:v>46231</c:v>
                </c:pt>
                <c:pt idx="750">
                  <c:v>46232</c:v>
                </c:pt>
                <c:pt idx="751">
                  <c:v>46233</c:v>
                </c:pt>
                <c:pt idx="752">
                  <c:v>46234</c:v>
                </c:pt>
                <c:pt idx="753">
                  <c:v>46237</c:v>
                </c:pt>
                <c:pt idx="754">
                  <c:v>46238</c:v>
                </c:pt>
                <c:pt idx="755">
                  <c:v>46239</c:v>
                </c:pt>
                <c:pt idx="756">
                  <c:v>46240</c:v>
                </c:pt>
                <c:pt idx="757">
                  <c:v>46241</c:v>
                </c:pt>
                <c:pt idx="758">
                  <c:v>46244</c:v>
                </c:pt>
                <c:pt idx="759">
                  <c:v>46245</c:v>
                </c:pt>
                <c:pt idx="760">
                  <c:v>46246</c:v>
                </c:pt>
                <c:pt idx="761">
                  <c:v>46247</c:v>
                </c:pt>
                <c:pt idx="762">
                  <c:v>46248</c:v>
                </c:pt>
                <c:pt idx="763">
                  <c:v>46251</c:v>
                </c:pt>
                <c:pt idx="764">
                  <c:v>46252</c:v>
                </c:pt>
                <c:pt idx="765">
                  <c:v>46253</c:v>
                </c:pt>
                <c:pt idx="766">
                  <c:v>46254</c:v>
                </c:pt>
                <c:pt idx="767">
                  <c:v>46255</c:v>
                </c:pt>
                <c:pt idx="768">
                  <c:v>46258</c:v>
                </c:pt>
                <c:pt idx="769">
                  <c:v>46259</c:v>
                </c:pt>
                <c:pt idx="770">
                  <c:v>46260</c:v>
                </c:pt>
                <c:pt idx="771">
                  <c:v>46261</c:v>
                </c:pt>
                <c:pt idx="772">
                  <c:v>46262</c:v>
                </c:pt>
                <c:pt idx="773">
                  <c:v>46265</c:v>
                </c:pt>
                <c:pt idx="774">
                  <c:v>46266</c:v>
                </c:pt>
                <c:pt idx="775">
                  <c:v>46267</c:v>
                </c:pt>
                <c:pt idx="776">
                  <c:v>46268</c:v>
                </c:pt>
                <c:pt idx="777">
                  <c:v>46269</c:v>
                </c:pt>
                <c:pt idx="778">
                  <c:v>46272</c:v>
                </c:pt>
                <c:pt idx="779">
                  <c:v>46273</c:v>
                </c:pt>
                <c:pt idx="780">
                  <c:v>46274</c:v>
                </c:pt>
                <c:pt idx="781">
                  <c:v>46275</c:v>
                </c:pt>
                <c:pt idx="782">
                  <c:v>46276</c:v>
                </c:pt>
                <c:pt idx="783">
                  <c:v>46279</c:v>
                </c:pt>
                <c:pt idx="784">
                  <c:v>46280</c:v>
                </c:pt>
                <c:pt idx="785">
                  <c:v>46281</c:v>
                </c:pt>
                <c:pt idx="786">
                  <c:v>46282</c:v>
                </c:pt>
                <c:pt idx="787">
                  <c:v>46283</c:v>
                </c:pt>
                <c:pt idx="788">
                  <c:v>46286</c:v>
                </c:pt>
                <c:pt idx="789">
                  <c:v>46287</c:v>
                </c:pt>
                <c:pt idx="790">
                  <c:v>46288</c:v>
                </c:pt>
                <c:pt idx="791">
                  <c:v>46289</c:v>
                </c:pt>
                <c:pt idx="792">
                  <c:v>46290</c:v>
                </c:pt>
                <c:pt idx="793">
                  <c:v>46293</c:v>
                </c:pt>
                <c:pt idx="794">
                  <c:v>46294</c:v>
                </c:pt>
                <c:pt idx="795">
                  <c:v>46295</c:v>
                </c:pt>
                <c:pt idx="796">
                  <c:v>46296</c:v>
                </c:pt>
                <c:pt idx="797">
                  <c:v>46297</c:v>
                </c:pt>
                <c:pt idx="798">
                  <c:v>46300</c:v>
                </c:pt>
                <c:pt idx="799">
                  <c:v>46301</c:v>
                </c:pt>
                <c:pt idx="800">
                  <c:v>46302</c:v>
                </c:pt>
                <c:pt idx="801">
                  <c:v>46303</c:v>
                </c:pt>
                <c:pt idx="802">
                  <c:v>46304</c:v>
                </c:pt>
                <c:pt idx="803">
                  <c:v>46307</c:v>
                </c:pt>
                <c:pt idx="804">
                  <c:v>46308</c:v>
                </c:pt>
                <c:pt idx="805">
                  <c:v>46309</c:v>
                </c:pt>
                <c:pt idx="806">
                  <c:v>46310</c:v>
                </c:pt>
                <c:pt idx="807">
                  <c:v>46311</c:v>
                </c:pt>
                <c:pt idx="808">
                  <c:v>46314</c:v>
                </c:pt>
                <c:pt idx="809">
                  <c:v>46315</c:v>
                </c:pt>
                <c:pt idx="810">
                  <c:v>46316</c:v>
                </c:pt>
                <c:pt idx="811">
                  <c:v>46317</c:v>
                </c:pt>
                <c:pt idx="812">
                  <c:v>46318</c:v>
                </c:pt>
                <c:pt idx="813">
                  <c:v>46321</c:v>
                </c:pt>
                <c:pt idx="814">
                  <c:v>46322</c:v>
                </c:pt>
                <c:pt idx="815">
                  <c:v>46323</c:v>
                </c:pt>
                <c:pt idx="816">
                  <c:v>46324</c:v>
                </c:pt>
                <c:pt idx="817">
                  <c:v>46325</c:v>
                </c:pt>
                <c:pt idx="818">
                  <c:v>46328</c:v>
                </c:pt>
                <c:pt idx="819">
                  <c:v>46329</c:v>
                </c:pt>
                <c:pt idx="820">
                  <c:v>46330</c:v>
                </c:pt>
                <c:pt idx="821">
                  <c:v>46331</c:v>
                </c:pt>
                <c:pt idx="822">
                  <c:v>46332</c:v>
                </c:pt>
                <c:pt idx="823">
                  <c:v>46335</c:v>
                </c:pt>
                <c:pt idx="824">
                  <c:v>46336</c:v>
                </c:pt>
                <c:pt idx="825">
                  <c:v>46337</c:v>
                </c:pt>
                <c:pt idx="826">
                  <c:v>46338</c:v>
                </c:pt>
                <c:pt idx="827">
                  <c:v>46339</c:v>
                </c:pt>
                <c:pt idx="828">
                  <c:v>46342</c:v>
                </c:pt>
                <c:pt idx="829">
                  <c:v>46343</c:v>
                </c:pt>
                <c:pt idx="830">
                  <c:v>46344</c:v>
                </c:pt>
                <c:pt idx="831">
                  <c:v>46345</c:v>
                </c:pt>
                <c:pt idx="832">
                  <c:v>46346</c:v>
                </c:pt>
                <c:pt idx="833">
                  <c:v>46349</c:v>
                </c:pt>
                <c:pt idx="834">
                  <c:v>46350</c:v>
                </c:pt>
                <c:pt idx="835">
                  <c:v>46351</c:v>
                </c:pt>
                <c:pt idx="836">
                  <c:v>46352</c:v>
                </c:pt>
                <c:pt idx="837">
                  <c:v>46353</c:v>
                </c:pt>
                <c:pt idx="838">
                  <c:v>46356</c:v>
                </c:pt>
                <c:pt idx="839">
                  <c:v>46357</c:v>
                </c:pt>
                <c:pt idx="840">
                  <c:v>46358</c:v>
                </c:pt>
                <c:pt idx="841">
                  <c:v>46359</c:v>
                </c:pt>
                <c:pt idx="842">
                  <c:v>46360</c:v>
                </c:pt>
                <c:pt idx="843">
                  <c:v>46363</c:v>
                </c:pt>
                <c:pt idx="844">
                  <c:v>46364</c:v>
                </c:pt>
                <c:pt idx="845">
                  <c:v>46365</c:v>
                </c:pt>
                <c:pt idx="846">
                  <c:v>46366</c:v>
                </c:pt>
                <c:pt idx="847">
                  <c:v>46367</c:v>
                </c:pt>
                <c:pt idx="848">
                  <c:v>46370</c:v>
                </c:pt>
                <c:pt idx="849">
                  <c:v>46371</c:v>
                </c:pt>
                <c:pt idx="850">
                  <c:v>46372</c:v>
                </c:pt>
                <c:pt idx="851">
                  <c:v>46373</c:v>
                </c:pt>
                <c:pt idx="852">
                  <c:v>46374</c:v>
                </c:pt>
                <c:pt idx="853">
                  <c:v>46377</c:v>
                </c:pt>
                <c:pt idx="854">
                  <c:v>46378</c:v>
                </c:pt>
                <c:pt idx="855">
                  <c:v>46379</c:v>
                </c:pt>
                <c:pt idx="856">
                  <c:v>46380</c:v>
                </c:pt>
                <c:pt idx="857">
                  <c:v>46381</c:v>
                </c:pt>
                <c:pt idx="858">
                  <c:v>46384</c:v>
                </c:pt>
                <c:pt idx="859">
                  <c:v>46385</c:v>
                </c:pt>
                <c:pt idx="860">
                  <c:v>46386</c:v>
                </c:pt>
                <c:pt idx="861">
                  <c:v>46387</c:v>
                </c:pt>
                <c:pt idx="862">
                  <c:v>46388</c:v>
                </c:pt>
                <c:pt idx="863">
                  <c:v>46391</c:v>
                </c:pt>
                <c:pt idx="864">
                  <c:v>46392</c:v>
                </c:pt>
                <c:pt idx="865">
                  <c:v>46393</c:v>
                </c:pt>
                <c:pt idx="866">
                  <c:v>46394</c:v>
                </c:pt>
                <c:pt idx="867">
                  <c:v>46395</c:v>
                </c:pt>
                <c:pt idx="868">
                  <c:v>46398</c:v>
                </c:pt>
                <c:pt idx="869">
                  <c:v>46399</c:v>
                </c:pt>
                <c:pt idx="870">
                  <c:v>46400</c:v>
                </c:pt>
                <c:pt idx="871">
                  <c:v>46401</c:v>
                </c:pt>
                <c:pt idx="872">
                  <c:v>46402</c:v>
                </c:pt>
                <c:pt idx="873">
                  <c:v>46405</c:v>
                </c:pt>
                <c:pt idx="874">
                  <c:v>46406</c:v>
                </c:pt>
                <c:pt idx="875">
                  <c:v>46407</c:v>
                </c:pt>
                <c:pt idx="876">
                  <c:v>46408</c:v>
                </c:pt>
                <c:pt idx="877">
                  <c:v>46409</c:v>
                </c:pt>
                <c:pt idx="878">
                  <c:v>46412</c:v>
                </c:pt>
                <c:pt idx="879">
                  <c:v>46413</c:v>
                </c:pt>
                <c:pt idx="880">
                  <c:v>46414</c:v>
                </c:pt>
                <c:pt idx="881">
                  <c:v>46415</c:v>
                </c:pt>
                <c:pt idx="882">
                  <c:v>46416</c:v>
                </c:pt>
                <c:pt idx="883">
                  <c:v>46419</c:v>
                </c:pt>
                <c:pt idx="884">
                  <c:v>46420</c:v>
                </c:pt>
                <c:pt idx="885">
                  <c:v>46421</c:v>
                </c:pt>
                <c:pt idx="886">
                  <c:v>46422</c:v>
                </c:pt>
                <c:pt idx="887">
                  <c:v>46423</c:v>
                </c:pt>
                <c:pt idx="888">
                  <c:v>46426</c:v>
                </c:pt>
                <c:pt idx="889">
                  <c:v>46427</c:v>
                </c:pt>
                <c:pt idx="890">
                  <c:v>46428</c:v>
                </c:pt>
                <c:pt idx="891">
                  <c:v>46429</c:v>
                </c:pt>
                <c:pt idx="892">
                  <c:v>46430</c:v>
                </c:pt>
                <c:pt idx="893">
                  <c:v>46433</c:v>
                </c:pt>
                <c:pt idx="894">
                  <c:v>46434</c:v>
                </c:pt>
                <c:pt idx="895">
                  <c:v>46435</c:v>
                </c:pt>
                <c:pt idx="896">
                  <c:v>46436</c:v>
                </c:pt>
                <c:pt idx="897">
                  <c:v>46437</c:v>
                </c:pt>
                <c:pt idx="898">
                  <c:v>46440</c:v>
                </c:pt>
                <c:pt idx="899">
                  <c:v>46441</c:v>
                </c:pt>
                <c:pt idx="900">
                  <c:v>46442</c:v>
                </c:pt>
                <c:pt idx="901">
                  <c:v>46443</c:v>
                </c:pt>
                <c:pt idx="902">
                  <c:v>46444</c:v>
                </c:pt>
                <c:pt idx="903">
                  <c:v>46447</c:v>
                </c:pt>
                <c:pt idx="904">
                  <c:v>46448</c:v>
                </c:pt>
                <c:pt idx="905">
                  <c:v>46449</c:v>
                </c:pt>
                <c:pt idx="906">
                  <c:v>46450</c:v>
                </c:pt>
                <c:pt idx="907">
                  <c:v>46451</c:v>
                </c:pt>
                <c:pt idx="908">
                  <c:v>46454</c:v>
                </c:pt>
                <c:pt idx="909">
                  <c:v>46455</c:v>
                </c:pt>
                <c:pt idx="910">
                  <c:v>46456</c:v>
                </c:pt>
                <c:pt idx="911">
                  <c:v>46457</c:v>
                </c:pt>
                <c:pt idx="912">
                  <c:v>46458</c:v>
                </c:pt>
                <c:pt idx="913">
                  <c:v>46461</c:v>
                </c:pt>
                <c:pt idx="914">
                  <c:v>46462</c:v>
                </c:pt>
                <c:pt idx="915">
                  <c:v>46463</c:v>
                </c:pt>
                <c:pt idx="916">
                  <c:v>46464</c:v>
                </c:pt>
                <c:pt idx="917">
                  <c:v>46465</c:v>
                </c:pt>
                <c:pt idx="918">
                  <c:v>46468</c:v>
                </c:pt>
                <c:pt idx="919">
                  <c:v>46469</c:v>
                </c:pt>
                <c:pt idx="920">
                  <c:v>46470</c:v>
                </c:pt>
                <c:pt idx="921">
                  <c:v>46471</c:v>
                </c:pt>
                <c:pt idx="922">
                  <c:v>46472</c:v>
                </c:pt>
                <c:pt idx="923">
                  <c:v>46475</c:v>
                </c:pt>
                <c:pt idx="924">
                  <c:v>46476</c:v>
                </c:pt>
                <c:pt idx="925">
                  <c:v>46477</c:v>
                </c:pt>
                <c:pt idx="926">
                  <c:v>46478</c:v>
                </c:pt>
                <c:pt idx="927">
                  <c:v>46479</c:v>
                </c:pt>
                <c:pt idx="928">
                  <c:v>46482</c:v>
                </c:pt>
                <c:pt idx="929">
                  <c:v>46483</c:v>
                </c:pt>
                <c:pt idx="930">
                  <c:v>46484</c:v>
                </c:pt>
                <c:pt idx="931">
                  <c:v>46485</c:v>
                </c:pt>
                <c:pt idx="932">
                  <c:v>46486</c:v>
                </c:pt>
                <c:pt idx="933">
                  <c:v>46489</c:v>
                </c:pt>
                <c:pt idx="934">
                  <c:v>46490</c:v>
                </c:pt>
                <c:pt idx="935">
                  <c:v>46491</c:v>
                </c:pt>
                <c:pt idx="936">
                  <c:v>46492</c:v>
                </c:pt>
                <c:pt idx="937">
                  <c:v>46493</c:v>
                </c:pt>
                <c:pt idx="938">
                  <c:v>46496</c:v>
                </c:pt>
                <c:pt idx="939">
                  <c:v>46497</c:v>
                </c:pt>
                <c:pt idx="940">
                  <c:v>46498</c:v>
                </c:pt>
                <c:pt idx="941">
                  <c:v>46499</c:v>
                </c:pt>
                <c:pt idx="942">
                  <c:v>46500</c:v>
                </c:pt>
                <c:pt idx="943">
                  <c:v>46503</c:v>
                </c:pt>
                <c:pt idx="944">
                  <c:v>46504</c:v>
                </c:pt>
                <c:pt idx="945">
                  <c:v>46505</c:v>
                </c:pt>
                <c:pt idx="946">
                  <c:v>46506</c:v>
                </c:pt>
                <c:pt idx="947">
                  <c:v>46507</c:v>
                </c:pt>
                <c:pt idx="948">
                  <c:v>46510</c:v>
                </c:pt>
                <c:pt idx="949">
                  <c:v>46511</c:v>
                </c:pt>
                <c:pt idx="950">
                  <c:v>46512</c:v>
                </c:pt>
                <c:pt idx="951">
                  <c:v>46513</c:v>
                </c:pt>
                <c:pt idx="952">
                  <c:v>46514</c:v>
                </c:pt>
                <c:pt idx="953">
                  <c:v>46517</c:v>
                </c:pt>
                <c:pt idx="954">
                  <c:v>46518</c:v>
                </c:pt>
                <c:pt idx="955">
                  <c:v>46519</c:v>
                </c:pt>
                <c:pt idx="956">
                  <c:v>46520</c:v>
                </c:pt>
                <c:pt idx="957">
                  <c:v>46521</c:v>
                </c:pt>
                <c:pt idx="958">
                  <c:v>46524</c:v>
                </c:pt>
                <c:pt idx="959">
                  <c:v>46525</c:v>
                </c:pt>
                <c:pt idx="960">
                  <c:v>46526</c:v>
                </c:pt>
                <c:pt idx="961">
                  <c:v>46527</c:v>
                </c:pt>
                <c:pt idx="962">
                  <c:v>46528</c:v>
                </c:pt>
                <c:pt idx="963">
                  <c:v>46531</c:v>
                </c:pt>
                <c:pt idx="964">
                  <c:v>46532</c:v>
                </c:pt>
                <c:pt idx="965">
                  <c:v>46533</c:v>
                </c:pt>
                <c:pt idx="966">
                  <c:v>46534</c:v>
                </c:pt>
                <c:pt idx="967">
                  <c:v>46535</c:v>
                </c:pt>
                <c:pt idx="968">
                  <c:v>46538</c:v>
                </c:pt>
                <c:pt idx="969">
                  <c:v>46539</c:v>
                </c:pt>
                <c:pt idx="970">
                  <c:v>46540</c:v>
                </c:pt>
                <c:pt idx="971">
                  <c:v>46541</c:v>
                </c:pt>
                <c:pt idx="972">
                  <c:v>46542</c:v>
                </c:pt>
                <c:pt idx="973">
                  <c:v>46545</c:v>
                </c:pt>
                <c:pt idx="974">
                  <c:v>46546</c:v>
                </c:pt>
                <c:pt idx="975">
                  <c:v>46547</c:v>
                </c:pt>
                <c:pt idx="976">
                  <c:v>46548</c:v>
                </c:pt>
                <c:pt idx="977">
                  <c:v>46549</c:v>
                </c:pt>
                <c:pt idx="978">
                  <c:v>46552</c:v>
                </c:pt>
                <c:pt idx="979">
                  <c:v>46553</c:v>
                </c:pt>
                <c:pt idx="980">
                  <c:v>46554</c:v>
                </c:pt>
                <c:pt idx="981">
                  <c:v>46555</c:v>
                </c:pt>
                <c:pt idx="982">
                  <c:v>46556</c:v>
                </c:pt>
                <c:pt idx="983">
                  <c:v>46559</c:v>
                </c:pt>
                <c:pt idx="984">
                  <c:v>46560</c:v>
                </c:pt>
                <c:pt idx="985">
                  <c:v>46561</c:v>
                </c:pt>
                <c:pt idx="986">
                  <c:v>46562</c:v>
                </c:pt>
                <c:pt idx="987">
                  <c:v>46563</c:v>
                </c:pt>
                <c:pt idx="988">
                  <c:v>46566</c:v>
                </c:pt>
                <c:pt idx="989">
                  <c:v>46567</c:v>
                </c:pt>
                <c:pt idx="990">
                  <c:v>46568</c:v>
                </c:pt>
                <c:pt idx="991">
                  <c:v>46569</c:v>
                </c:pt>
                <c:pt idx="992">
                  <c:v>46570</c:v>
                </c:pt>
                <c:pt idx="993">
                  <c:v>46573</c:v>
                </c:pt>
                <c:pt idx="994">
                  <c:v>46574</c:v>
                </c:pt>
                <c:pt idx="995">
                  <c:v>46575</c:v>
                </c:pt>
                <c:pt idx="996">
                  <c:v>46576</c:v>
                </c:pt>
                <c:pt idx="997">
                  <c:v>46577</c:v>
                </c:pt>
                <c:pt idx="998">
                  <c:v>46580</c:v>
                </c:pt>
              </c:numCache>
            </c:numRef>
          </c:cat>
          <c:val>
            <c:numRef>
              <c:f>Daily!$L$2:$L$1057</c:f>
            </c:numRef>
          </c:val>
          <c:smooth val="0"/>
          <c:extLst>
            <c:ext xmlns:c16="http://schemas.microsoft.com/office/drawing/2014/chart" uri="{C3380CC4-5D6E-409C-BE32-E72D297353CC}">
              <c16:uniqueId val="{00000011-094D-4E29-B010-D717A2A1A293}"/>
            </c:ext>
          </c:extLst>
        </c:ser>
        <c:ser>
          <c:idx val="11"/>
          <c:order val="11"/>
          <c:tx>
            <c:strRef>
              <c:f>Daily!$M$1</c:f>
              <c:strCache>
                <c:ptCount val="1"/>
                <c:pt idx="0">
                  <c:v>M+11</c:v>
                </c:pt>
              </c:strCache>
            </c:strRef>
          </c:tx>
          <c:spPr>
            <a:ln w="28575" cap="rnd" cmpd="sng" algn="ctr">
              <a:solidFill>
                <a:schemeClr val="accent6">
                  <a:lumMod val="60000"/>
                  <a:shade val="95000"/>
                  <a:satMod val="105000"/>
                </a:schemeClr>
              </a:solidFill>
              <a:prstDash val="solid"/>
              <a:round/>
            </a:ln>
            <a:effectLst/>
          </c:spPr>
          <c:marker>
            <c:symbol val="none"/>
          </c:marker>
          <c:cat>
            <c:numRef>
              <c:f>Daily!$A$2:$A$1000</c:f>
              <c:numCache>
                <c:formatCode>d\-mmm\-yy</c:formatCode>
                <c:ptCount val="999"/>
                <c:pt idx="0">
                  <c:v>45128</c:v>
                </c:pt>
                <c:pt idx="1">
                  <c:v>45131</c:v>
                </c:pt>
                <c:pt idx="2">
                  <c:v>45132</c:v>
                </c:pt>
                <c:pt idx="3">
                  <c:v>45133</c:v>
                </c:pt>
                <c:pt idx="4">
                  <c:v>45134</c:v>
                </c:pt>
                <c:pt idx="5">
                  <c:v>45135</c:v>
                </c:pt>
                <c:pt idx="6">
                  <c:v>45138</c:v>
                </c:pt>
                <c:pt idx="7">
                  <c:v>45139</c:v>
                </c:pt>
                <c:pt idx="8">
                  <c:v>45140</c:v>
                </c:pt>
                <c:pt idx="9">
                  <c:v>45141</c:v>
                </c:pt>
                <c:pt idx="10">
                  <c:v>45142</c:v>
                </c:pt>
                <c:pt idx="11">
                  <c:v>45145</c:v>
                </c:pt>
                <c:pt idx="12">
                  <c:v>45146</c:v>
                </c:pt>
                <c:pt idx="13">
                  <c:v>45147</c:v>
                </c:pt>
                <c:pt idx="14">
                  <c:v>45148</c:v>
                </c:pt>
                <c:pt idx="15">
                  <c:v>45149</c:v>
                </c:pt>
                <c:pt idx="16">
                  <c:v>45152</c:v>
                </c:pt>
                <c:pt idx="17">
                  <c:v>45153</c:v>
                </c:pt>
                <c:pt idx="18">
                  <c:v>45154</c:v>
                </c:pt>
                <c:pt idx="19">
                  <c:v>45155</c:v>
                </c:pt>
                <c:pt idx="20">
                  <c:v>45156</c:v>
                </c:pt>
                <c:pt idx="21">
                  <c:v>45159</c:v>
                </c:pt>
                <c:pt idx="22">
                  <c:v>45160</c:v>
                </c:pt>
                <c:pt idx="23">
                  <c:v>45161</c:v>
                </c:pt>
                <c:pt idx="24">
                  <c:v>45162</c:v>
                </c:pt>
                <c:pt idx="25">
                  <c:v>45163</c:v>
                </c:pt>
                <c:pt idx="26">
                  <c:v>45166</c:v>
                </c:pt>
                <c:pt idx="27">
                  <c:v>45167</c:v>
                </c:pt>
                <c:pt idx="28">
                  <c:v>45168</c:v>
                </c:pt>
                <c:pt idx="29">
                  <c:v>45169</c:v>
                </c:pt>
                <c:pt idx="30">
                  <c:v>45170</c:v>
                </c:pt>
                <c:pt idx="31">
                  <c:v>45173</c:v>
                </c:pt>
                <c:pt idx="32">
                  <c:v>45174</c:v>
                </c:pt>
                <c:pt idx="33">
                  <c:v>45175</c:v>
                </c:pt>
                <c:pt idx="34">
                  <c:v>45176</c:v>
                </c:pt>
                <c:pt idx="35">
                  <c:v>45177</c:v>
                </c:pt>
                <c:pt idx="36">
                  <c:v>45180</c:v>
                </c:pt>
                <c:pt idx="37">
                  <c:v>45181</c:v>
                </c:pt>
                <c:pt idx="38">
                  <c:v>45182</c:v>
                </c:pt>
                <c:pt idx="39">
                  <c:v>45183</c:v>
                </c:pt>
                <c:pt idx="40">
                  <c:v>45184</c:v>
                </c:pt>
                <c:pt idx="41">
                  <c:v>45187</c:v>
                </c:pt>
                <c:pt idx="42">
                  <c:v>45188</c:v>
                </c:pt>
                <c:pt idx="43">
                  <c:v>45189</c:v>
                </c:pt>
                <c:pt idx="44">
                  <c:v>45190</c:v>
                </c:pt>
                <c:pt idx="45">
                  <c:v>45191</c:v>
                </c:pt>
                <c:pt idx="46">
                  <c:v>45194</c:v>
                </c:pt>
                <c:pt idx="47">
                  <c:v>45195</c:v>
                </c:pt>
                <c:pt idx="48">
                  <c:v>45196</c:v>
                </c:pt>
                <c:pt idx="49">
                  <c:v>45197</c:v>
                </c:pt>
                <c:pt idx="50">
                  <c:v>45208</c:v>
                </c:pt>
                <c:pt idx="51">
                  <c:v>45209</c:v>
                </c:pt>
                <c:pt idx="52">
                  <c:v>45210</c:v>
                </c:pt>
                <c:pt idx="53">
                  <c:v>45211</c:v>
                </c:pt>
                <c:pt idx="54">
                  <c:v>45212</c:v>
                </c:pt>
                <c:pt idx="55">
                  <c:v>45215</c:v>
                </c:pt>
                <c:pt idx="56">
                  <c:v>45216</c:v>
                </c:pt>
                <c:pt idx="57">
                  <c:v>45217</c:v>
                </c:pt>
                <c:pt idx="58">
                  <c:v>45218</c:v>
                </c:pt>
                <c:pt idx="59">
                  <c:v>45219</c:v>
                </c:pt>
                <c:pt idx="60">
                  <c:v>45222</c:v>
                </c:pt>
                <c:pt idx="61">
                  <c:v>45223</c:v>
                </c:pt>
                <c:pt idx="62">
                  <c:v>45224</c:v>
                </c:pt>
                <c:pt idx="63">
                  <c:v>45225</c:v>
                </c:pt>
                <c:pt idx="64">
                  <c:v>45226</c:v>
                </c:pt>
                <c:pt idx="65">
                  <c:v>45229</c:v>
                </c:pt>
                <c:pt idx="66">
                  <c:v>45230</c:v>
                </c:pt>
                <c:pt idx="67">
                  <c:v>45231</c:v>
                </c:pt>
                <c:pt idx="68">
                  <c:v>45232</c:v>
                </c:pt>
                <c:pt idx="69">
                  <c:v>45233</c:v>
                </c:pt>
                <c:pt idx="70">
                  <c:v>45236</c:v>
                </c:pt>
                <c:pt idx="71">
                  <c:v>45237</c:v>
                </c:pt>
                <c:pt idx="72">
                  <c:v>45238</c:v>
                </c:pt>
                <c:pt idx="73">
                  <c:v>45239</c:v>
                </c:pt>
                <c:pt idx="74">
                  <c:v>45240</c:v>
                </c:pt>
                <c:pt idx="75">
                  <c:v>45243</c:v>
                </c:pt>
                <c:pt idx="76">
                  <c:v>45244</c:v>
                </c:pt>
                <c:pt idx="77">
                  <c:v>45245</c:v>
                </c:pt>
                <c:pt idx="78">
                  <c:v>45246</c:v>
                </c:pt>
                <c:pt idx="79">
                  <c:v>45247</c:v>
                </c:pt>
                <c:pt idx="80">
                  <c:v>45250</c:v>
                </c:pt>
                <c:pt idx="81">
                  <c:v>45251</c:v>
                </c:pt>
                <c:pt idx="82">
                  <c:v>45252</c:v>
                </c:pt>
                <c:pt idx="83">
                  <c:v>45253</c:v>
                </c:pt>
                <c:pt idx="84">
                  <c:v>45254</c:v>
                </c:pt>
                <c:pt idx="85">
                  <c:v>45257</c:v>
                </c:pt>
                <c:pt idx="86">
                  <c:v>45258</c:v>
                </c:pt>
                <c:pt idx="87">
                  <c:v>45259</c:v>
                </c:pt>
                <c:pt idx="88">
                  <c:v>45260</c:v>
                </c:pt>
                <c:pt idx="89">
                  <c:v>45261</c:v>
                </c:pt>
                <c:pt idx="90">
                  <c:v>45264</c:v>
                </c:pt>
                <c:pt idx="91">
                  <c:v>45265</c:v>
                </c:pt>
                <c:pt idx="92">
                  <c:v>45266</c:v>
                </c:pt>
                <c:pt idx="93">
                  <c:v>45267</c:v>
                </c:pt>
                <c:pt idx="94">
                  <c:v>45268</c:v>
                </c:pt>
                <c:pt idx="95">
                  <c:v>45271</c:v>
                </c:pt>
                <c:pt idx="96">
                  <c:v>45272</c:v>
                </c:pt>
                <c:pt idx="97">
                  <c:v>45273</c:v>
                </c:pt>
                <c:pt idx="98">
                  <c:v>45274</c:v>
                </c:pt>
                <c:pt idx="99">
                  <c:v>45275</c:v>
                </c:pt>
                <c:pt idx="100">
                  <c:v>45278</c:v>
                </c:pt>
                <c:pt idx="101">
                  <c:v>45279</c:v>
                </c:pt>
                <c:pt idx="102">
                  <c:v>45280</c:v>
                </c:pt>
                <c:pt idx="103">
                  <c:v>45281</c:v>
                </c:pt>
                <c:pt idx="104">
                  <c:v>45282</c:v>
                </c:pt>
                <c:pt idx="105">
                  <c:v>45285</c:v>
                </c:pt>
                <c:pt idx="106">
                  <c:v>45286</c:v>
                </c:pt>
                <c:pt idx="107">
                  <c:v>45287</c:v>
                </c:pt>
                <c:pt idx="108">
                  <c:v>45288</c:v>
                </c:pt>
                <c:pt idx="109">
                  <c:v>45289</c:v>
                </c:pt>
                <c:pt idx="110">
                  <c:v>45293</c:v>
                </c:pt>
                <c:pt idx="111">
                  <c:v>45294</c:v>
                </c:pt>
                <c:pt idx="112">
                  <c:v>45295</c:v>
                </c:pt>
                <c:pt idx="113">
                  <c:v>45296</c:v>
                </c:pt>
                <c:pt idx="114">
                  <c:v>45299</c:v>
                </c:pt>
                <c:pt idx="115">
                  <c:v>45300</c:v>
                </c:pt>
                <c:pt idx="116">
                  <c:v>45301</c:v>
                </c:pt>
                <c:pt idx="117">
                  <c:v>45302</c:v>
                </c:pt>
                <c:pt idx="118">
                  <c:v>45303</c:v>
                </c:pt>
                <c:pt idx="119">
                  <c:v>45306</c:v>
                </c:pt>
                <c:pt idx="120">
                  <c:v>45307</c:v>
                </c:pt>
                <c:pt idx="121">
                  <c:v>45308</c:v>
                </c:pt>
                <c:pt idx="122">
                  <c:v>45309</c:v>
                </c:pt>
                <c:pt idx="123">
                  <c:v>45310</c:v>
                </c:pt>
                <c:pt idx="124">
                  <c:v>45313</c:v>
                </c:pt>
                <c:pt idx="125">
                  <c:v>45314</c:v>
                </c:pt>
                <c:pt idx="126">
                  <c:v>45315</c:v>
                </c:pt>
                <c:pt idx="127">
                  <c:v>45316</c:v>
                </c:pt>
                <c:pt idx="128">
                  <c:v>45317</c:v>
                </c:pt>
                <c:pt idx="129">
                  <c:v>45320</c:v>
                </c:pt>
                <c:pt idx="130">
                  <c:v>45321</c:v>
                </c:pt>
                <c:pt idx="131">
                  <c:v>45322</c:v>
                </c:pt>
                <c:pt idx="132">
                  <c:v>45323</c:v>
                </c:pt>
                <c:pt idx="133">
                  <c:v>45324</c:v>
                </c:pt>
                <c:pt idx="134">
                  <c:v>45327</c:v>
                </c:pt>
                <c:pt idx="135">
                  <c:v>45328</c:v>
                </c:pt>
                <c:pt idx="136">
                  <c:v>45329</c:v>
                </c:pt>
                <c:pt idx="137">
                  <c:v>45330</c:v>
                </c:pt>
                <c:pt idx="138">
                  <c:v>45341</c:v>
                </c:pt>
                <c:pt idx="139">
                  <c:v>45342</c:v>
                </c:pt>
                <c:pt idx="140">
                  <c:v>45343</c:v>
                </c:pt>
                <c:pt idx="141">
                  <c:v>45344</c:v>
                </c:pt>
                <c:pt idx="142">
                  <c:v>45345</c:v>
                </c:pt>
                <c:pt idx="143">
                  <c:v>45348</c:v>
                </c:pt>
                <c:pt idx="144">
                  <c:v>45349</c:v>
                </c:pt>
                <c:pt idx="145">
                  <c:v>45350</c:v>
                </c:pt>
                <c:pt idx="146">
                  <c:v>45351</c:v>
                </c:pt>
                <c:pt idx="147">
                  <c:v>45352</c:v>
                </c:pt>
                <c:pt idx="148">
                  <c:v>45355</c:v>
                </c:pt>
                <c:pt idx="149">
                  <c:v>45356</c:v>
                </c:pt>
                <c:pt idx="150">
                  <c:v>45357</c:v>
                </c:pt>
                <c:pt idx="151">
                  <c:v>45358</c:v>
                </c:pt>
                <c:pt idx="152">
                  <c:v>45359</c:v>
                </c:pt>
                <c:pt idx="153">
                  <c:v>45362</c:v>
                </c:pt>
                <c:pt idx="154">
                  <c:v>45363</c:v>
                </c:pt>
                <c:pt idx="155">
                  <c:v>45364</c:v>
                </c:pt>
                <c:pt idx="156">
                  <c:v>45365</c:v>
                </c:pt>
                <c:pt idx="157">
                  <c:v>45366</c:v>
                </c:pt>
                <c:pt idx="158">
                  <c:v>45369</c:v>
                </c:pt>
                <c:pt idx="159">
                  <c:v>45370</c:v>
                </c:pt>
                <c:pt idx="160">
                  <c:v>45371</c:v>
                </c:pt>
                <c:pt idx="161">
                  <c:v>45372</c:v>
                </c:pt>
                <c:pt idx="162">
                  <c:v>45373</c:v>
                </c:pt>
                <c:pt idx="163">
                  <c:v>45376</c:v>
                </c:pt>
                <c:pt idx="164">
                  <c:v>45377</c:v>
                </c:pt>
                <c:pt idx="165">
                  <c:v>45378</c:v>
                </c:pt>
                <c:pt idx="166">
                  <c:v>45379</c:v>
                </c:pt>
                <c:pt idx="167">
                  <c:v>45380</c:v>
                </c:pt>
                <c:pt idx="168">
                  <c:v>45383</c:v>
                </c:pt>
                <c:pt idx="169">
                  <c:v>45384</c:v>
                </c:pt>
                <c:pt idx="170">
                  <c:v>45385</c:v>
                </c:pt>
                <c:pt idx="171">
                  <c:v>45390</c:v>
                </c:pt>
                <c:pt idx="172">
                  <c:v>45391</c:v>
                </c:pt>
                <c:pt idx="173">
                  <c:v>45392</c:v>
                </c:pt>
                <c:pt idx="174">
                  <c:v>45393</c:v>
                </c:pt>
                <c:pt idx="175">
                  <c:v>45394</c:v>
                </c:pt>
                <c:pt idx="176">
                  <c:v>45397</c:v>
                </c:pt>
                <c:pt idx="177">
                  <c:v>45398</c:v>
                </c:pt>
                <c:pt idx="178">
                  <c:v>45399</c:v>
                </c:pt>
                <c:pt idx="179">
                  <c:v>45400</c:v>
                </c:pt>
                <c:pt idx="180">
                  <c:v>45401</c:v>
                </c:pt>
                <c:pt idx="181">
                  <c:v>45404</c:v>
                </c:pt>
                <c:pt idx="182">
                  <c:v>45405</c:v>
                </c:pt>
                <c:pt idx="183">
                  <c:v>45406</c:v>
                </c:pt>
                <c:pt idx="184">
                  <c:v>45407</c:v>
                </c:pt>
                <c:pt idx="185">
                  <c:v>45408</c:v>
                </c:pt>
                <c:pt idx="186">
                  <c:v>45411</c:v>
                </c:pt>
                <c:pt idx="187">
                  <c:v>45412</c:v>
                </c:pt>
                <c:pt idx="188">
                  <c:v>45418</c:v>
                </c:pt>
                <c:pt idx="189">
                  <c:v>45419</c:v>
                </c:pt>
                <c:pt idx="190">
                  <c:v>45420</c:v>
                </c:pt>
                <c:pt idx="191">
                  <c:v>45421</c:v>
                </c:pt>
                <c:pt idx="192">
                  <c:v>45422</c:v>
                </c:pt>
                <c:pt idx="193">
                  <c:v>45425</c:v>
                </c:pt>
                <c:pt idx="194">
                  <c:v>45426</c:v>
                </c:pt>
                <c:pt idx="195">
                  <c:v>45427</c:v>
                </c:pt>
                <c:pt idx="196">
                  <c:v>45428</c:v>
                </c:pt>
                <c:pt idx="197">
                  <c:v>45429</c:v>
                </c:pt>
                <c:pt idx="198">
                  <c:v>45432</c:v>
                </c:pt>
                <c:pt idx="199">
                  <c:v>45433</c:v>
                </c:pt>
                <c:pt idx="200">
                  <c:v>45434</c:v>
                </c:pt>
                <c:pt idx="201">
                  <c:v>45435</c:v>
                </c:pt>
                <c:pt idx="202">
                  <c:v>45436</c:v>
                </c:pt>
                <c:pt idx="203">
                  <c:v>45439</c:v>
                </c:pt>
                <c:pt idx="204">
                  <c:v>45440</c:v>
                </c:pt>
                <c:pt idx="205">
                  <c:v>45441</c:v>
                </c:pt>
                <c:pt idx="206">
                  <c:v>45442</c:v>
                </c:pt>
                <c:pt idx="207">
                  <c:v>45443</c:v>
                </c:pt>
                <c:pt idx="208">
                  <c:v>45446</c:v>
                </c:pt>
                <c:pt idx="209">
                  <c:v>45447</c:v>
                </c:pt>
                <c:pt idx="210">
                  <c:v>45448</c:v>
                </c:pt>
                <c:pt idx="211">
                  <c:v>45449</c:v>
                </c:pt>
                <c:pt idx="212">
                  <c:v>45450</c:v>
                </c:pt>
                <c:pt idx="213">
                  <c:v>45454</c:v>
                </c:pt>
                <c:pt idx="214">
                  <c:v>45455</c:v>
                </c:pt>
                <c:pt idx="215">
                  <c:v>45456</c:v>
                </c:pt>
                <c:pt idx="216">
                  <c:v>45457</c:v>
                </c:pt>
                <c:pt idx="217">
                  <c:v>45460</c:v>
                </c:pt>
                <c:pt idx="218">
                  <c:v>45461</c:v>
                </c:pt>
                <c:pt idx="219">
                  <c:v>45462</c:v>
                </c:pt>
                <c:pt idx="220">
                  <c:v>45463</c:v>
                </c:pt>
                <c:pt idx="221">
                  <c:v>45464</c:v>
                </c:pt>
                <c:pt idx="222">
                  <c:v>45467</c:v>
                </c:pt>
                <c:pt idx="223">
                  <c:v>45468</c:v>
                </c:pt>
                <c:pt idx="224">
                  <c:v>45469</c:v>
                </c:pt>
                <c:pt idx="225">
                  <c:v>45470</c:v>
                </c:pt>
                <c:pt idx="226">
                  <c:v>45471</c:v>
                </c:pt>
                <c:pt idx="227">
                  <c:v>45474</c:v>
                </c:pt>
                <c:pt idx="228">
                  <c:v>45475</c:v>
                </c:pt>
                <c:pt idx="229">
                  <c:v>45476</c:v>
                </c:pt>
                <c:pt idx="230">
                  <c:v>45477</c:v>
                </c:pt>
                <c:pt idx="231">
                  <c:v>45478</c:v>
                </c:pt>
                <c:pt idx="232">
                  <c:v>45481</c:v>
                </c:pt>
                <c:pt idx="233">
                  <c:v>45482</c:v>
                </c:pt>
                <c:pt idx="234">
                  <c:v>45483</c:v>
                </c:pt>
                <c:pt idx="235">
                  <c:v>45484</c:v>
                </c:pt>
                <c:pt idx="236">
                  <c:v>45485</c:v>
                </c:pt>
                <c:pt idx="237">
                  <c:v>45488</c:v>
                </c:pt>
                <c:pt idx="238">
                  <c:v>45489</c:v>
                </c:pt>
                <c:pt idx="239">
                  <c:v>45490</c:v>
                </c:pt>
                <c:pt idx="240">
                  <c:v>45491</c:v>
                </c:pt>
                <c:pt idx="241">
                  <c:v>45492</c:v>
                </c:pt>
                <c:pt idx="242">
                  <c:v>45495</c:v>
                </c:pt>
                <c:pt idx="243">
                  <c:v>45496</c:v>
                </c:pt>
                <c:pt idx="244">
                  <c:v>45497</c:v>
                </c:pt>
                <c:pt idx="245">
                  <c:v>45498</c:v>
                </c:pt>
                <c:pt idx="246">
                  <c:v>45499</c:v>
                </c:pt>
                <c:pt idx="247">
                  <c:v>45502</c:v>
                </c:pt>
                <c:pt idx="248">
                  <c:v>45503</c:v>
                </c:pt>
                <c:pt idx="249">
                  <c:v>45504</c:v>
                </c:pt>
                <c:pt idx="250">
                  <c:v>45505</c:v>
                </c:pt>
                <c:pt idx="251">
                  <c:v>45506</c:v>
                </c:pt>
                <c:pt idx="252">
                  <c:v>45509</c:v>
                </c:pt>
                <c:pt idx="253">
                  <c:v>45510</c:v>
                </c:pt>
                <c:pt idx="254">
                  <c:v>45511</c:v>
                </c:pt>
                <c:pt idx="255">
                  <c:v>45512</c:v>
                </c:pt>
                <c:pt idx="256">
                  <c:v>45513</c:v>
                </c:pt>
                <c:pt idx="257">
                  <c:v>45516</c:v>
                </c:pt>
                <c:pt idx="258">
                  <c:v>45517</c:v>
                </c:pt>
                <c:pt idx="259">
                  <c:v>45518</c:v>
                </c:pt>
                <c:pt idx="260">
                  <c:v>45519</c:v>
                </c:pt>
                <c:pt idx="261">
                  <c:v>45520</c:v>
                </c:pt>
                <c:pt idx="262">
                  <c:v>45523</c:v>
                </c:pt>
                <c:pt idx="263">
                  <c:v>45524</c:v>
                </c:pt>
                <c:pt idx="264">
                  <c:v>45525</c:v>
                </c:pt>
                <c:pt idx="265">
                  <c:v>45526</c:v>
                </c:pt>
                <c:pt idx="266">
                  <c:v>45527</c:v>
                </c:pt>
                <c:pt idx="267">
                  <c:v>45530</c:v>
                </c:pt>
                <c:pt idx="268">
                  <c:v>45531</c:v>
                </c:pt>
                <c:pt idx="269">
                  <c:v>45532</c:v>
                </c:pt>
                <c:pt idx="270">
                  <c:v>45533</c:v>
                </c:pt>
                <c:pt idx="271">
                  <c:v>45534</c:v>
                </c:pt>
                <c:pt idx="272">
                  <c:v>45537</c:v>
                </c:pt>
                <c:pt idx="273">
                  <c:v>45538</c:v>
                </c:pt>
                <c:pt idx="274">
                  <c:v>45539</c:v>
                </c:pt>
                <c:pt idx="275">
                  <c:v>45540</c:v>
                </c:pt>
                <c:pt idx="276">
                  <c:v>45541</c:v>
                </c:pt>
                <c:pt idx="277">
                  <c:v>45544</c:v>
                </c:pt>
                <c:pt idx="278">
                  <c:v>45545</c:v>
                </c:pt>
                <c:pt idx="279">
                  <c:v>45546</c:v>
                </c:pt>
                <c:pt idx="280">
                  <c:v>45547</c:v>
                </c:pt>
                <c:pt idx="281">
                  <c:v>45548</c:v>
                </c:pt>
                <c:pt idx="282">
                  <c:v>45553</c:v>
                </c:pt>
                <c:pt idx="283">
                  <c:v>45554</c:v>
                </c:pt>
                <c:pt idx="284">
                  <c:v>45555</c:v>
                </c:pt>
                <c:pt idx="285">
                  <c:v>45558</c:v>
                </c:pt>
                <c:pt idx="286">
                  <c:v>45559</c:v>
                </c:pt>
                <c:pt idx="287">
                  <c:v>45560</c:v>
                </c:pt>
                <c:pt idx="288">
                  <c:v>45561</c:v>
                </c:pt>
                <c:pt idx="289">
                  <c:v>45562</c:v>
                </c:pt>
                <c:pt idx="290">
                  <c:v>45565</c:v>
                </c:pt>
                <c:pt idx="291">
                  <c:v>45573</c:v>
                </c:pt>
                <c:pt idx="292">
                  <c:v>45574</c:v>
                </c:pt>
                <c:pt idx="293">
                  <c:v>45575</c:v>
                </c:pt>
                <c:pt idx="294">
                  <c:v>45576</c:v>
                </c:pt>
                <c:pt idx="295">
                  <c:v>45579</c:v>
                </c:pt>
                <c:pt idx="296">
                  <c:v>45580</c:v>
                </c:pt>
                <c:pt idx="297">
                  <c:v>45581</c:v>
                </c:pt>
                <c:pt idx="298">
                  <c:v>45582</c:v>
                </c:pt>
                <c:pt idx="299">
                  <c:v>45583</c:v>
                </c:pt>
                <c:pt idx="300">
                  <c:v>45586</c:v>
                </c:pt>
                <c:pt idx="301">
                  <c:v>45587</c:v>
                </c:pt>
                <c:pt idx="302">
                  <c:v>45588</c:v>
                </c:pt>
                <c:pt idx="303">
                  <c:v>45589</c:v>
                </c:pt>
                <c:pt idx="304">
                  <c:v>45590</c:v>
                </c:pt>
                <c:pt idx="305">
                  <c:v>45593</c:v>
                </c:pt>
                <c:pt idx="306">
                  <c:v>45594</c:v>
                </c:pt>
                <c:pt idx="307">
                  <c:v>45595</c:v>
                </c:pt>
                <c:pt idx="308">
                  <c:v>45596</c:v>
                </c:pt>
                <c:pt idx="309">
                  <c:v>45597</c:v>
                </c:pt>
                <c:pt idx="310">
                  <c:v>45600</c:v>
                </c:pt>
                <c:pt idx="311">
                  <c:v>45601</c:v>
                </c:pt>
                <c:pt idx="312">
                  <c:v>45602</c:v>
                </c:pt>
                <c:pt idx="313">
                  <c:v>45603</c:v>
                </c:pt>
                <c:pt idx="314">
                  <c:v>45604</c:v>
                </c:pt>
                <c:pt idx="315">
                  <c:v>45607</c:v>
                </c:pt>
                <c:pt idx="316">
                  <c:v>45608</c:v>
                </c:pt>
                <c:pt idx="317">
                  <c:v>45609</c:v>
                </c:pt>
                <c:pt idx="318">
                  <c:v>45610</c:v>
                </c:pt>
                <c:pt idx="319">
                  <c:v>45611</c:v>
                </c:pt>
                <c:pt idx="320">
                  <c:v>45614</c:v>
                </c:pt>
                <c:pt idx="321">
                  <c:v>45615</c:v>
                </c:pt>
                <c:pt idx="322">
                  <c:v>45616</c:v>
                </c:pt>
                <c:pt idx="323">
                  <c:v>45617</c:v>
                </c:pt>
                <c:pt idx="324">
                  <c:v>45618</c:v>
                </c:pt>
                <c:pt idx="325">
                  <c:v>45621</c:v>
                </c:pt>
                <c:pt idx="326">
                  <c:v>45622</c:v>
                </c:pt>
                <c:pt idx="327">
                  <c:v>45623</c:v>
                </c:pt>
                <c:pt idx="328">
                  <c:v>45624</c:v>
                </c:pt>
                <c:pt idx="329">
                  <c:v>45625</c:v>
                </c:pt>
                <c:pt idx="330">
                  <c:v>45628</c:v>
                </c:pt>
                <c:pt idx="331">
                  <c:v>45629</c:v>
                </c:pt>
                <c:pt idx="332">
                  <c:v>45630</c:v>
                </c:pt>
                <c:pt idx="333">
                  <c:v>45631</c:v>
                </c:pt>
                <c:pt idx="334">
                  <c:v>45632</c:v>
                </c:pt>
                <c:pt idx="335">
                  <c:v>45635</c:v>
                </c:pt>
                <c:pt idx="336">
                  <c:v>45636</c:v>
                </c:pt>
                <c:pt idx="337">
                  <c:v>45637</c:v>
                </c:pt>
                <c:pt idx="338">
                  <c:v>45638</c:v>
                </c:pt>
                <c:pt idx="339">
                  <c:v>45639</c:v>
                </c:pt>
                <c:pt idx="340">
                  <c:v>45642</c:v>
                </c:pt>
                <c:pt idx="341">
                  <c:v>45643</c:v>
                </c:pt>
                <c:pt idx="342">
                  <c:v>45644</c:v>
                </c:pt>
                <c:pt idx="343">
                  <c:v>45645</c:v>
                </c:pt>
                <c:pt idx="344">
                  <c:v>45646</c:v>
                </c:pt>
                <c:pt idx="345">
                  <c:v>45649</c:v>
                </c:pt>
                <c:pt idx="346">
                  <c:v>45650</c:v>
                </c:pt>
                <c:pt idx="347">
                  <c:v>45651</c:v>
                </c:pt>
                <c:pt idx="348">
                  <c:v>45652</c:v>
                </c:pt>
                <c:pt idx="349">
                  <c:v>45653</c:v>
                </c:pt>
                <c:pt idx="350">
                  <c:v>45656</c:v>
                </c:pt>
                <c:pt idx="351">
                  <c:v>45657</c:v>
                </c:pt>
                <c:pt idx="352">
                  <c:v>45659</c:v>
                </c:pt>
                <c:pt idx="353">
                  <c:v>45660</c:v>
                </c:pt>
                <c:pt idx="354">
                  <c:v>45663</c:v>
                </c:pt>
                <c:pt idx="355">
                  <c:v>45664</c:v>
                </c:pt>
                <c:pt idx="356">
                  <c:v>45665</c:v>
                </c:pt>
                <c:pt idx="357">
                  <c:v>45666</c:v>
                </c:pt>
                <c:pt idx="358">
                  <c:v>45667</c:v>
                </c:pt>
                <c:pt idx="359">
                  <c:v>45670</c:v>
                </c:pt>
                <c:pt idx="360">
                  <c:v>45671</c:v>
                </c:pt>
                <c:pt idx="361">
                  <c:v>45672</c:v>
                </c:pt>
                <c:pt idx="362">
                  <c:v>45673</c:v>
                </c:pt>
                <c:pt idx="363">
                  <c:v>45674</c:v>
                </c:pt>
                <c:pt idx="364">
                  <c:v>45677</c:v>
                </c:pt>
                <c:pt idx="365">
                  <c:v>45678</c:v>
                </c:pt>
                <c:pt idx="366">
                  <c:v>45679</c:v>
                </c:pt>
                <c:pt idx="367">
                  <c:v>45680</c:v>
                </c:pt>
                <c:pt idx="368">
                  <c:v>45681</c:v>
                </c:pt>
                <c:pt idx="369">
                  <c:v>45684</c:v>
                </c:pt>
                <c:pt idx="370">
                  <c:v>45693</c:v>
                </c:pt>
                <c:pt idx="371">
                  <c:v>45694</c:v>
                </c:pt>
                <c:pt idx="372">
                  <c:v>45695</c:v>
                </c:pt>
                <c:pt idx="373">
                  <c:v>45698</c:v>
                </c:pt>
                <c:pt idx="374">
                  <c:v>45699</c:v>
                </c:pt>
                <c:pt idx="375">
                  <c:v>45700</c:v>
                </c:pt>
                <c:pt idx="376">
                  <c:v>45701</c:v>
                </c:pt>
                <c:pt idx="377">
                  <c:v>45702</c:v>
                </c:pt>
                <c:pt idx="378">
                  <c:v>45705</c:v>
                </c:pt>
                <c:pt idx="379">
                  <c:v>45706</c:v>
                </c:pt>
                <c:pt idx="380">
                  <c:v>45707</c:v>
                </c:pt>
                <c:pt idx="381">
                  <c:v>45708</c:v>
                </c:pt>
                <c:pt idx="382">
                  <c:v>45709</c:v>
                </c:pt>
                <c:pt idx="383">
                  <c:v>45712</c:v>
                </c:pt>
                <c:pt idx="384">
                  <c:v>45713</c:v>
                </c:pt>
                <c:pt idx="385">
                  <c:v>45714</c:v>
                </c:pt>
                <c:pt idx="386">
                  <c:v>45715</c:v>
                </c:pt>
                <c:pt idx="387">
                  <c:v>45716</c:v>
                </c:pt>
                <c:pt idx="388">
                  <c:v>45719</c:v>
                </c:pt>
                <c:pt idx="389">
                  <c:v>45720</c:v>
                </c:pt>
                <c:pt idx="390">
                  <c:v>45721</c:v>
                </c:pt>
                <c:pt idx="391">
                  <c:v>45722</c:v>
                </c:pt>
                <c:pt idx="392">
                  <c:v>45723</c:v>
                </c:pt>
                <c:pt idx="393">
                  <c:v>45726</c:v>
                </c:pt>
                <c:pt idx="394">
                  <c:v>45727</c:v>
                </c:pt>
                <c:pt idx="395">
                  <c:v>45728</c:v>
                </c:pt>
                <c:pt idx="396">
                  <c:v>45729</c:v>
                </c:pt>
                <c:pt idx="397">
                  <c:v>45730</c:v>
                </c:pt>
                <c:pt idx="398">
                  <c:v>45733</c:v>
                </c:pt>
                <c:pt idx="399">
                  <c:v>45734</c:v>
                </c:pt>
                <c:pt idx="400">
                  <c:v>45735</c:v>
                </c:pt>
                <c:pt idx="401">
                  <c:v>45736</c:v>
                </c:pt>
                <c:pt idx="402">
                  <c:v>45737</c:v>
                </c:pt>
                <c:pt idx="403">
                  <c:v>45740</c:v>
                </c:pt>
                <c:pt idx="404">
                  <c:v>45741</c:v>
                </c:pt>
                <c:pt idx="405">
                  <c:v>45742</c:v>
                </c:pt>
                <c:pt idx="406">
                  <c:v>45743</c:v>
                </c:pt>
                <c:pt idx="407">
                  <c:v>45744</c:v>
                </c:pt>
                <c:pt idx="408">
                  <c:v>45747</c:v>
                </c:pt>
                <c:pt idx="409">
                  <c:v>45748</c:v>
                </c:pt>
                <c:pt idx="410">
                  <c:v>45749</c:v>
                </c:pt>
                <c:pt idx="411">
                  <c:v>45750</c:v>
                </c:pt>
                <c:pt idx="412">
                  <c:v>45754</c:v>
                </c:pt>
                <c:pt idx="413">
                  <c:v>45755</c:v>
                </c:pt>
                <c:pt idx="414">
                  <c:v>45756</c:v>
                </c:pt>
                <c:pt idx="415">
                  <c:v>45757</c:v>
                </c:pt>
                <c:pt idx="416">
                  <c:v>45758</c:v>
                </c:pt>
                <c:pt idx="417">
                  <c:v>45761</c:v>
                </c:pt>
                <c:pt idx="418">
                  <c:v>45762</c:v>
                </c:pt>
                <c:pt idx="419">
                  <c:v>45763</c:v>
                </c:pt>
                <c:pt idx="420">
                  <c:v>45764</c:v>
                </c:pt>
                <c:pt idx="421">
                  <c:v>45765</c:v>
                </c:pt>
                <c:pt idx="422">
                  <c:v>45768</c:v>
                </c:pt>
                <c:pt idx="423">
                  <c:v>45769</c:v>
                </c:pt>
                <c:pt idx="424">
                  <c:v>45770</c:v>
                </c:pt>
                <c:pt idx="425">
                  <c:v>45771</c:v>
                </c:pt>
                <c:pt idx="426">
                  <c:v>45772</c:v>
                </c:pt>
                <c:pt idx="427">
                  <c:v>45775</c:v>
                </c:pt>
                <c:pt idx="428">
                  <c:v>45776</c:v>
                </c:pt>
                <c:pt idx="429">
                  <c:v>45777</c:v>
                </c:pt>
                <c:pt idx="430">
                  <c:v>45783</c:v>
                </c:pt>
                <c:pt idx="431">
                  <c:v>45784</c:v>
                </c:pt>
                <c:pt idx="432">
                  <c:v>45785</c:v>
                </c:pt>
                <c:pt idx="433">
                  <c:v>45786</c:v>
                </c:pt>
                <c:pt idx="434">
                  <c:v>45789</c:v>
                </c:pt>
                <c:pt idx="435">
                  <c:v>45790</c:v>
                </c:pt>
                <c:pt idx="436">
                  <c:v>45791</c:v>
                </c:pt>
                <c:pt idx="437">
                  <c:v>45792</c:v>
                </c:pt>
                <c:pt idx="438">
                  <c:v>45793</c:v>
                </c:pt>
                <c:pt idx="439">
                  <c:v>45796</c:v>
                </c:pt>
                <c:pt idx="440">
                  <c:v>45797</c:v>
                </c:pt>
                <c:pt idx="441">
                  <c:v>45798</c:v>
                </c:pt>
                <c:pt idx="442">
                  <c:v>45799</c:v>
                </c:pt>
                <c:pt idx="443">
                  <c:v>45800</c:v>
                </c:pt>
                <c:pt idx="444">
                  <c:v>45803</c:v>
                </c:pt>
                <c:pt idx="445">
                  <c:v>45804</c:v>
                </c:pt>
                <c:pt idx="446">
                  <c:v>45805</c:v>
                </c:pt>
                <c:pt idx="447">
                  <c:v>45806</c:v>
                </c:pt>
                <c:pt idx="448">
                  <c:v>45807</c:v>
                </c:pt>
                <c:pt idx="449">
                  <c:v>45811</c:v>
                </c:pt>
                <c:pt idx="450">
                  <c:v>45812</c:v>
                </c:pt>
                <c:pt idx="451">
                  <c:v>45813</c:v>
                </c:pt>
                <c:pt idx="452">
                  <c:v>45814</c:v>
                </c:pt>
                <c:pt idx="453">
                  <c:v>45817</c:v>
                </c:pt>
                <c:pt idx="454">
                  <c:v>45818</c:v>
                </c:pt>
                <c:pt idx="455">
                  <c:v>45819</c:v>
                </c:pt>
                <c:pt idx="456">
                  <c:v>45820</c:v>
                </c:pt>
                <c:pt idx="457">
                  <c:v>45821</c:v>
                </c:pt>
                <c:pt idx="458">
                  <c:v>45824</c:v>
                </c:pt>
                <c:pt idx="459">
                  <c:v>45825</c:v>
                </c:pt>
                <c:pt idx="460">
                  <c:v>45826</c:v>
                </c:pt>
                <c:pt idx="461">
                  <c:v>45827</c:v>
                </c:pt>
                <c:pt idx="462">
                  <c:v>45828</c:v>
                </c:pt>
                <c:pt idx="463">
                  <c:v>45831</c:v>
                </c:pt>
                <c:pt idx="464">
                  <c:v>45832</c:v>
                </c:pt>
                <c:pt idx="465">
                  <c:v>45833</c:v>
                </c:pt>
                <c:pt idx="466">
                  <c:v>45834</c:v>
                </c:pt>
                <c:pt idx="467">
                  <c:v>45835</c:v>
                </c:pt>
                <c:pt idx="468">
                  <c:v>45838</c:v>
                </c:pt>
                <c:pt idx="469">
                  <c:v>45839</c:v>
                </c:pt>
                <c:pt idx="470">
                  <c:v>45840</c:v>
                </c:pt>
                <c:pt idx="471">
                  <c:v>45841</c:v>
                </c:pt>
                <c:pt idx="472">
                  <c:v>45842</c:v>
                </c:pt>
                <c:pt idx="473">
                  <c:v>45845</c:v>
                </c:pt>
                <c:pt idx="474">
                  <c:v>45846</c:v>
                </c:pt>
                <c:pt idx="475">
                  <c:v>45847</c:v>
                </c:pt>
                <c:pt idx="476">
                  <c:v>45848</c:v>
                </c:pt>
                <c:pt idx="477">
                  <c:v>45849</c:v>
                </c:pt>
                <c:pt idx="478">
                  <c:v>45852</c:v>
                </c:pt>
                <c:pt idx="479">
                  <c:v>45853</c:v>
                </c:pt>
                <c:pt idx="480">
                  <c:v>45854</c:v>
                </c:pt>
                <c:pt idx="481">
                  <c:v>45855</c:v>
                </c:pt>
                <c:pt idx="482">
                  <c:v>45856</c:v>
                </c:pt>
                <c:pt idx="483">
                  <c:v>45859</c:v>
                </c:pt>
                <c:pt idx="484">
                  <c:v>45860</c:v>
                </c:pt>
                <c:pt idx="485">
                  <c:v>45861</c:v>
                </c:pt>
                <c:pt idx="486">
                  <c:v>45862</c:v>
                </c:pt>
                <c:pt idx="487">
                  <c:v>45863</c:v>
                </c:pt>
                <c:pt idx="488">
                  <c:v>45866</c:v>
                </c:pt>
                <c:pt idx="489">
                  <c:v>45867</c:v>
                </c:pt>
                <c:pt idx="490">
                  <c:v>45868</c:v>
                </c:pt>
                <c:pt idx="491">
                  <c:v>45869</c:v>
                </c:pt>
                <c:pt idx="492">
                  <c:v>45870</c:v>
                </c:pt>
                <c:pt idx="493">
                  <c:v>45873</c:v>
                </c:pt>
                <c:pt idx="494">
                  <c:v>45874</c:v>
                </c:pt>
                <c:pt idx="495">
                  <c:v>45875</c:v>
                </c:pt>
                <c:pt idx="496">
                  <c:v>45876</c:v>
                </c:pt>
                <c:pt idx="497">
                  <c:v>45877</c:v>
                </c:pt>
                <c:pt idx="498">
                  <c:v>45880</c:v>
                </c:pt>
                <c:pt idx="499">
                  <c:v>45881</c:v>
                </c:pt>
                <c:pt idx="500">
                  <c:v>45882</c:v>
                </c:pt>
                <c:pt idx="501">
                  <c:v>45883</c:v>
                </c:pt>
                <c:pt idx="502">
                  <c:v>45884</c:v>
                </c:pt>
                <c:pt idx="503">
                  <c:v>45887</c:v>
                </c:pt>
                <c:pt idx="504">
                  <c:v>45888</c:v>
                </c:pt>
                <c:pt idx="505">
                  <c:v>45889</c:v>
                </c:pt>
                <c:pt idx="506">
                  <c:v>45890</c:v>
                </c:pt>
                <c:pt idx="507">
                  <c:v>45891</c:v>
                </c:pt>
                <c:pt idx="508">
                  <c:v>45894</c:v>
                </c:pt>
                <c:pt idx="509">
                  <c:v>45895</c:v>
                </c:pt>
                <c:pt idx="510">
                  <c:v>45896</c:v>
                </c:pt>
                <c:pt idx="511">
                  <c:v>45897</c:v>
                </c:pt>
                <c:pt idx="512">
                  <c:v>45898</c:v>
                </c:pt>
                <c:pt idx="513">
                  <c:v>45901</c:v>
                </c:pt>
                <c:pt idx="514">
                  <c:v>45902</c:v>
                </c:pt>
                <c:pt idx="515">
                  <c:v>45903</c:v>
                </c:pt>
                <c:pt idx="516">
                  <c:v>45904</c:v>
                </c:pt>
                <c:pt idx="517">
                  <c:v>45905</c:v>
                </c:pt>
                <c:pt idx="518">
                  <c:v>45908</c:v>
                </c:pt>
                <c:pt idx="519">
                  <c:v>45909</c:v>
                </c:pt>
                <c:pt idx="520">
                  <c:v>45910</c:v>
                </c:pt>
                <c:pt idx="521">
                  <c:v>45911</c:v>
                </c:pt>
                <c:pt idx="522">
                  <c:v>45912</c:v>
                </c:pt>
                <c:pt idx="523">
                  <c:v>45915</c:v>
                </c:pt>
                <c:pt idx="524">
                  <c:v>45916</c:v>
                </c:pt>
                <c:pt idx="525">
                  <c:v>45917</c:v>
                </c:pt>
                <c:pt idx="526">
                  <c:v>45918</c:v>
                </c:pt>
                <c:pt idx="527">
                  <c:v>45919</c:v>
                </c:pt>
                <c:pt idx="528">
                  <c:v>45922</c:v>
                </c:pt>
                <c:pt idx="529">
                  <c:v>45923</c:v>
                </c:pt>
                <c:pt idx="530">
                  <c:v>45924</c:v>
                </c:pt>
                <c:pt idx="531">
                  <c:v>45925</c:v>
                </c:pt>
                <c:pt idx="532">
                  <c:v>45926</c:v>
                </c:pt>
                <c:pt idx="533">
                  <c:v>45929</c:v>
                </c:pt>
                <c:pt idx="534">
                  <c:v>45930</c:v>
                </c:pt>
                <c:pt idx="535">
                  <c:v>45931</c:v>
                </c:pt>
                <c:pt idx="536">
                  <c:v>45932</c:v>
                </c:pt>
                <c:pt idx="537">
                  <c:v>45933</c:v>
                </c:pt>
                <c:pt idx="538">
                  <c:v>45936</c:v>
                </c:pt>
                <c:pt idx="539">
                  <c:v>45937</c:v>
                </c:pt>
                <c:pt idx="540">
                  <c:v>45938</c:v>
                </c:pt>
                <c:pt idx="541">
                  <c:v>45939</c:v>
                </c:pt>
                <c:pt idx="542">
                  <c:v>45940</c:v>
                </c:pt>
                <c:pt idx="543">
                  <c:v>45943</c:v>
                </c:pt>
                <c:pt idx="544">
                  <c:v>45944</c:v>
                </c:pt>
                <c:pt idx="545">
                  <c:v>45945</c:v>
                </c:pt>
                <c:pt idx="546">
                  <c:v>45946</c:v>
                </c:pt>
                <c:pt idx="547">
                  <c:v>45947</c:v>
                </c:pt>
                <c:pt idx="548">
                  <c:v>45950</c:v>
                </c:pt>
                <c:pt idx="549">
                  <c:v>45951</c:v>
                </c:pt>
                <c:pt idx="550">
                  <c:v>45952</c:v>
                </c:pt>
                <c:pt idx="551">
                  <c:v>45953</c:v>
                </c:pt>
                <c:pt idx="552">
                  <c:v>45954</c:v>
                </c:pt>
                <c:pt idx="553">
                  <c:v>45957</c:v>
                </c:pt>
                <c:pt idx="554">
                  <c:v>45958</c:v>
                </c:pt>
                <c:pt idx="555">
                  <c:v>45959</c:v>
                </c:pt>
                <c:pt idx="556">
                  <c:v>45960</c:v>
                </c:pt>
                <c:pt idx="557">
                  <c:v>45961</c:v>
                </c:pt>
                <c:pt idx="558">
                  <c:v>45964</c:v>
                </c:pt>
                <c:pt idx="559">
                  <c:v>45965</c:v>
                </c:pt>
                <c:pt idx="560">
                  <c:v>45966</c:v>
                </c:pt>
                <c:pt idx="561">
                  <c:v>45967</c:v>
                </c:pt>
                <c:pt idx="562">
                  <c:v>45968</c:v>
                </c:pt>
                <c:pt idx="563">
                  <c:v>45971</c:v>
                </c:pt>
                <c:pt idx="564">
                  <c:v>45972</c:v>
                </c:pt>
                <c:pt idx="565">
                  <c:v>45973</c:v>
                </c:pt>
                <c:pt idx="566">
                  <c:v>45974</c:v>
                </c:pt>
                <c:pt idx="567">
                  <c:v>45975</c:v>
                </c:pt>
                <c:pt idx="568">
                  <c:v>45978</c:v>
                </c:pt>
                <c:pt idx="569">
                  <c:v>45979</c:v>
                </c:pt>
                <c:pt idx="570">
                  <c:v>45980</c:v>
                </c:pt>
                <c:pt idx="571">
                  <c:v>45981</c:v>
                </c:pt>
                <c:pt idx="572">
                  <c:v>45982</c:v>
                </c:pt>
                <c:pt idx="573">
                  <c:v>45985</c:v>
                </c:pt>
                <c:pt idx="574">
                  <c:v>45986</c:v>
                </c:pt>
                <c:pt idx="575">
                  <c:v>45987</c:v>
                </c:pt>
                <c:pt idx="576">
                  <c:v>45988</c:v>
                </c:pt>
                <c:pt idx="577">
                  <c:v>45989</c:v>
                </c:pt>
                <c:pt idx="578">
                  <c:v>45992</c:v>
                </c:pt>
                <c:pt idx="579">
                  <c:v>45993</c:v>
                </c:pt>
                <c:pt idx="580">
                  <c:v>45994</c:v>
                </c:pt>
                <c:pt idx="581">
                  <c:v>45995</c:v>
                </c:pt>
                <c:pt idx="582">
                  <c:v>45996</c:v>
                </c:pt>
                <c:pt idx="583">
                  <c:v>45999</c:v>
                </c:pt>
                <c:pt idx="584">
                  <c:v>46000</c:v>
                </c:pt>
                <c:pt idx="585">
                  <c:v>46001</c:v>
                </c:pt>
                <c:pt idx="586">
                  <c:v>46002</c:v>
                </c:pt>
                <c:pt idx="587">
                  <c:v>46003</c:v>
                </c:pt>
                <c:pt idx="588">
                  <c:v>46006</c:v>
                </c:pt>
                <c:pt idx="589">
                  <c:v>46007</c:v>
                </c:pt>
                <c:pt idx="590">
                  <c:v>46008</c:v>
                </c:pt>
                <c:pt idx="591">
                  <c:v>46009</c:v>
                </c:pt>
                <c:pt idx="592">
                  <c:v>46010</c:v>
                </c:pt>
                <c:pt idx="593">
                  <c:v>46013</c:v>
                </c:pt>
                <c:pt idx="594">
                  <c:v>46014</c:v>
                </c:pt>
                <c:pt idx="595">
                  <c:v>46015</c:v>
                </c:pt>
                <c:pt idx="596">
                  <c:v>46016</c:v>
                </c:pt>
                <c:pt idx="597">
                  <c:v>46017</c:v>
                </c:pt>
                <c:pt idx="598">
                  <c:v>46020</c:v>
                </c:pt>
                <c:pt idx="599">
                  <c:v>46021</c:v>
                </c:pt>
                <c:pt idx="600">
                  <c:v>46022</c:v>
                </c:pt>
                <c:pt idx="601">
                  <c:v>46023</c:v>
                </c:pt>
                <c:pt idx="602">
                  <c:v>46024</c:v>
                </c:pt>
                <c:pt idx="603">
                  <c:v>46027</c:v>
                </c:pt>
                <c:pt idx="604">
                  <c:v>46028</c:v>
                </c:pt>
                <c:pt idx="605">
                  <c:v>46029</c:v>
                </c:pt>
                <c:pt idx="606">
                  <c:v>46030</c:v>
                </c:pt>
                <c:pt idx="607">
                  <c:v>46031</c:v>
                </c:pt>
                <c:pt idx="608">
                  <c:v>46034</c:v>
                </c:pt>
                <c:pt idx="609">
                  <c:v>46035</c:v>
                </c:pt>
                <c:pt idx="610">
                  <c:v>46036</c:v>
                </c:pt>
                <c:pt idx="611">
                  <c:v>46037</c:v>
                </c:pt>
                <c:pt idx="612">
                  <c:v>46038</c:v>
                </c:pt>
                <c:pt idx="613">
                  <c:v>46041</c:v>
                </c:pt>
                <c:pt idx="614">
                  <c:v>46042</c:v>
                </c:pt>
                <c:pt idx="615">
                  <c:v>46043</c:v>
                </c:pt>
                <c:pt idx="616">
                  <c:v>46044</c:v>
                </c:pt>
                <c:pt idx="617">
                  <c:v>46045</c:v>
                </c:pt>
                <c:pt idx="618">
                  <c:v>46048</c:v>
                </c:pt>
                <c:pt idx="619">
                  <c:v>46049</c:v>
                </c:pt>
                <c:pt idx="620">
                  <c:v>46050</c:v>
                </c:pt>
                <c:pt idx="621">
                  <c:v>46051</c:v>
                </c:pt>
                <c:pt idx="622">
                  <c:v>46052</c:v>
                </c:pt>
                <c:pt idx="623">
                  <c:v>46055</c:v>
                </c:pt>
                <c:pt idx="624">
                  <c:v>46056</c:v>
                </c:pt>
                <c:pt idx="625">
                  <c:v>46057</c:v>
                </c:pt>
                <c:pt idx="626">
                  <c:v>46058</c:v>
                </c:pt>
                <c:pt idx="627">
                  <c:v>46059</c:v>
                </c:pt>
                <c:pt idx="628">
                  <c:v>46062</c:v>
                </c:pt>
                <c:pt idx="629">
                  <c:v>46063</c:v>
                </c:pt>
                <c:pt idx="630">
                  <c:v>46064</c:v>
                </c:pt>
                <c:pt idx="631">
                  <c:v>46065</c:v>
                </c:pt>
                <c:pt idx="632">
                  <c:v>46066</c:v>
                </c:pt>
                <c:pt idx="633">
                  <c:v>46069</c:v>
                </c:pt>
                <c:pt idx="634">
                  <c:v>46070</c:v>
                </c:pt>
                <c:pt idx="635">
                  <c:v>46071</c:v>
                </c:pt>
                <c:pt idx="636">
                  <c:v>46072</c:v>
                </c:pt>
                <c:pt idx="637">
                  <c:v>46073</c:v>
                </c:pt>
                <c:pt idx="638">
                  <c:v>46076</c:v>
                </c:pt>
                <c:pt idx="639">
                  <c:v>46077</c:v>
                </c:pt>
                <c:pt idx="640">
                  <c:v>46078</c:v>
                </c:pt>
                <c:pt idx="641">
                  <c:v>46079</c:v>
                </c:pt>
                <c:pt idx="642">
                  <c:v>46080</c:v>
                </c:pt>
                <c:pt idx="643">
                  <c:v>46083</c:v>
                </c:pt>
                <c:pt idx="644">
                  <c:v>46084</c:v>
                </c:pt>
                <c:pt idx="645">
                  <c:v>46085</c:v>
                </c:pt>
                <c:pt idx="646">
                  <c:v>46086</c:v>
                </c:pt>
                <c:pt idx="647">
                  <c:v>46087</c:v>
                </c:pt>
                <c:pt idx="648">
                  <c:v>46090</c:v>
                </c:pt>
                <c:pt idx="649">
                  <c:v>46091</c:v>
                </c:pt>
                <c:pt idx="650">
                  <c:v>46092</c:v>
                </c:pt>
                <c:pt idx="651">
                  <c:v>46093</c:v>
                </c:pt>
                <c:pt idx="652">
                  <c:v>46094</c:v>
                </c:pt>
                <c:pt idx="653">
                  <c:v>46097</c:v>
                </c:pt>
                <c:pt idx="654">
                  <c:v>46098</c:v>
                </c:pt>
                <c:pt idx="655">
                  <c:v>46099</c:v>
                </c:pt>
                <c:pt idx="656">
                  <c:v>46100</c:v>
                </c:pt>
                <c:pt idx="657">
                  <c:v>46101</c:v>
                </c:pt>
                <c:pt idx="658">
                  <c:v>46104</c:v>
                </c:pt>
                <c:pt idx="659">
                  <c:v>46105</c:v>
                </c:pt>
                <c:pt idx="660">
                  <c:v>46106</c:v>
                </c:pt>
                <c:pt idx="661">
                  <c:v>46107</c:v>
                </c:pt>
                <c:pt idx="662">
                  <c:v>46108</c:v>
                </c:pt>
                <c:pt idx="663">
                  <c:v>46111</c:v>
                </c:pt>
                <c:pt idx="664">
                  <c:v>46112</c:v>
                </c:pt>
                <c:pt idx="665">
                  <c:v>46113</c:v>
                </c:pt>
                <c:pt idx="666">
                  <c:v>46114</c:v>
                </c:pt>
                <c:pt idx="667">
                  <c:v>46115</c:v>
                </c:pt>
                <c:pt idx="668">
                  <c:v>46118</c:v>
                </c:pt>
                <c:pt idx="669">
                  <c:v>46119</c:v>
                </c:pt>
                <c:pt idx="670">
                  <c:v>46120</c:v>
                </c:pt>
                <c:pt idx="671">
                  <c:v>46121</c:v>
                </c:pt>
                <c:pt idx="672">
                  <c:v>46122</c:v>
                </c:pt>
                <c:pt idx="673">
                  <c:v>46125</c:v>
                </c:pt>
                <c:pt idx="674">
                  <c:v>46126</c:v>
                </c:pt>
                <c:pt idx="675">
                  <c:v>46127</c:v>
                </c:pt>
                <c:pt idx="676">
                  <c:v>46128</c:v>
                </c:pt>
                <c:pt idx="677">
                  <c:v>46129</c:v>
                </c:pt>
                <c:pt idx="678">
                  <c:v>46132</c:v>
                </c:pt>
                <c:pt idx="679">
                  <c:v>46133</c:v>
                </c:pt>
                <c:pt idx="680">
                  <c:v>46134</c:v>
                </c:pt>
                <c:pt idx="681">
                  <c:v>46135</c:v>
                </c:pt>
                <c:pt idx="682">
                  <c:v>46136</c:v>
                </c:pt>
                <c:pt idx="683">
                  <c:v>46139</c:v>
                </c:pt>
                <c:pt idx="684">
                  <c:v>46140</c:v>
                </c:pt>
                <c:pt idx="685">
                  <c:v>46141</c:v>
                </c:pt>
                <c:pt idx="686">
                  <c:v>46142</c:v>
                </c:pt>
                <c:pt idx="687">
                  <c:v>46143</c:v>
                </c:pt>
                <c:pt idx="688">
                  <c:v>46146</c:v>
                </c:pt>
                <c:pt idx="689">
                  <c:v>46147</c:v>
                </c:pt>
                <c:pt idx="690">
                  <c:v>46148</c:v>
                </c:pt>
                <c:pt idx="691">
                  <c:v>46149</c:v>
                </c:pt>
                <c:pt idx="692">
                  <c:v>46150</c:v>
                </c:pt>
                <c:pt idx="693">
                  <c:v>46153</c:v>
                </c:pt>
                <c:pt idx="694">
                  <c:v>46154</c:v>
                </c:pt>
                <c:pt idx="695">
                  <c:v>46155</c:v>
                </c:pt>
                <c:pt idx="696">
                  <c:v>46156</c:v>
                </c:pt>
                <c:pt idx="697">
                  <c:v>46157</c:v>
                </c:pt>
                <c:pt idx="698">
                  <c:v>46160</c:v>
                </c:pt>
                <c:pt idx="699">
                  <c:v>46161</c:v>
                </c:pt>
                <c:pt idx="700">
                  <c:v>46162</c:v>
                </c:pt>
                <c:pt idx="701">
                  <c:v>46163</c:v>
                </c:pt>
                <c:pt idx="702">
                  <c:v>46164</c:v>
                </c:pt>
                <c:pt idx="703">
                  <c:v>46167</c:v>
                </c:pt>
                <c:pt idx="704">
                  <c:v>46168</c:v>
                </c:pt>
                <c:pt idx="705">
                  <c:v>46169</c:v>
                </c:pt>
                <c:pt idx="706">
                  <c:v>46170</c:v>
                </c:pt>
                <c:pt idx="707">
                  <c:v>46171</c:v>
                </c:pt>
                <c:pt idx="708">
                  <c:v>46174</c:v>
                </c:pt>
                <c:pt idx="709">
                  <c:v>46175</c:v>
                </c:pt>
                <c:pt idx="710">
                  <c:v>46176</c:v>
                </c:pt>
                <c:pt idx="711">
                  <c:v>46177</c:v>
                </c:pt>
                <c:pt idx="712">
                  <c:v>46178</c:v>
                </c:pt>
                <c:pt idx="713">
                  <c:v>46181</c:v>
                </c:pt>
                <c:pt idx="714">
                  <c:v>46182</c:v>
                </c:pt>
                <c:pt idx="715">
                  <c:v>46183</c:v>
                </c:pt>
                <c:pt idx="716">
                  <c:v>46184</c:v>
                </c:pt>
                <c:pt idx="717">
                  <c:v>46185</c:v>
                </c:pt>
                <c:pt idx="718">
                  <c:v>46188</c:v>
                </c:pt>
                <c:pt idx="719">
                  <c:v>46189</c:v>
                </c:pt>
                <c:pt idx="720">
                  <c:v>46190</c:v>
                </c:pt>
                <c:pt idx="721">
                  <c:v>46191</c:v>
                </c:pt>
                <c:pt idx="722">
                  <c:v>46192</c:v>
                </c:pt>
                <c:pt idx="723">
                  <c:v>46195</c:v>
                </c:pt>
                <c:pt idx="724">
                  <c:v>46196</c:v>
                </c:pt>
                <c:pt idx="725">
                  <c:v>46197</c:v>
                </c:pt>
                <c:pt idx="726">
                  <c:v>46198</c:v>
                </c:pt>
                <c:pt idx="727">
                  <c:v>46199</c:v>
                </c:pt>
                <c:pt idx="728">
                  <c:v>46202</c:v>
                </c:pt>
                <c:pt idx="729">
                  <c:v>46203</c:v>
                </c:pt>
                <c:pt idx="730">
                  <c:v>46204</c:v>
                </c:pt>
                <c:pt idx="731">
                  <c:v>46205</c:v>
                </c:pt>
                <c:pt idx="732">
                  <c:v>46206</c:v>
                </c:pt>
                <c:pt idx="733">
                  <c:v>46209</c:v>
                </c:pt>
                <c:pt idx="734">
                  <c:v>46210</c:v>
                </c:pt>
                <c:pt idx="735">
                  <c:v>46211</c:v>
                </c:pt>
                <c:pt idx="736">
                  <c:v>46212</c:v>
                </c:pt>
                <c:pt idx="737">
                  <c:v>46213</c:v>
                </c:pt>
                <c:pt idx="738">
                  <c:v>46216</c:v>
                </c:pt>
                <c:pt idx="739">
                  <c:v>46217</c:v>
                </c:pt>
                <c:pt idx="740">
                  <c:v>46218</c:v>
                </c:pt>
                <c:pt idx="741">
                  <c:v>46219</c:v>
                </c:pt>
                <c:pt idx="742">
                  <c:v>46220</c:v>
                </c:pt>
                <c:pt idx="743">
                  <c:v>46223</c:v>
                </c:pt>
                <c:pt idx="744">
                  <c:v>46224</c:v>
                </c:pt>
                <c:pt idx="745">
                  <c:v>46225</c:v>
                </c:pt>
                <c:pt idx="746">
                  <c:v>46226</c:v>
                </c:pt>
                <c:pt idx="747">
                  <c:v>46227</c:v>
                </c:pt>
                <c:pt idx="748">
                  <c:v>46230</c:v>
                </c:pt>
                <c:pt idx="749">
                  <c:v>46231</c:v>
                </c:pt>
                <c:pt idx="750">
                  <c:v>46232</c:v>
                </c:pt>
                <c:pt idx="751">
                  <c:v>46233</c:v>
                </c:pt>
                <c:pt idx="752">
                  <c:v>46234</c:v>
                </c:pt>
                <c:pt idx="753">
                  <c:v>46237</c:v>
                </c:pt>
                <c:pt idx="754">
                  <c:v>46238</c:v>
                </c:pt>
                <c:pt idx="755">
                  <c:v>46239</c:v>
                </c:pt>
                <c:pt idx="756">
                  <c:v>46240</c:v>
                </c:pt>
                <c:pt idx="757">
                  <c:v>46241</c:v>
                </c:pt>
                <c:pt idx="758">
                  <c:v>46244</c:v>
                </c:pt>
                <c:pt idx="759">
                  <c:v>46245</c:v>
                </c:pt>
                <c:pt idx="760">
                  <c:v>46246</c:v>
                </c:pt>
                <c:pt idx="761">
                  <c:v>46247</c:v>
                </c:pt>
                <c:pt idx="762">
                  <c:v>46248</c:v>
                </c:pt>
                <c:pt idx="763">
                  <c:v>46251</c:v>
                </c:pt>
                <c:pt idx="764">
                  <c:v>46252</c:v>
                </c:pt>
                <c:pt idx="765">
                  <c:v>46253</c:v>
                </c:pt>
                <c:pt idx="766">
                  <c:v>46254</c:v>
                </c:pt>
                <c:pt idx="767">
                  <c:v>46255</c:v>
                </c:pt>
                <c:pt idx="768">
                  <c:v>46258</c:v>
                </c:pt>
                <c:pt idx="769">
                  <c:v>46259</c:v>
                </c:pt>
                <c:pt idx="770">
                  <c:v>46260</c:v>
                </c:pt>
                <c:pt idx="771">
                  <c:v>46261</c:v>
                </c:pt>
                <c:pt idx="772">
                  <c:v>46262</c:v>
                </c:pt>
                <c:pt idx="773">
                  <c:v>46265</c:v>
                </c:pt>
                <c:pt idx="774">
                  <c:v>46266</c:v>
                </c:pt>
                <c:pt idx="775">
                  <c:v>46267</c:v>
                </c:pt>
                <c:pt idx="776">
                  <c:v>46268</c:v>
                </c:pt>
                <c:pt idx="777">
                  <c:v>46269</c:v>
                </c:pt>
                <c:pt idx="778">
                  <c:v>46272</c:v>
                </c:pt>
                <c:pt idx="779">
                  <c:v>46273</c:v>
                </c:pt>
                <c:pt idx="780">
                  <c:v>46274</c:v>
                </c:pt>
                <c:pt idx="781">
                  <c:v>46275</c:v>
                </c:pt>
                <c:pt idx="782">
                  <c:v>46276</c:v>
                </c:pt>
                <c:pt idx="783">
                  <c:v>46279</c:v>
                </c:pt>
                <c:pt idx="784">
                  <c:v>46280</c:v>
                </c:pt>
                <c:pt idx="785">
                  <c:v>46281</c:v>
                </c:pt>
                <c:pt idx="786">
                  <c:v>46282</c:v>
                </c:pt>
                <c:pt idx="787">
                  <c:v>46283</c:v>
                </c:pt>
                <c:pt idx="788">
                  <c:v>46286</c:v>
                </c:pt>
                <c:pt idx="789">
                  <c:v>46287</c:v>
                </c:pt>
                <c:pt idx="790">
                  <c:v>46288</c:v>
                </c:pt>
                <c:pt idx="791">
                  <c:v>46289</c:v>
                </c:pt>
                <c:pt idx="792">
                  <c:v>46290</c:v>
                </c:pt>
                <c:pt idx="793">
                  <c:v>46293</c:v>
                </c:pt>
                <c:pt idx="794">
                  <c:v>46294</c:v>
                </c:pt>
                <c:pt idx="795">
                  <c:v>46295</c:v>
                </c:pt>
                <c:pt idx="796">
                  <c:v>46296</c:v>
                </c:pt>
                <c:pt idx="797">
                  <c:v>46297</c:v>
                </c:pt>
                <c:pt idx="798">
                  <c:v>46300</c:v>
                </c:pt>
                <c:pt idx="799">
                  <c:v>46301</c:v>
                </c:pt>
                <c:pt idx="800">
                  <c:v>46302</c:v>
                </c:pt>
                <c:pt idx="801">
                  <c:v>46303</c:v>
                </c:pt>
                <c:pt idx="802">
                  <c:v>46304</c:v>
                </c:pt>
                <c:pt idx="803">
                  <c:v>46307</c:v>
                </c:pt>
                <c:pt idx="804">
                  <c:v>46308</c:v>
                </c:pt>
                <c:pt idx="805">
                  <c:v>46309</c:v>
                </c:pt>
                <c:pt idx="806">
                  <c:v>46310</c:v>
                </c:pt>
                <c:pt idx="807">
                  <c:v>46311</c:v>
                </c:pt>
                <c:pt idx="808">
                  <c:v>46314</c:v>
                </c:pt>
                <c:pt idx="809">
                  <c:v>46315</c:v>
                </c:pt>
                <c:pt idx="810">
                  <c:v>46316</c:v>
                </c:pt>
                <c:pt idx="811">
                  <c:v>46317</c:v>
                </c:pt>
                <c:pt idx="812">
                  <c:v>46318</c:v>
                </c:pt>
                <c:pt idx="813">
                  <c:v>46321</c:v>
                </c:pt>
                <c:pt idx="814">
                  <c:v>46322</c:v>
                </c:pt>
                <c:pt idx="815">
                  <c:v>46323</c:v>
                </c:pt>
                <c:pt idx="816">
                  <c:v>46324</c:v>
                </c:pt>
                <c:pt idx="817">
                  <c:v>46325</c:v>
                </c:pt>
                <c:pt idx="818">
                  <c:v>46328</c:v>
                </c:pt>
                <c:pt idx="819">
                  <c:v>46329</c:v>
                </c:pt>
                <c:pt idx="820">
                  <c:v>46330</c:v>
                </c:pt>
                <c:pt idx="821">
                  <c:v>46331</c:v>
                </c:pt>
                <c:pt idx="822">
                  <c:v>46332</c:v>
                </c:pt>
                <c:pt idx="823">
                  <c:v>46335</c:v>
                </c:pt>
                <c:pt idx="824">
                  <c:v>46336</c:v>
                </c:pt>
                <c:pt idx="825">
                  <c:v>46337</c:v>
                </c:pt>
                <c:pt idx="826">
                  <c:v>46338</c:v>
                </c:pt>
                <c:pt idx="827">
                  <c:v>46339</c:v>
                </c:pt>
                <c:pt idx="828">
                  <c:v>46342</c:v>
                </c:pt>
                <c:pt idx="829">
                  <c:v>46343</c:v>
                </c:pt>
                <c:pt idx="830">
                  <c:v>46344</c:v>
                </c:pt>
                <c:pt idx="831">
                  <c:v>46345</c:v>
                </c:pt>
                <c:pt idx="832">
                  <c:v>46346</c:v>
                </c:pt>
                <c:pt idx="833">
                  <c:v>46349</c:v>
                </c:pt>
                <c:pt idx="834">
                  <c:v>46350</c:v>
                </c:pt>
                <c:pt idx="835">
                  <c:v>46351</c:v>
                </c:pt>
                <c:pt idx="836">
                  <c:v>46352</c:v>
                </c:pt>
                <c:pt idx="837">
                  <c:v>46353</c:v>
                </c:pt>
                <c:pt idx="838">
                  <c:v>46356</c:v>
                </c:pt>
                <c:pt idx="839">
                  <c:v>46357</c:v>
                </c:pt>
                <c:pt idx="840">
                  <c:v>46358</c:v>
                </c:pt>
                <c:pt idx="841">
                  <c:v>46359</c:v>
                </c:pt>
                <c:pt idx="842">
                  <c:v>46360</c:v>
                </c:pt>
                <c:pt idx="843">
                  <c:v>46363</c:v>
                </c:pt>
                <c:pt idx="844">
                  <c:v>46364</c:v>
                </c:pt>
                <c:pt idx="845">
                  <c:v>46365</c:v>
                </c:pt>
                <c:pt idx="846">
                  <c:v>46366</c:v>
                </c:pt>
                <c:pt idx="847">
                  <c:v>46367</c:v>
                </c:pt>
                <c:pt idx="848">
                  <c:v>46370</c:v>
                </c:pt>
                <c:pt idx="849">
                  <c:v>46371</c:v>
                </c:pt>
                <c:pt idx="850">
                  <c:v>46372</c:v>
                </c:pt>
                <c:pt idx="851">
                  <c:v>46373</c:v>
                </c:pt>
                <c:pt idx="852">
                  <c:v>46374</c:v>
                </c:pt>
                <c:pt idx="853">
                  <c:v>46377</c:v>
                </c:pt>
                <c:pt idx="854">
                  <c:v>46378</c:v>
                </c:pt>
                <c:pt idx="855">
                  <c:v>46379</c:v>
                </c:pt>
                <c:pt idx="856">
                  <c:v>46380</c:v>
                </c:pt>
                <c:pt idx="857">
                  <c:v>46381</c:v>
                </c:pt>
                <c:pt idx="858">
                  <c:v>46384</c:v>
                </c:pt>
                <c:pt idx="859">
                  <c:v>46385</c:v>
                </c:pt>
                <c:pt idx="860">
                  <c:v>46386</c:v>
                </c:pt>
                <c:pt idx="861">
                  <c:v>46387</c:v>
                </c:pt>
                <c:pt idx="862">
                  <c:v>46388</c:v>
                </c:pt>
                <c:pt idx="863">
                  <c:v>46391</c:v>
                </c:pt>
                <c:pt idx="864">
                  <c:v>46392</c:v>
                </c:pt>
                <c:pt idx="865">
                  <c:v>46393</c:v>
                </c:pt>
                <c:pt idx="866">
                  <c:v>46394</c:v>
                </c:pt>
                <c:pt idx="867">
                  <c:v>46395</c:v>
                </c:pt>
                <c:pt idx="868">
                  <c:v>46398</c:v>
                </c:pt>
                <c:pt idx="869">
                  <c:v>46399</c:v>
                </c:pt>
                <c:pt idx="870">
                  <c:v>46400</c:v>
                </c:pt>
                <c:pt idx="871">
                  <c:v>46401</c:v>
                </c:pt>
                <c:pt idx="872">
                  <c:v>46402</c:v>
                </c:pt>
                <c:pt idx="873">
                  <c:v>46405</c:v>
                </c:pt>
                <c:pt idx="874">
                  <c:v>46406</c:v>
                </c:pt>
                <c:pt idx="875">
                  <c:v>46407</c:v>
                </c:pt>
                <c:pt idx="876">
                  <c:v>46408</c:v>
                </c:pt>
                <c:pt idx="877">
                  <c:v>46409</c:v>
                </c:pt>
                <c:pt idx="878">
                  <c:v>46412</c:v>
                </c:pt>
                <c:pt idx="879">
                  <c:v>46413</c:v>
                </c:pt>
                <c:pt idx="880">
                  <c:v>46414</c:v>
                </c:pt>
                <c:pt idx="881">
                  <c:v>46415</c:v>
                </c:pt>
                <c:pt idx="882">
                  <c:v>46416</c:v>
                </c:pt>
                <c:pt idx="883">
                  <c:v>46419</c:v>
                </c:pt>
                <c:pt idx="884">
                  <c:v>46420</c:v>
                </c:pt>
                <c:pt idx="885">
                  <c:v>46421</c:v>
                </c:pt>
                <c:pt idx="886">
                  <c:v>46422</c:v>
                </c:pt>
                <c:pt idx="887">
                  <c:v>46423</c:v>
                </c:pt>
                <c:pt idx="888">
                  <c:v>46426</c:v>
                </c:pt>
                <c:pt idx="889">
                  <c:v>46427</c:v>
                </c:pt>
                <c:pt idx="890">
                  <c:v>46428</c:v>
                </c:pt>
                <c:pt idx="891">
                  <c:v>46429</c:v>
                </c:pt>
                <c:pt idx="892">
                  <c:v>46430</c:v>
                </c:pt>
                <c:pt idx="893">
                  <c:v>46433</c:v>
                </c:pt>
                <c:pt idx="894">
                  <c:v>46434</c:v>
                </c:pt>
                <c:pt idx="895">
                  <c:v>46435</c:v>
                </c:pt>
                <c:pt idx="896">
                  <c:v>46436</c:v>
                </c:pt>
                <c:pt idx="897">
                  <c:v>46437</c:v>
                </c:pt>
                <c:pt idx="898">
                  <c:v>46440</c:v>
                </c:pt>
                <c:pt idx="899">
                  <c:v>46441</c:v>
                </c:pt>
                <c:pt idx="900">
                  <c:v>46442</c:v>
                </c:pt>
                <c:pt idx="901">
                  <c:v>46443</c:v>
                </c:pt>
                <c:pt idx="902">
                  <c:v>46444</c:v>
                </c:pt>
                <c:pt idx="903">
                  <c:v>46447</c:v>
                </c:pt>
                <c:pt idx="904">
                  <c:v>46448</c:v>
                </c:pt>
                <c:pt idx="905">
                  <c:v>46449</c:v>
                </c:pt>
                <c:pt idx="906">
                  <c:v>46450</c:v>
                </c:pt>
                <c:pt idx="907">
                  <c:v>46451</c:v>
                </c:pt>
                <c:pt idx="908">
                  <c:v>46454</c:v>
                </c:pt>
                <c:pt idx="909">
                  <c:v>46455</c:v>
                </c:pt>
                <c:pt idx="910">
                  <c:v>46456</c:v>
                </c:pt>
                <c:pt idx="911">
                  <c:v>46457</c:v>
                </c:pt>
                <c:pt idx="912">
                  <c:v>46458</c:v>
                </c:pt>
                <c:pt idx="913">
                  <c:v>46461</c:v>
                </c:pt>
                <c:pt idx="914">
                  <c:v>46462</c:v>
                </c:pt>
                <c:pt idx="915">
                  <c:v>46463</c:v>
                </c:pt>
                <c:pt idx="916">
                  <c:v>46464</c:v>
                </c:pt>
                <c:pt idx="917">
                  <c:v>46465</c:v>
                </c:pt>
                <c:pt idx="918">
                  <c:v>46468</c:v>
                </c:pt>
                <c:pt idx="919">
                  <c:v>46469</c:v>
                </c:pt>
                <c:pt idx="920">
                  <c:v>46470</c:v>
                </c:pt>
                <c:pt idx="921">
                  <c:v>46471</c:v>
                </c:pt>
                <c:pt idx="922">
                  <c:v>46472</c:v>
                </c:pt>
                <c:pt idx="923">
                  <c:v>46475</c:v>
                </c:pt>
                <c:pt idx="924">
                  <c:v>46476</c:v>
                </c:pt>
                <c:pt idx="925">
                  <c:v>46477</c:v>
                </c:pt>
                <c:pt idx="926">
                  <c:v>46478</c:v>
                </c:pt>
                <c:pt idx="927">
                  <c:v>46479</c:v>
                </c:pt>
                <c:pt idx="928">
                  <c:v>46482</c:v>
                </c:pt>
                <c:pt idx="929">
                  <c:v>46483</c:v>
                </c:pt>
                <c:pt idx="930">
                  <c:v>46484</c:v>
                </c:pt>
                <c:pt idx="931">
                  <c:v>46485</c:v>
                </c:pt>
                <c:pt idx="932">
                  <c:v>46486</c:v>
                </c:pt>
                <c:pt idx="933">
                  <c:v>46489</c:v>
                </c:pt>
                <c:pt idx="934">
                  <c:v>46490</c:v>
                </c:pt>
                <c:pt idx="935">
                  <c:v>46491</c:v>
                </c:pt>
                <c:pt idx="936">
                  <c:v>46492</c:v>
                </c:pt>
                <c:pt idx="937">
                  <c:v>46493</c:v>
                </c:pt>
                <c:pt idx="938">
                  <c:v>46496</c:v>
                </c:pt>
                <c:pt idx="939">
                  <c:v>46497</c:v>
                </c:pt>
                <c:pt idx="940">
                  <c:v>46498</c:v>
                </c:pt>
                <c:pt idx="941">
                  <c:v>46499</c:v>
                </c:pt>
                <c:pt idx="942">
                  <c:v>46500</c:v>
                </c:pt>
                <c:pt idx="943">
                  <c:v>46503</c:v>
                </c:pt>
                <c:pt idx="944">
                  <c:v>46504</c:v>
                </c:pt>
                <c:pt idx="945">
                  <c:v>46505</c:v>
                </c:pt>
                <c:pt idx="946">
                  <c:v>46506</c:v>
                </c:pt>
                <c:pt idx="947">
                  <c:v>46507</c:v>
                </c:pt>
                <c:pt idx="948">
                  <c:v>46510</c:v>
                </c:pt>
                <c:pt idx="949">
                  <c:v>46511</c:v>
                </c:pt>
                <c:pt idx="950">
                  <c:v>46512</c:v>
                </c:pt>
                <c:pt idx="951">
                  <c:v>46513</c:v>
                </c:pt>
                <c:pt idx="952">
                  <c:v>46514</c:v>
                </c:pt>
                <c:pt idx="953">
                  <c:v>46517</c:v>
                </c:pt>
                <c:pt idx="954">
                  <c:v>46518</c:v>
                </c:pt>
                <c:pt idx="955">
                  <c:v>46519</c:v>
                </c:pt>
                <c:pt idx="956">
                  <c:v>46520</c:v>
                </c:pt>
                <c:pt idx="957">
                  <c:v>46521</c:v>
                </c:pt>
                <c:pt idx="958">
                  <c:v>46524</c:v>
                </c:pt>
                <c:pt idx="959">
                  <c:v>46525</c:v>
                </c:pt>
                <c:pt idx="960">
                  <c:v>46526</c:v>
                </c:pt>
                <c:pt idx="961">
                  <c:v>46527</c:v>
                </c:pt>
                <c:pt idx="962">
                  <c:v>46528</c:v>
                </c:pt>
                <c:pt idx="963">
                  <c:v>46531</c:v>
                </c:pt>
                <c:pt idx="964">
                  <c:v>46532</c:v>
                </c:pt>
                <c:pt idx="965">
                  <c:v>46533</c:v>
                </c:pt>
                <c:pt idx="966">
                  <c:v>46534</c:v>
                </c:pt>
                <c:pt idx="967">
                  <c:v>46535</c:v>
                </c:pt>
                <c:pt idx="968">
                  <c:v>46538</c:v>
                </c:pt>
                <c:pt idx="969">
                  <c:v>46539</c:v>
                </c:pt>
                <c:pt idx="970">
                  <c:v>46540</c:v>
                </c:pt>
                <c:pt idx="971">
                  <c:v>46541</c:v>
                </c:pt>
                <c:pt idx="972">
                  <c:v>46542</c:v>
                </c:pt>
                <c:pt idx="973">
                  <c:v>46545</c:v>
                </c:pt>
                <c:pt idx="974">
                  <c:v>46546</c:v>
                </c:pt>
                <c:pt idx="975">
                  <c:v>46547</c:v>
                </c:pt>
                <c:pt idx="976">
                  <c:v>46548</c:v>
                </c:pt>
                <c:pt idx="977">
                  <c:v>46549</c:v>
                </c:pt>
                <c:pt idx="978">
                  <c:v>46552</c:v>
                </c:pt>
                <c:pt idx="979">
                  <c:v>46553</c:v>
                </c:pt>
                <c:pt idx="980">
                  <c:v>46554</c:v>
                </c:pt>
                <c:pt idx="981">
                  <c:v>46555</c:v>
                </c:pt>
                <c:pt idx="982">
                  <c:v>46556</c:v>
                </c:pt>
                <c:pt idx="983">
                  <c:v>46559</c:v>
                </c:pt>
                <c:pt idx="984">
                  <c:v>46560</c:v>
                </c:pt>
                <c:pt idx="985">
                  <c:v>46561</c:v>
                </c:pt>
                <c:pt idx="986">
                  <c:v>46562</c:v>
                </c:pt>
                <c:pt idx="987">
                  <c:v>46563</c:v>
                </c:pt>
                <c:pt idx="988">
                  <c:v>46566</c:v>
                </c:pt>
                <c:pt idx="989">
                  <c:v>46567</c:v>
                </c:pt>
                <c:pt idx="990">
                  <c:v>46568</c:v>
                </c:pt>
                <c:pt idx="991">
                  <c:v>46569</c:v>
                </c:pt>
                <c:pt idx="992">
                  <c:v>46570</c:v>
                </c:pt>
                <c:pt idx="993">
                  <c:v>46573</c:v>
                </c:pt>
                <c:pt idx="994">
                  <c:v>46574</c:v>
                </c:pt>
                <c:pt idx="995">
                  <c:v>46575</c:v>
                </c:pt>
                <c:pt idx="996">
                  <c:v>46576</c:v>
                </c:pt>
                <c:pt idx="997">
                  <c:v>46577</c:v>
                </c:pt>
                <c:pt idx="998">
                  <c:v>46580</c:v>
                </c:pt>
              </c:numCache>
            </c:numRef>
          </c:cat>
          <c:val>
            <c:numRef>
              <c:f>Daily!$M$2:$M$1057</c:f>
            </c:numRef>
          </c:val>
          <c:smooth val="0"/>
          <c:extLst>
            <c:ext xmlns:c16="http://schemas.microsoft.com/office/drawing/2014/chart" uri="{C3380CC4-5D6E-409C-BE32-E72D297353CC}">
              <c16:uniqueId val="{00000012-094D-4E29-B010-D717A2A1A293}"/>
            </c:ext>
          </c:extLst>
        </c:ser>
        <c:ser>
          <c:idx val="12"/>
          <c:order val="12"/>
          <c:tx>
            <c:strRef>
              <c:f>Daily!$N$1</c:f>
              <c:strCache>
                <c:ptCount val="1"/>
                <c:pt idx="0">
                  <c:v>M+12</c:v>
                </c:pt>
              </c:strCache>
            </c:strRef>
          </c:tx>
          <c:spPr>
            <a:ln w="28575" cap="rnd" cmpd="sng" algn="ctr">
              <a:solidFill>
                <a:schemeClr val="accent1">
                  <a:lumMod val="80000"/>
                  <a:lumOff val="20000"/>
                  <a:shade val="95000"/>
                  <a:satMod val="105000"/>
                </a:schemeClr>
              </a:solidFill>
              <a:prstDash val="solid"/>
              <a:round/>
            </a:ln>
            <a:effectLst/>
          </c:spPr>
          <c:marker>
            <c:symbol val="none"/>
          </c:marker>
          <c:cat>
            <c:numRef>
              <c:f>Daily!$A$2:$A$1000</c:f>
              <c:numCache>
                <c:formatCode>d\-mmm\-yy</c:formatCode>
                <c:ptCount val="999"/>
                <c:pt idx="0">
                  <c:v>45128</c:v>
                </c:pt>
                <c:pt idx="1">
                  <c:v>45131</c:v>
                </c:pt>
                <c:pt idx="2">
                  <c:v>45132</c:v>
                </c:pt>
                <c:pt idx="3">
                  <c:v>45133</c:v>
                </c:pt>
                <c:pt idx="4">
                  <c:v>45134</c:v>
                </c:pt>
                <c:pt idx="5">
                  <c:v>45135</c:v>
                </c:pt>
                <c:pt idx="6">
                  <c:v>45138</c:v>
                </c:pt>
                <c:pt idx="7">
                  <c:v>45139</c:v>
                </c:pt>
                <c:pt idx="8">
                  <c:v>45140</c:v>
                </c:pt>
                <c:pt idx="9">
                  <c:v>45141</c:v>
                </c:pt>
                <c:pt idx="10">
                  <c:v>45142</c:v>
                </c:pt>
                <c:pt idx="11">
                  <c:v>45145</c:v>
                </c:pt>
                <c:pt idx="12">
                  <c:v>45146</c:v>
                </c:pt>
                <c:pt idx="13">
                  <c:v>45147</c:v>
                </c:pt>
                <c:pt idx="14">
                  <c:v>45148</c:v>
                </c:pt>
                <c:pt idx="15">
                  <c:v>45149</c:v>
                </c:pt>
                <c:pt idx="16">
                  <c:v>45152</c:v>
                </c:pt>
                <c:pt idx="17">
                  <c:v>45153</c:v>
                </c:pt>
                <c:pt idx="18">
                  <c:v>45154</c:v>
                </c:pt>
                <c:pt idx="19">
                  <c:v>45155</c:v>
                </c:pt>
                <c:pt idx="20">
                  <c:v>45156</c:v>
                </c:pt>
                <c:pt idx="21">
                  <c:v>45159</c:v>
                </c:pt>
                <c:pt idx="22">
                  <c:v>45160</c:v>
                </c:pt>
                <c:pt idx="23">
                  <c:v>45161</c:v>
                </c:pt>
                <c:pt idx="24">
                  <c:v>45162</c:v>
                </c:pt>
                <c:pt idx="25">
                  <c:v>45163</c:v>
                </c:pt>
                <c:pt idx="26">
                  <c:v>45166</c:v>
                </c:pt>
                <c:pt idx="27">
                  <c:v>45167</c:v>
                </c:pt>
                <c:pt idx="28">
                  <c:v>45168</c:v>
                </c:pt>
                <c:pt idx="29">
                  <c:v>45169</c:v>
                </c:pt>
                <c:pt idx="30">
                  <c:v>45170</c:v>
                </c:pt>
                <c:pt idx="31">
                  <c:v>45173</c:v>
                </c:pt>
                <c:pt idx="32">
                  <c:v>45174</c:v>
                </c:pt>
                <c:pt idx="33">
                  <c:v>45175</c:v>
                </c:pt>
                <c:pt idx="34">
                  <c:v>45176</c:v>
                </c:pt>
                <c:pt idx="35">
                  <c:v>45177</c:v>
                </c:pt>
                <c:pt idx="36">
                  <c:v>45180</c:v>
                </c:pt>
                <c:pt idx="37">
                  <c:v>45181</c:v>
                </c:pt>
                <c:pt idx="38">
                  <c:v>45182</c:v>
                </c:pt>
                <c:pt idx="39">
                  <c:v>45183</c:v>
                </c:pt>
                <c:pt idx="40">
                  <c:v>45184</c:v>
                </c:pt>
                <c:pt idx="41">
                  <c:v>45187</c:v>
                </c:pt>
                <c:pt idx="42">
                  <c:v>45188</c:v>
                </c:pt>
                <c:pt idx="43">
                  <c:v>45189</c:v>
                </c:pt>
                <c:pt idx="44">
                  <c:v>45190</c:v>
                </c:pt>
                <c:pt idx="45">
                  <c:v>45191</c:v>
                </c:pt>
                <c:pt idx="46">
                  <c:v>45194</c:v>
                </c:pt>
                <c:pt idx="47">
                  <c:v>45195</c:v>
                </c:pt>
                <c:pt idx="48">
                  <c:v>45196</c:v>
                </c:pt>
                <c:pt idx="49">
                  <c:v>45197</c:v>
                </c:pt>
                <c:pt idx="50">
                  <c:v>45208</c:v>
                </c:pt>
                <c:pt idx="51">
                  <c:v>45209</c:v>
                </c:pt>
                <c:pt idx="52">
                  <c:v>45210</c:v>
                </c:pt>
                <c:pt idx="53">
                  <c:v>45211</c:v>
                </c:pt>
                <c:pt idx="54">
                  <c:v>45212</c:v>
                </c:pt>
                <c:pt idx="55">
                  <c:v>45215</c:v>
                </c:pt>
                <c:pt idx="56">
                  <c:v>45216</c:v>
                </c:pt>
                <c:pt idx="57">
                  <c:v>45217</c:v>
                </c:pt>
                <c:pt idx="58">
                  <c:v>45218</c:v>
                </c:pt>
                <c:pt idx="59">
                  <c:v>45219</c:v>
                </c:pt>
                <c:pt idx="60">
                  <c:v>45222</c:v>
                </c:pt>
                <c:pt idx="61">
                  <c:v>45223</c:v>
                </c:pt>
                <c:pt idx="62">
                  <c:v>45224</c:v>
                </c:pt>
                <c:pt idx="63">
                  <c:v>45225</c:v>
                </c:pt>
                <c:pt idx="64">
                  <c:v>45226</c:v>
                </c:pt>
                <c:pt idx="65">
                  <c:v>45229</c:v>
                </c:pt>
                <c:pt idx="66">
                  <c:v>45230</c:v>
                </c:pt>
                <c:pt idx="67">
                  <c:v>45231</c:v>
                </c:pt>
                <c:pt idx="68">
                  <c:v>45232</c:v>
                </c:pt>
                <c:pt idx="69">
                  <c:v>45233</c:v>
                </c:pt>
                <c:pt idx="70">
                  <c:v>45236</c:v>
                </c:pt>
                <c:pt idx="71">
                  <c:v>45237</c:v>
                </c:pt>
                <c:pt idx="72">
                  <c:v>45238</c:v>
                </c:pt>
                <c:pt idx="73">
                  <c:v>45239</c:v>
                </c:pt>
                <c:pt idx="74">
                  <c:v>45240</c:v>
                </c:pt>
                <c:pt idx="75">
                  <c:v>45243</c:v>
                </c:pt>
                <c:pt idx="76">
                  <c:v>45244</c:v>
                </c:pt>
                <c:pt idx="77">
                  <c:v>45245</c:v>
                </c:pt>
                <c:pt idx="78">
                  <c:v>45246</c:v>
                </c:pt>
                <c:pt idx="79">
                  <c:v>45247</c:v>
                </c:pt>
                <c:pt idx="80">
                  <c:v>45250</c:v>
                </c:pt>
                <c:pt idx="81">
                  <c:v>45251</c:v>
                </c:pt>
                <c:pt idx="82">
                  <c:v>45252</c:v>
                </c:pt>
                <c:pt idx="83">
                  <c:v>45253</c:v>
                </c:pt>
                <c:pt idx="84">
                  <c:v>45254</c:v>
                </c:pt>
                <c:pt idx="85">
                  <c:v>45257</c:v>
                </c:pt>
                <c:pt idx="86">
                  <c:v>45258</c:v>
                </c:pt>
                <c:pt idx="87">
                  <c:v>45259</c:v>
                </c:pt>
                <c:pt idx="88">
                  <c:v>45260</c:v>
                </c:pt>
                <c:pt idx="89">
                  <c:v>45261</c:v>
                </c:pt>
                <c:pt idx="90">
                  <c:v>45264</c:v>
                </c:pt>
                <c:pt idx="91">
                  <c:v>45265</c:v>
                </c:pt>
                <c:pt idx="92">
                  <c:v>45266</c:v>
                </c:pt>
                <c:pt idx="93">
                  <c:v>45267</c:v>
                </c:pt>
                <c:pt idx="94">
                  <c:v>45268</c:v>
                </c:pt>
                <c:pt idx="95">
                  <c:v>45271</c:v>
                </c:pt>
                <c:pt idx="96">
                  <c:v>45272</c:v>
                </c:pt>
                <c:pt idx="97">
                  <c:v>45273</c:v>
                </c:pt>
                <c:pt idx="98">
                  <c:v>45274</c:v>
                </c:pt>
                <c:pt idx="99">
                  <c:v>45275</c:v>
                </c:pt>
                <c:pt idx="100">
                  <c:v>45278</c:v>
                </c:pt>
                <c:pt idx="101">
                  <c:v>45279</c:v>
                </c:pt>
                <c:pt idx="102">
                  <c:v>45280</c:v>
                </c:pt>
                <c:pt idx="103">
                  <c:v>45281</c:v>
                </c:pt>
                <c:pt idx="104">
                  <c:v>45282</c:v>
                </c:pt>
                <c:pt idx="105">
                  <c:v>45285</c:v>
                </c:pt>
                <c:pt idx="106">
                  <c:v>45286</c:v>
                </c:pt>
                <c:pt idx="107">
                  <c:v>45287</c:v>
                </c:pt>
                <c:pt idx="108">
                  <c:v>45288</c:v>
                </c:pt>
                <c:pt idx="109">
                  <c:v>45289</c:v>
                </c:pt>
                <c:pt idx="110">
                  <c:v>45293</c:v>
                </c:pt>
                <c:pt idx="111">
                  <c:v>45294</c:v>
                </c:pt>
                <c:pt idx="112">
                  <c:v>45295</c:v>
                </c:pt>
                <c:pt idx="113">
                  <c:v>45296</c:v>
                </c:pt>
                <c:pt idx="114">
                  <c:v>45299</c:v>
                </c:pt>
                <c:pt idx="115">
                  <c:v>45300</c:v>
                </c:pt>
                <c:pt idx="116">
                  <c:v>45301</c:v>
                </c:pt>
                <c:pt idx="117">
                  <c:v>45302</c:v>
                </c:pt>
                <c:pt idx="118">
                  <c:v>45303</c:v>
                </c:pt>
                <c:pt idx="119">
                  <c:v>45306</c:v>
                </c:pt>
                <c:pt idx="120">
                  <c:v>45307</c:v>
                </c:pt>
                <c:pt idx="121">
                  <c:v>45308</c:v>
                </c:pt>
                <c:pt idx="122">
                  <c:v>45309</c:v>
                </c:pt>
                <c:pt idx="123">
                  <c:v>45310</c:v>
                </c:pt>
                <c:pt idx="124">
                  <c:v>45313</c:v>
                </c:pt>
                <c:pt idx="125">
                  <c:v>45314</c:v>
                </c:pt>
                <c:pt idx="126">
                  <c:v>45315</c:v>
                </c:pt>
                <c:pt idx="127">
                  <c:v>45316</c:v>
                </c:pt>
                <c:pt idx="128">
                  <c:v>45317</c:v>
                </c:pt>
                <c:pt idx="129">
                  <c:v>45320</c:v>
                </c:pt>
                <c:pt idx="130">
                  <c:v>45321</c:v>
                </c:pt>
                <c:pt idx="131">
                  <c:v>45322</c:v>
                </c:pt>
                <c:pt idx="132">
                  <c:v>45323</c:v>
                </c:pt>
                <c:pt idx="133">
                  <c:v>45324</c:v>
                </c:pt>
                <c:pt idx="134">
                  <c:v>45327</c:v>
                </c:pt>
                <c:pt idx="135">
                  <c:v>45328</c:v>
                </c:pt>
                <c:pt idx="136">
                  <c:v>45329</c:v>
                </c:pt>
                <c:pt idx="137">
                  <c:v>45330</c:v>
                </c:pt>
                <c:pt idx="138">
                  <c:v>45341</c:v>
                </c:pt>
                <c:pt idx="139">
                  <c:v>45342</c:v>
                </c:pt>
                <c:pt idx="140">
                  <c:v>45343</c:v>
                </c:pt>
                <c:pt idx="141">
                  <c:v>45344</c:v>
                </c:pt>
                <c:pt idx="142">
                  <c:v>45345</c:v>
                </c:pt>
                <c:pt idx="143">
                  <c:v>45348</c:v>
                </c:pt>
                <c:pt idx="144">
                  <c:v>45349</c:v>
                </c:pt>
                <c:pt idx="145">
                  <c:v>45350</c:v>
                </c:pt>
                <c:pt idx="146">
                  <c:v>45351</c:v>
                </c:pt>
                <c:pt idx="147">
                  <c:v>45352</c:v>
                </c:pt>
                <c:pt idx="148">
                  <c:v>45355</c:v>
                </c:pt>
                <c:pt idx="149">
                  <c:v>45356</c:v>
                </c:pt>
                <c:pt idx="150">
                  <c:v>45357</c:v>
                </c:pt>
                <c:pt idx="151">
                  <c:v>45358</c:v>
                </c:pt>
                <c:pt idx="152">
                  <c:v>45359</c:v>
                </c:pt>
                <c:pt idx="153">
                  <c:v>45362</c:v>
                </c:pt>
                <c:pt idx="154">
                  <c:v>45363</c:v>
                </c:pt>
                <c:pt idx="155">
                  <c:v>45364</c:v>
                </c:pt>
                <c:pt idx="156">
                  <c:v>45365</c:v>
                </c:pt>
                <c:pt idx="157">
                  <c:v>45366</c:v>
                </c:pt>
                <c:pt idx="158">
                  <c:v>45369</c:v>
                </c:pt>
                <c:pt idx="159">
                  <c:v>45370</c:v>
                </c:pt>
                <c:pt idx="160">
                  <c:v>45371</c:v>
                </c:pt>
                <c:pt idx="161">
                  <c:v>45372</c:v>
                </c:pt>
                <c:pt idx="162">
                  <c:v>45373</c:v>
                </c:pt>
                <c:pt idx="163">
                  <c:v>45376</c:v>
                </c:pt>
                <c:pt idx="164">
                  <c:v>45377</c:v>
                </c:pt>
                <c:pt idx="165">
                  <c:v>45378</c:v>
                </c:pt>
                <c:pt idx="166">
                  <c:v>45379</c:v>
                </c:pt>
                <c:pt idx="167">
                  <c:v>45380</c:v>
                </c:pt>
                <c:pt idx="168">
                  <c:v>45383</c:v>
                </c:pt>
                <c:pt idx="169">
                  <c:v>45384</c:v>
                </c:pt>
                <c:pt idx="170">
                  <c:v>45385</c:v>
                </c:pt>
                <c:pt idx="171">
                  <c:v>45390</c:v>
                </c:pt>
                <c:pt idx="172">
                  <c:v>45391</c:v>
                </c:pt>
                <c:pt idx="173">
                  <c:v>45392</c:v>
                </c:pt>
                <c:pt idx="174">
                  <c:v>45393</c:v>
                </c:pt>
                <c:pt idx="175">
                  <c:v>45394</c:v>
                </c:pt>
                <c:pt idx="176">
                  <c:v>45397</c:v>
                </c:pt>
                <c:pt idx="177">
                  <c:v>45398</c:v>
                </c:pt>
                <c:pt idx="178">
                  <c:v>45399</c:v>
                </c:pt>
                <c:pt idx="179">
                  <c:v>45400</c:v>
                </c:pt>
                <c:pt idx="180">
                  <c:v>45401</c:v>
                </c:pt>
                <c:pt idx="181">
                  <c:v>45404</c:v>
                </c:pt>
                <c:pt idx="182">
                  <c:v>45405</c:v>
                </c:pt>
                <c:pt idx="183">
                  <c:v>45406</c:v>
                </c:pt>
                <c:pt idx="184">
                  <c:v>45407</c:v>
                </c:pt>
                <c:pt idx="185">
                  <c:v>45408</c:v>
                </c:pt>
                <c:pt idx="186">
                  <c:v>45411</c:v>
                </c:pt>
                <c:pt idx="187">
                  <c:v>45412</c:v>
                </c:pt>
                <c:pt idx="188">
                  <c:v>45418</c:v>
                </c:pt>
                <c:pt idx="189">
                  <c:v>45419</c:v>
                </c:pt>
                <c:pt idx="190">
                  <c:v>45420</c:v>
                </c:pt>
                <c:pt idx="191">
                  <c:v>45421</c:v>
                </c:pt>
                <c:pt idx="192">
                  <c:v>45422</c:v>
                </c:pt>
                <c:pt idx="193">
                  <c:v>45425</c:v>
                </c:pt>
                <c:pt idx="194">
                  <c:v>45426</c:v>
                </c:pt>
                <c:pt idx="195">
                  <c:v>45427</c:v>
                </c:pt>
                <c:pt idx="196">
                  <c:v>45428</c:v>
                </c:pt>
                <c:pt idx="197">
                  <c:v>45429</c:v>
                </c:pt>
                <c:pt idx="198">
                  <c:v>45432</c:v>
                </c:pt>
                <c:pt idx="199">
                  <c:v>45433</c:v>
                </c:pt>
                <c:pt idx="200">
                  <c:v>45434</c:v>
                </c:pt>
                <c:pt idx="201">
                  <c:v>45435</c:v>
                </c:pt>
                <c:pt idx="202">
                  <c:v>45436</c:v>
                </c:pt>
                <c:pt idx="203">
                  <c:v>45439</c:v>
                </c:pt>
                <c:pt idx="204">
                  <c:v>45440</c:v>
                </c:pt>
                <c:pt idx="205">
                  <c:v>45441</c:v>
                </c:pt>
                <c:pt idx="206">
                  <c:v>45442</c:v>
                </c:pt>
                <c:pt idx="207">
                  <c:v>45443</c:v>
                </c:pt>
                <c:pt idx="208">
                  <c:v>45446</c:v>
                </c:pt>
                <c:pt idx="209">
                  <c:v>45447</c:v>
                </c:pt>
                <c:pt idx="210">
                  <c:v>45448</c:v>
                </c:pt>
                <c:pt idx="211">
                  <c:v>45449</c:v>
                </c:pt>
                <c:pt idx="212">
                  <c:v>45450</c:v>
                </c:pt>
                <c:pt idx="213">
                  <c:v>45454</c:v>
                </c:pt>
                <c:pt idx="214">
                  <c:v>45455</c:v>
                </c:pt>
                <c:pt idx="215">
                  <c:v>45456</c:v>
                </c:pt>
                <c:pt idx="216">
                  <c:v>45457</c:v>
                </c:pt>
                <c:pt idx="217">
                  <c:v>45460</c:v>
                </c:pt>
                <c:pt idx="218">
                  <c:v>45461</c:v>
                </c:pt>
                <c:pt idx="219">
                  <c:v>45462</c:v>
                </c:pt>
                <c:pt idx="220">
                  <c:v>45463</c:v>
                </c:pt>
                <c:pt idx="221">
                  <c:v>45464</c:v>
                </c:pt>
                <c:pt idx="222">
                  <c:v>45467</c:v>
                </c:pt>
                <c:pt idx="223">
                  <c:v>45468</c:v>
                </c:pt>
                <c:pt idx="224">
                  <c:v>45469</c:v>
                </c:pt>
                <c:pt idx="225">
                  <c:v>45470</c:v>
                </c:pt>
                <c:pt idx="226">
                  <c:v>45471</c:v>
                </c:pt>
                <c:pt idx="227">
                  <c:v>45474</c:v>
                </c:pt>
                <c:pt idx="228">
                  <c:v>45475</c:v>
                </c:pt>
                <c:pt idx="229">
                  <c:v>45476</c:v>
                </c:pt>
                <c:pt idx="230">
                  <c:v>45477</c:v>
                </c:pt>
                <c:pt idx="231">
                  <c:v>45478</c:v>
                </c:pt>
                <c:pt idx="232">
                  <c:v>45481</c:v>
                </c:pt>
                <c:pt idx="233">
                  <c:v>45482</c:v>
                </c:pt>
                <c:pt idx="234">
                  <c:v>45483</c:v>
                </c:pt>
                <c:pt idx="235">
                  <c:v>45484</c:v>
                </c:pt>
                <c:pt idx="236">
                  <c:v>45485</c:v>
                </c:pt>
                <c:pt idx="237">
                  <c:v>45488</c:v>
                </c:pt>
                <c:pt idx="238">
                  <c:v>45489</c:v>
                </c:pt>
                <c:pt idx="239">
                  <c:v>45490</c:v>
                </c:pt>
                <c:pt idx="240">
                  <c:v>45491</c:v>
                </c:pt>
                <c:pt idx="241">
                  <c:v>45492</c:v>
                </c:pt>
                <c:pt idx="242">
                  <c:v>45495</c:v>
                </c:pt>
                <c:pt idx="243">
                  <c:v>45496</c:v>
                </c:pt>
                <c:pt idx="244">
                  <c:v>45497</c:v>
                </c:pt>
                <c:pt idx="245">
                  <c:v>45498</c:v>
                </c:pt>
                <c:pt idx="246">
                  <c:v>45499</c:v>
                </c:pt>
                <c:pt idx="247">
                  <c:v>45502</c:v>
                </c:pt>
                <c:pt idx="248">
                  <c:v>45503</c:v>
                </c:pt>
                <c:pt idx="249">
                  <c:v>45504</c:v>
                </c:pt>
                <c:pt idx="250">
                  <c:v>45505</c:v>
                </c:pt>
                <c:pt idx="251">
                  <c:v>45506</c:v>
                </c:pt>
                <c:pt idx="252">
                  <c:v>45509</c:v>
                </c:pt>
                <c:pt idx="253">
                  <c:v>45510</c:v>
                </c:pt>
                <c:pt idx="254">
                  <c:v>45511</c:v>
                </c:pt>
                <c:pt idx="255">
                  <c:v>45512</c:v>
                </c:pt>
                <c:pt idx="256">
                  <c:v>45513</c:v>
                </c:pt>
                <c:pt idx="257">
                  <c:v>45516</c:v>
                </c:pt>
                <c:pt idx="258">
                  <c:v>45517</c:v>
                </c:pt>
                <c:pt idx="259">
                  <c:v>45518</c:v>
                </c:pt>
                <c:pt idx="260">
                  <c:v>45519</c:v>
                </c:pt>
                <c:pt idx="261">
                  <c:v>45520</c:v>
                </c:pt>
                <c:pt idx="262">
                  <c:v>45523</c:v>
                </c:pt>
                <c:pt idx="263">
                  <c:v>45524</c:v>
                </c:pt>
                <c:pt idx="264">
                  <c:v>45525</c:v>
                </c:pt>
                <c:pt idx="265">
                  <c:v>45526</c:v>
                </c:pt>
                <c:pt idx="266">
                  <c:v>45527</c:v>
                </c:pt>
                <c:pt idx="267">
                  <c:v>45530</c:v>
                </c:pt>
                <c:pt idx="268">
                  <c:v>45531</c:v>
                </c:pt>
                <c:pt idx="269">
                  <c:v>45532</c:v>
                </c:pt>
                <c:pt idx="270">
                  <c:v>45533</c:v>
                </c:pt>
                <c:pt idx="271">
                  <c:v>45534</c:v>
                </c:pt>
                <c:pt idx="272">
                  <c:v>45537</c:v>
                </c:pt>
                <c:pt idx="273">
                  <c:v>45538</c:v>
                </c:pt>
                <c:pt idx="274">
                  <c:v>45539</c:v>
                </c:pt>
                <c:pt idx="275">
                  <c:v>45540</c:v>
                </c:pt>
                <c:pt idx="276">
                  <c:v>45541</c:v>
                </c:pt>
                <c:pt idx="277">
                  <c:v>45544</c:v>
                </c:pt>
                <c:pt idx="278">
                  <c:v>45545</c:v>
                </c:pt>
                <c:pt idx="279">
                  <c:v>45546</c:v>
                </c:pt>
                <c:pt idx="280">
                  <c:v>45547</c:v>
                </c:pt>
                <c:pt idx="281">
                  <c:v>45548</c:v>
                </c:pt>
                <c:pt idx="282">
                  <c:v>45553</c:v>
                </c:pt>
                <c:pt idx="283">
                  <c:v>45554</c:v>
                </c:pt>
                <c:pt idx="284">
                  <c:v>45555</c:v>
                </c:pt>
                <c:pt idx="285">
                  <c:v>45558</c:v>
                </c:pt>
                <c:pt idx="286">
                  <c:v>45559</c:v>
                </c:pt>
                <c:pt idx="287">
                  <c:v>45560</c:v>
                </c:pt>
                <c:pt idx="288">
                  <c:v>45561</c:v>
                </c:pt>
                <c:pt idx="289">
                  <c:v>45562</c:v>
                </c:pt>
                <c:pt idx="290">
                  <c:v>45565</c:v>
                </c:pt>
                <c:pt idx="291">
                  <c:v>45573</c:v>
                </c:pt>
                <c:pt idx="292">
                  <c:v>45574</c:v>
                </c:pt>
                <c:pt idx="293">
                  <c:v>45575</c:v>
                </c:pt>
                <c:pt idx="294">
                  <c:v>45576</c:v>
                </c:pt>
                <c:pt idx="295">
                  <c:v>45579</c:v>
                </c:pt>
                <c:pt idx="296">
                  <c:v>45580</c:v>
                </c:pt>
                <c:pt idx="297">
                  <c:v>45581</c:v>
                </c:pt>
                <c:pt idx="298">
                  <c:v>45582</c:v>
                </c:pt>
                <c:pt idx="299">
                  <c:v>45583</c:v>
                </c:pt>
                <c:pt idx="300">
                  <c:v>45586</c:v>
                </c:pt>
                <c:pt idx="301">
                  <c:v>45587</c:v>
                </c:pt>
                <c:pt idx="302">
                  <c:v>45588</c:v>
                </c:pt>
                <c:pt idx="303">
                  <c:v>45589</c:v>
                </c:pt>
                <c:pt idx="304">
                  <c:v>45590</c:v>
                </c:pt>
                <c:pt idx="305">
                  <c:v>45593</c:v>
                </c:pt>
                <c:pt idx="306">
                  <c:v>45594</c:v>
                </c:pt>
                <c:pt idx="307">
                  <c:v>45595</c:v>
                </c:pt>
                <c:pt idx="308">
                  <c:v>45596</c:v>
                </c:pt>
                <c:pt idx="309">
                  <c:v>45597</c:v>
                </c:pt>
                <c:pt idx="310">
                  <c:v>45600</c:v>
                </c:pt>
                <c:pt idx="311">
                  <c:v>45601</c:v>
                </c:pt>
                <c:pt idx="312">
                  <c:v>45602</c:v>
                </c:pt>
                <c:pt idx="313">
                  <c:v>45603</c:v>
                </c:pt>
                <c:pt idx="314">
                  <c:v>45604</c:v>
                </c:pt>
                <c:pt idx="315">
                  <c:v>45607</c:v>
                </c:pt>
                <c:pt idx="316">
                  <c:v>45608</c:v>
                </c:pt>
                <c:pt idx="317">
                  <c:v>45609</c:v>
                </c:pt>
                <c:pt idx="318">
                  <c:v>45610</c:v>
                </c:pt>
                <c:pt idx="319">
                  <c:v>45611</c:v>
                </c:pt>
                <c:pt idx="320">
                  <c:v>45614</c:v>
                </c:pt>
                <c:pt idx="321">
                  <c:v>45615</c:v>
                </c:pt>
                <c:pt idx="322">
                  <c:v>45616</c:v>
                </c:pt>
                <c:pt idx="323">
                  <c:v>45617</c:v>
                </c:pt>
                <c:pt idx="324">
                  <c:v>45618</c:v>
                </c:pt>
                <c:pt idx="325">
                  <c:v>45621</c:v>
                </c:pt>
                <c:pt idx="326">
                  <c:v>45622</c:v>
                </c:pt>
                <c:pt idx="327">
                  <c:v>45623</c:v>
                </c:pt>
                <c:pt idx="328">
                  <c:v>45624</c:v>
                </c:pt>
                <c:pt idx="329">
                  <c:v>45625</c:v>
                </c:pt>
                <c:pt idx="330">
                  <c:v>45628</c:v>
                </c:pt>
                <c:pt idx="331">
                  <c:v>45629</c:v>
                </c:pt>
                <c:pt idx="332">
                  <c:v>45630</c:v>
                </c:pt>
                <c:pt idx="333">
                  <c:v>45631</c:v>
                </c:pt>
                <c:pt idx="334">
                  <c:v>45632</c:v>
                </c:pt>
                <c:pt idx="335">
                  <c:v>45635</c:v>
                </c:pt>
                <c:pt idx="336">
                  <c:v>45636</c:v>
                </c:pt>
                <c:pt idx="337">
                  <c:v>45637</c:v>
                </c:pt>
                <c:pt idx="338">
                  <c:v>45638</c:v>
                </c:pt>
                <c:pt idx="339">
                  <c:v>45639</c:v>
                </c:pt>
                <c:pt idx="340">
                  <c:v>45642</c:v>
                </c:pt>
                <c:pt idx="341">
                  <c:v>45643</c:v>
                </c:pt>
                <c:pt idx="342">
                  <c:v>45644</c:v>
                </c:pt>
                <c:pt idx="343">
                  <c:v>45645</c:v>
                </c:pt>
                <c:pt idx="344">
                  <c:v>45646</c:v>
                </c:pt>
                <c:pt idx="345">
                  <c:v>45649</c:v>
                </c:pt>
                <c:pt idx="346">
                  <c:v>45650</c:v>
                </c:pt>
                <c:pt idx="347">
                  <c:v>45651</c:v>
                </c:pt>
                <c:pt idx="348">
                  <c:v>45652</c:v>
                </c:pt>
                <c:pt idx="349">
                  <c:v>45653</c:v>
                </c:pt>
                <c:pt idx="350">
                  <c:v>45656</c:v>
                </c:pt>
                <c:pt idx="351">
                  <c:v>45657</c:v>
                </c:pt>
                <c:pt idx="352">
                  <c:v>45659</c:v>
                </c:pt>
                <c:pt idx="353">
                  <c:v>45660</c:v>
                </c:pt>
                <c:pt idx="354">
                  <c:v>45663</c:v>
                </c:pt>
                <c:pt idx="355">
                  <c:v>45664</c:v>
                </c:pt>
                <c:pt idx="356">
                  <c:v>45665</c:v>
                </c:pt>
                <c:pt idx="357">
                  <c:v>45666</c:v>
                </c:pt>
                <c:pt idx="358">
                  <c:v>45667</c:v>
                </c:pt>
                <c:pt idx="359">
                  <c:v>45670</c:v>
                </c:pt>
                <c:pt idx="360">
                  <c:v>45671</c:v>
                </c:pt>
                <c:pt idx="361">
                  <c:v>45672</c:v>
                </c:pt>
                <c:pt idx="362">
                  <c:v>45673</c:v>
                </c:pt>
                <c:pt idx="363">
                  <c:v>45674</c:v>
                </c:pt>
                <c:pt idx="364">
                  <c:v>45677</c:v>
                </c:pt>
                <c:pt idx="365">
                  <c:v>45678</c:v>
                </c:pt>
                <c:pt idx="366">
                  <c:v>45679</c:v>
                </c:pt>
                <c:pt idx="367">
                  <c:v>45680</c:v>
                </c:pt>
                <c:pt idx="368">
                  <c:v>45681</c:v>
                </c:pt>
                <c:pt idx="369">
                  <c:v>45684</c:v>
                </c:pt>
                <c:pt idx="370">
                  <c:v>45693</c:v>
                </c:pt>
                <c:pt idx="371">
                  <c:v>45694</c:v>
                </c:pt>
                <c:pt idx="372">
                  <c:v>45695</c:v>
                </c:pt>
                <c:pt idx="373">
                  <c:v>45698</c:v>
                </c:pt>
                <c:pt idx="374">
                  <c:v>45699</c:v>
                </c:pt>
                <c:pt idx="375">
                  <c:v>45700</c:v>
                </c:pt>
                <c:pt idx="376">
                  <c:v>45701</c:v>
                </c:pt>
                <c:pt idx="377">
                  <c:v>45702</c:v>
                </c:pt>
                <c:pt idx="378">
                  <c:v>45705</c:v>
                </c:pt>
                <c:pt idx="379">
                  <c:v>45706</c:v>
                </c:pt>
                <c:pt idx="380">
                  <c:v>45707</c:v>
                </c:pt>
                <c:pt idx="381">
                  <c:v>45708</c:v>
                </c:pt>
                <c:pt idx="382">
                  <c:v>45709</c:v>
                </c:pt>
                <c:pt idx="383">
                  <c:v>45712</c:v>
                </c:pt>
                <c:pt idx="384">
                  <c:v>45713</c:v>
                </c:pt>
                <c:pt idx="385">
                  <c:v>45714</c:v>
                </c:pt>
                <c:pt idx="386">
                  <c:v>45715</c:v>
                </c:pt>
                <c:pt idx="387">
                  <c:v>45716</c:v>
                </c:pt>
                <c:pt idx="388">
                  <c:v>45719</c:v>
                </c:pt>
                <c:pt idx="389">
                  <c:v>45720</c:v>
                </c:pt>
                <c:pt idx="390">
                  <c:v>45721</c:v>
                </c:pt>
                <c:pt idx="391">
                  <c:v>45722</c:v>
                </c:pt>
                <c:pt idx="392">
                  <c:v>45723</c:v>
                </c:pt>
                <c:pt idx="393">
                  <c:v>45726</c:v>
                </c:pt>
                <c:pt idx="394">
                  <c:v>45727</c:v>
                </c:pt>
                <c:pt idx="395">
                  <c:v>45728</c:v>
                </c:pt>
                <c:pt idx="396">
                  <c:v>45729</c:v>
                </c:pt>
                <c:pt idx="397">
                  <c:v>45730</c:v>
                </c:pt>
                <c:pt idx="398">
                  <c:v>45733</c:v>
                </c:pt>
                <c:pt idx="399">
                  <c:v>45734</c:v>
                </c:pt>
                <c:pt idx="400">
                  <c:v>45735</c:v>
                </c:pt>
                <c:pt idx="401">
                  <c:v>45736</c:v>
                </c:pt>
                <c:pt idx="402">
                  <c:v>45737</c:v>
                </c:pt>
                <c:pt idx="403">
                  <c:v>45740</c:v>
                </c:pt>
                <c:pt idx="404">
                  <c:v>45741</c:v>
                </c:pt>
                <c:pt idx="405">
                  <c:v>45742</c:v>
                </c:pt>
                <c:pt idx="406">
                  <c:v>45743</c:v>
                </c:pt>
                <c:pt idx="407">
                  <c:v>45744</c:v>
                </c:pt>
                <c:pt idx="408">
                  <c:v>45747</c:v>
                </c:pt>
                <c:pt idx="409">
                  <c:v>45748</c:v>
                </c:pt>
                <c:pt idx="410">
                  <c:v>45749</c:v>
                </c:pt>
                <c:pt idx="411">
                  <c:v>45750</c:v>
                </c:pt>
                <c:pt idx="412">
                  <c:v>45754</c:v>
                </c:pt>
                <c:pt idx="413">
                  <c:v>45755</c:v>
                </c:pt>
                <c:pt idx="414">
                  <c:v>45756</c:v>
                </c:pt>
                <c:pt idx="415">
                  <c:v>45757</c:v>
                </c:pt>
                <c:pt idx="416">
                  <c:v>45758</c:v>
                </c:pt>
                <c:pt idx="417">
                  <c:v>45761</c:v>
                </c:pt>
                <c:pt idx="418">
                  <c:v>45762</c:v>
                </c:pt>
                <c:pt idx="419">
                  <c:v>45763</c:v>
                </c:pt>
                <c:pt idx="420">
                  <c:v>45764</c:v>
                </c:pt>
                <c:pt idx="421">
                  <c:v>45765</c:v>
                </c:pt>
                <c:pt idx="422">
                  <c:v>45768</c:v>
                </c:pt>
                <c:pt idx="423">
                  <c:v>45769</c:v>
                </c:pt>
                <c:pt idx="424">
                  <c:v>45770</c:v>
                </c:pt>
                <c:pt idx="425">
                  <c:v>45771</c:v>
                </c:pt>
                <c:pt idx="426">
                  <c:v>45772</c:v>
                </c:pt>
                <c:pt idx="427">
                  <c:v>45775</c:v>
                </c:pt>
                <c:pt idx="428">
                  <c:v>45776</c:v>
                </c:pt>
                <c:pt idx="429">
                  <c:v>45777</c:v>
                </c:pt>
                <c:pt idx="430">
                  <c:v>45783</c:v>
                </c:pt>
                <c:pt idx="431">
                  <c:v>45784</c:v>
                </c:pt>
                <c:pt idx="432">
                  <c:v>45785</c:v>
                </c:pt>
                <c:pt idx="433">
                  <c:v>45786</c:v>
                </c:pt>
                <c:pt idx="434">
                  <c:v>45789</c:v>
                </c:pt>
                <c:pt idx="435">
                  <c:v>45790</c:v>
                </c:pt>
                <c:pt idx="436">
                  <c:v>45791</c:v>
                </c:pt>
                <c:pt idx="437">
                  <c:v>45792</c:v>
                </c:pt>
                <c:pt idx="438">
                  <c:v>45793</c:v>
                </c:pt>
                <c:pt idx="439">
                  <c:v>45796</c:v>
                </c:pt>
                <c:pt idx="440">
                  <c:v>45797</c:v>
                </c:pt>
                <c:pt idx="441">
                  <c:v>45798</c:v>
                </c:pt>
                <c:pt idx="442">
                  <c:v>45799</c:v>
                </c:pt>
                <c:pt idx="443">
                  <c:v>45800</c:v>
                </c:pt>
                <c:pt idx="444">
                  <c:v>45803</c:v>
                </c:pt>
                <c:pt idx="445">
                  <c:v>45804</c:v>
                </c:pt>
                <c:pt idx="446">
                  <c:v>45805</c:v>
                </c:pt>
                <c:pt idx="447">
                  <c:v>45806</c:v>
                </c:pt>
                <c:pt idx="448">
                  <c:v>45807</c:v>
                </c:pt>
                <c:pt idx="449">
                  <c:v>45811</c:v>
                </c:pt>
                <c:pt idx="450">
                  <c:v>45812</c:v>
                </c:pt>
                <c:pt idx="451">
                  <c:v>45813</c:v>
                </c:pt>
                <c:pt idx="452">
                  <c:v>45814</c:v>
                </c:pt>
                <c:pt idx="453">
                  <c:v>45817</c:v>
                </c:pt>
                <c:pt idx="454">
                  <c:v>45818</c:v>
                </c:pt>
                <c:pt idx="455">
                  <c:v>45819</c:v>
                </c:pt>
                <c:pt idx="456">
                  <c:v>45820</c:v>
                </c:pt>
                <c:pt idx="457">
                  <c:v>45821</c:v>
                </c:pt>
                <c:pt idx="458">
                  <c:v>45824</c:v>
                </c:pt>
                <c:pt idx="459">
                  <c:v>45825</c:v>
                </c:pt>
                <c:pt idx="460">
                  <c:v>45826</c:v>
                </c:pt>
                <c:pt idx="461">
                  <c:v>45827</c:v>
                </c:pt>
                <c:pt idx="462">
                  <c:v>45828</c:v>
                </c:pt>
                <c:pt idx="463">
                  <c:v>45831</c:v>
                </c:pt>
                <c:pt idx="464">
                  <c:v>45832</c:v>
                </c:pt>
                <c:pt idx="465">
                  <c:v>45833</c:v>
                </c:pt>
                <c:pt idx="466">
                  <c:v>45834</c:v>
                </c:pt>
                <c:pt idx="467">
                  <c:v>45835</c:v>
                </c:pt>
                <c:pt idx="468">
                  <c:v>45838</c:v>
                </c:pt>
                <c:pt idx="469">
                  <c:v>45839</c:v>
                </c:pt>
                <c:pt idx="470">
                  <c:v>45840</c:v>
                </c:pt>
                <c:pt idx="471">
                  <c:v>45841</c:v>
                </c:pt>
                <c:pt idx="472">
                  <c:v>45842</c:v>
                </c:pt>
                <c:pt idx="473">
                  <c:v>45845</c:v>
                </c:pt>
                <c:pt idx="474">
                  <c:v>45846</c:v>
                </c:pt>
                <c:pt idx="475">
                  <c:v>45847</c:v>
                </c:pt>
                <c:pt idx="476">
                  <c:v>45848</c:v>
                </c:pt>
                <c:pt idx="477">
                  <c:v>45849</c:v>
                </c:pt>
                <c:pt idx="478">
                  <c:v>45852</c:v>
                </c:pt>
                <c:pt idx="479">
                  <c:v>45853</c:v>
                </c:pt>
                <c:pt idx="480">
                  <c:v>45854</c:v>
                </c:pt>
                <c:pt idx="481">
                  <c:v>45855</c:v>
                </c:pt>
                <c:pt idx="482">
                  <c:v>45856</c:v>
                </c:pt>
                <c:pt idx="483">
                  <c:v>45859</c:v>
                </c:pt>
                <c:pt idx="484">
                  <c:v>45860</c:v>
                </c:pt>
                <c:pt idx="485">
                  <c:v>45861</c:v>
                </c:pt>
                <c:pt idx="486">
                  <c:v>45862</c:v>
                </c:pt>
                <c:pt idx="487">
                  <c:v>45863</c:v>
                </c:pt>
                <c:pt idx="488">
                  <c:v>45866</c:v>
                </c:pt>
                <c:pt idx="489">
                  <c:v>45867</c:v>
                </c:pt>
                <c:pt idx="490">
                  <c:v>45868</c:v>
                </c:pt>
                <c:pt idx="491">
                  <c:v>45869</c:v>
                </c:pt>
                <c:pt idx="492">
                  <c:v>45870</c:v>
                </c:pt>
                <c:pt idx="493">
                  <c:v>45873</c:v>
                </c:pt>
                <c:pt idx="494">
                  <c:v>45874</c:v>
                </c:pt>
                <c:pt idx="495">
                  <c:v>45875</c:v>
                </c:pt>
                <c:pt idx="496">
                  <c:v>45876</c:v>
                </c:pt>
                <c:pt idx="497">
                  <c:v>45877</c:v>
                </c:pt>
                <c:pt idx="498">
                  <c:v>45880</c:v>
                </c:pt>
                <c:pt idx="499">
                  <c:v>45881</c:v>
                </c:pt>
                <c:pt idx="500">
                  <c:v>45882</c:v>
                </c:pt>
                <c:pt idx="501">
                  <c:v>45883</c:v>
                </c:pt>
                <c:pt idx="502">
                  <c:v>45884</c:v>
                </c:pt>
                <c:pt idx="503">
                  <c:v>45887</c:v>
                </c:pt>
                <c:pt idx="504">
                  <c:v>45888</c:v>
                </c:pt>
                <c:pt idx="505">
                  <c:v>45889</c:v>
                </c:pt>
                <c:pt idx="506">
                  <c:v>45890</c:v>
                </c:pt>
                <c:pt idx="507">
                  <c:v>45891</c:v>
                </c:pt>
                <c:pt idx="508">
                  <c:v>45894</c:v>
                </c:pt>
                <c:pt idx="509">
                  <c:v>45895</c:v>
                </c:pt>
                <c:pt idx="510">
                  <c:v>45896</c:v>
                </c:pt>
                <c:pt idx="511">
                  <c:v>45897</c:v>
                </c:pt>
                <c:pt idx="512">
                  <c:v>45898</c:v>
                </c:pt>
                <c:pt idx="513">
                  <c:v>45901</c:v>
                </c:pt>
                <c:pt idx="514">
                  <c:v>45902</c:v>
                </c:pt>
                <c:pt idx="515">
                  <c:v>45903</c:v>
                </c:pt>
                <c:pt idx="516">
                  <c:v>45904</c:v>
                </c:pt>
                <c:pt idx="517">
                  <c:v>45905</c:v>
                </c:pt>
                <c:pt idx="518">
                  <c:v>45908</c:v>
                </c:pt>
                <c:pt idx="519">
                  <c:v>45909</c:v>
                </c:pt>
                <c:pt idx="520">
                  <c:v>45910</c:v>
                </c:pt>
                <c:pt idx="521">
                  <c:v>45911</c:v>
                </c:pt>
                <c:pt idx="522">
                  <c:v>45912</c:v>
                </c:pt>
                <c:pt idx="523">
                  <c:v>45915</c:v>
                </c:pt>
                <c:pt idx="524">
                  <c:v>45916</c:v>
                </c:pt>
                <c:pt idx="525">
                  <c:v>45917</c:v>
                </c:pt>
                <c:pt idx="526">
                  <c:v>45918</c:v>
                </c:pt>
                <c:pt idx="527">
                  <c:v>45919</c:v>
                </c:pt>
                <c:pt idx="528">
                  <c:v>45922</c:v>
                </c:pt>
                <c:pt idx="529">
                  <c:v>45923</c:v>
                </c:pt>
                <c:pt idx="530">
                  <c:v>45924</c:v>
                </c:pt>
                <c:pt idx="531">
                  <c:v>45925</c:v>
                </c:pt>
                <c:pt idx="532">
                  <c:v>45926</c:v>
                </c:pt>
                <c:pt idx="533">
                  <c:v>45929</c:v>
                </c:pt>
                <c:pt idx="534">
                  <c:v>45930</c:v>
                </c:pt>
                <c:pt idx="535">
                  <c:v>45931</c:v>
                </c:pt>
                <c:pt idx="536">
                  <c:v>45932</c:v>
                </c:pt>
                <c:pt idx="537">
                  <c:v>45933</c:v>
                </c:pt>
                <c:pt idx="538">
                  <c:v>45936</c:v>
                </c:pt>
                <c:pt idx="539">
                  <c:v>45937</c:v>
                </c:pt>
                <c:pt idx="540">
                  <c:v>45938</c:v>
                </c:pt>
                <c:pt idx="541">
                  <c:v>45939</c:v>
                </c:pt>
                <c:pt idx="542">
                  <c:v>45940</c:v>
                </c:pt>
                <c:pt idx="543">
                  <c:v>45943</c:v>
                </c:pt>
                <c:pt idx="544">
                  <c:v>45944</c:v>
                </c:pt>
                <c:pt idx="545">
                  <c:v>45945</c:v>
                </c:pt>
                <c:pt idx="546">
                  <c:v>45946</c:v>
                </c:pt>
                <c:pt idx="547">
                  <c:v>45947</c:v>
                </c:pt>
                <c:pt idx="548">
                  <c:v>45950</c:v>
                </c:pt>
                <c:pt idx="549">
                  <c:v>45951</c:v>
                </c:pt>
                <c:pt idx="550">
                  <c:v>45952</c:v>
                </c:pt>
                <c:pt idx="551">
                  <c:v>45953</c:v>
                </c:pt>
                <c:pt idx="552">
                  <c:v>45954</c:v>
                </c:pt>
                <c:pt idx="553">
                  <c:v>45957</c:v>
                </c:pt>
                <c:pt idx="554">
                  <c:v>45958</c:v>
                </c:pt>
                <c:pt idx="555">
                  <c:v>45959</c:v>
                </c:pt>
                <c:pt idx="556">
                  <c:v>45960</c:v>
                </c:pt>
                <c:pt idx="557">
                  <c:v>45961</c:v>
                </c:pt>
                <c:pt idx="558">
                  <c:v>45964</c:v>
                </c:pt>
                <c:pt idx="559">
                  <c:v>45965</c:v>
                </c:pt>
                <c:pt idx="560">
                  <c:v>45966</c:v>
                </c:pt>
                <c:pt idx="561">
                  <c:v>45967</c:v>
                </c:pt>
                <c:pt idx="562">
                  <c:v>45968</c:v>
                </c:pt>
                <c:pt idx="563">
                  <c:v>45971</c:v>
                </c:pt>
                <c:pt idx="564">
                  <c:v>45972</c:v>
                </c:pt>
                <c:pt idx="565">
                  <c:v>45973</c:v>
                </c:pt>
                <c:pt idx="566">
                  <c:v>45974</c:v>
                </c:pt>
                <c:pt idx="567">
                  <c:v>45975</c:v>
                </c:pt>
                <c:pt idx="568">
                  <c:v>45978</c:v>
                </c:pt>
                <c:pt idx="569">
                  <c:v>45979</c:v>
                </c:pt>
                <c:pt idx="570">
                  <c:v>45980</c:v>
                </c:pt>
                <c:pt idx="571">
                  <c:v>45981</c:v>
                </c:pt>
                <c:pt idx="572">
                  <c:v>45982</c:v>
                </c:pt>
                <c:pt idx="573">
                  <c:v>45985</c:v>
                </c:pt>
                <c:pt idx="574">
                  <c:v>45986</c:v>
                </c:pt>
                <c:pt idx="575">
                  <c:v>45987</c:v>
                </c:pt>
                <c:pt idx="576">
                  <c:v>45988</c:v>
                </c:pt>
                <c:pt idx="577">
                  <c:v>45989</c:v>
                </c:pt>
                <c:pt idx="578">
                  <c:v>45992</c:v>
                </c:pt>
                <c:pt idx="579">
                  <c:v>45993</c:v>
                </c:pt>
                <c:pt idx="580">
                  <c:v>45994</c:v>
                </c:pt>
                <c:pt idx="581">
                  <c:v>45995</c:v>
                </c:pt>
                <c:pt idx="582">
                  <c:v>45996</c:v>
                </c:pt>
                <c:pt idx="583">
                  <c:v>45999</c:v>
                </c:pt>
                <c:pt idx="584">
                  <c:v>46000</c:v>
                </c:pt>
                <c:pt idx="585">
                  <c:v>46001</c:v>
                </c:pt>
                <c:pt idx="586">
                  <c:v>46002</c:v>
                </c:pt>
                <c:pt idx="587">
                  <c:v>46003</c:v>
                </c:pt>
                <c:pt idx="588">
                  <c:v>46006</c:v>
                </c:pt>
                <c:pt idx="589">
                  <c:v>46007</c:v>
                </c:pt>
                <c:pt idx="590">
                  <c:v>46008</c:v>
                </c:pt>
                <c:pt idx="591">
                  <c:v>46009</c:v>
                </c:pt>
                <c:pt idx="592">
                  <c:v>46010</c:v>
                </c:pt>
                <c:pt idx="593">
                  <c:v>46013</c:v>
                </c:pt>
                <c:pt idx="594">
                  <c:v>46014</c:v>
                </c:pt>
                <c:pt idx="595">
                  <c:v>46015</c:v>
                </c:pt>
                <c:pt idx="596">
                  <c:v>46016</c:v>
                </c:pt>
                <c:pt idx="597">
                  <c:v>46017</c:v>
                </c:pt>
                <c:pt idx="598">
                  <c:v>46020</c:v>
                </c:pt>
                <c:pt idx="599">
                  <c:v>46021</c:v>
                </c:pt>
                <c:pt idx="600">
                  <c:v>46022</c:v>
                </c:pt>
                <c:pt idx="601">
                  <c:v>46023</c:v>
                </c:pt>
                <c:pt idx="602">
                  <c:v>46024</c:v>
                </c:pt>
                <c:pt idx="603">
                  <c:v>46027</c:v>
                </c:pt>
                <c:pt idx="604">
                  <c:v>46028</c:v>
                </c:pt>
                <c:pt idx="605">
                  <c:v>46029</c:v>
                </c:pt>
                <c:pt idx="606">
                  <c:v>46030</c:v>
                </c:pt>
                <c:pt idx="607">
                  <c:v>46031</c:v>
                </c:pt>
                <c:pt idx="608">
                  <c:v>46034</c:v>
                </c:pt>
                <c:pt idx="609">
                  <c:v>46035</c:v>
                </c:pt>
                <c:pt idx="610">
                  <c:v>46036</c:v>
                </c:pt>
                <c:pt idx="611">
                  <c:v>46037</c:v>
                </c:pt>
                <c:pt idx="612">
                  <c:v>46038</c:v>
                </c:pt>
                <c:pt idx="613">
                  <c:v>46041</c:v>
                </c:pt>
                <c:pt idx="614">
                  <c:v>46042</c:v>
                </c:pt>
                <c:pt idx="615">
                  <c:v>46043</c:v>
                </c:pt>
                <c:pt idx="616">
                  <c:v>46044</c:v>
                </c:pt>
                <c:pt idx="617">
                  <c:v>46045</c:v>
                </c:pt>
                <c:pt idx="618">
                  <c:v>46048</c:v>
                </c:pt>
                <c:pt idx="619">
                  <c:v>46049</c:v>
                </c:pt>
                <c:pt idx="620">
                  <c:v>46050</c:v>
                </c:pt>
                <c:pt idx="621">
                  <c:v>46051</c:v>
                </c:pt>
                <c:pt idx="622">
                  <c:v>46052</c:v>
                </c:pt>
                <c:pt idx="623">
                  <c:v>46055</c:v>
                </c:pt>
                <c:pt idx="624">
                  <c:v>46056</c:v>
                </c:pt>
                <c:pt idx="625">
                  <c:v>46057</c:v>
                </c:pt>
                <c:pt idx="626">
                  <c:v>46058</c:v>
                </c:pt>
                <c:pt idx="627">
                  <c:v>46059</c:v>
                </c:pt>
                <c:pt idx="628">
                  <c:v>46062</c:v>
                </c:pt>
                <c:pt idx="629">
                  <c:v>46063</c:v>
                </c:pt>
                <c:pt idx="630">
                  <c:v>46064</c:v>
                </c:pt>
                <c:pt idx="631">
                  <c:v>46065</c:v>
                </c:pt>
                <c:pt idx="632">
                  <c:v>46066</c:v>
                </c:pt>
                <c:pt idx="633">
                  <c:v>46069</c:v>
                </c:pt>
                <c:pt idx="634">
                  <c:v>46070</c:v>
                </c:pt>
                <c:pt idx="635">
                  <c:v>46071</c:v>
                </c:pt>
                <c:pt idx="636">
                  <c:v>46072</c:v>
                </c:pt>
                <c:pt idx="637">
                  <c:v>46073</c:v>
                </c:pt>
                <c:pt idx="638">
                  <c:v>46076</c:v>
                </c:pt>
                <c:pt idx="639">
                  <c:v>46077</c:v>
                </c:pt>
                <c:pt idx="640">
                  <c:v>46078</c:v>
                </c:pt>
                <c:pt idx="641">
                  <c:v>46079</c:v>
                </c:pt>
                <c:pt idx="642">
                  <c:v>46080</c:v>
                </c:pt>
                <c:pt idx="643">
                  <c:v>46083</c:v>
                </c:pt>
                <c:pt idx="644">
                  <c:v>46084</c:v>
                </c:pt>
                <c:pt idx="645">
                  <c:v>46085</c:v>
                </c:pt>
                <c:pt idx="646">
                  <c:v>46086</c:v>
                </c:pt>
                <c:pt idx="647">
                  <c:v>46087</c:v>
                </c:pt>
                <c:pt idx="648">
                  <c:v>46090</c:v>
                </c:pt>
                <c:pt idx="649">
                  <c:v>46091</c:v>
                </c:pt>
                <c:pt idx="650">
                  <c:v>46092</c:v>
                </c:pt>
                <c:pt idx="651">
                  <c:v>46093</c:v>
                </c:pt>
                <c:pt idx="652">
                  <c:v>46094</c:v>
                </c:pt>
                <c:pt idx="653">
                  <c:v>46097</c:v>
                </c:pt>
                <c:pt idx="654">
                  <c:v>46098</c:v>
                </c:pt>
                <c:pt idx="655">
                  <c:v>46099</c:v>
                </c:pt>
                <c:pt idx="656">
                  <c:v>46100</c:v>
                </c:pt>
                <c:pt idx="657">
                  <c:v>46101</c:v>
                </c:pt>
                <c:pt idx="658">
                  <c:v>46104</c:v>
                </c:pt>
                <c:pt idx="659">
                  <c:v>46105</c:v>
                </c:pt>
                <c:pt idx="660">
                  <c:v>46106</c:v>
                </c:pt>
                <c:pt idx="661">
                  <c:v>46107</c:v>
                </c:pt>
                <c:pt idx="662">
                  <c:v>46108</c:v>
                </c:pt>
                <c:pt idx="663">
                  <c:v>46111</c:v>
                </c:pt>
                <c:pt idx="664">
                  <c:v>46112</c:v>
                </c:pt>
                <c:pt idx="665">
                  <c:v>46113</c:v>
                </c:pt>
                <c:pt idx="666">
                  <c:v>46114</c:v>
                </c:pt>
                <c:pt idx="667">
                  <c:v>46115</c:v>
                </c:pt>
                <c:pt idx="668">
                  <c:v>46118</c:v>
                </c:pt>
                <c:pt idx="669">
                  <c:v>46119</c:v>
                </c:pt>
                <c:pt idx="670">
                  <c:v>46120</c:v>
                </c:pt>
                <c:pt idx="671">
                  <c:v>46121</c:v>
                </c:pt>
                <c:pt idx="672">
                  <c:v>46122</c:v>
                </c:pt>
                <c:pt idx="673">
                  <c:v>46125</c:v>
                </c:pt>
                <c:pt idx="674">
                  <c:v>46126</c:v>
                </c:pt>
                <c:pt idx="675">
                  <c:v>46127</c:v>
                </c:pt>
                <c:pt idx="676">
                  <c:v>46128</c:v>
                </c:pt>
                <c:pt idx="677">
                  <c:v>46129</c:v>
                </c:pt>
                <c:pt idx="678">
                  <c:v>46132</c:v>
                </c:pt>
                <c:pt idx="679">
                  <c:v>46133</c:v>
                </c:pt>
                <c:pt idx="680">
                  <c:v>46134</c:v>
                </c:pt>
                <c:pt idx="681">
                  <c:v>46135</c:v>
                </c:pt>
                <c:pt idx="682">
                  <c:v>46136</c:v>
                </c:pt>
                <c:pt idx="683">
                  <c:v>46139</c:v>
                </c:pt>
                <c:pt idx="684">
                  <c:v>46140</c:v>
                </c:pt>
                <c:pt idx="685">
                  <c:v>46141</c:v>
                </c:pt>
                <c:pt idx="686">
                  <c:v>46142</c:v>
                </c:pt>
                <c:pt idx="687">
                  <c:v>46143</c:v>
                </c:pt>
                <c:pt idx="688">
                  <c:v>46146</c:v>
                </c:pt>
                <c:pt idx="689">
                  <c:v>46147</c:v>
                </c:pt>
                <c:pt idx="690">
                  <c:v>46148</c:v>
                </c:pt>
                <c:pt idx="691">
                  <c:v>46149</c:v>
                </c:pt>
                <c:pt idx="692">
                  <c:v>46150</c:v>
                </c:pt>
                <c:pt idx="693">
                  <c:v>46153</c:v>
                </c:pt>
                <c:pt idx="694">
                  <c:v>46154</c:v>
                </c:pt>
                <c:pt idx="695">
                  <c:v>46155</c:v>
                </c:pt>
                <c:pt idx="696">
                  <c:v>46156</c:v>
                </c:pt>
                <c:pt idx="697">
                  <c:v>46157</c:v>
                </c:pt>
                <c:pt idx="698">
                  <c:v>46160</c:v>
                </c:pt>
                <c:pt idx="699">
                  <c:v>46161</c:v>
                </c:pt>
                <c:pt idx="700">
                  <c:v>46162</c:v>
                </c:pt>
                <c:pt idx="701">
                  <c:v>46163</c:v>
                </c:pt>
                <c:pt idx="702">
                  <c:v>46164</c:v>
                </c:pt>
                <c:pt idx="703">
                  <c:v>46167</c:v>
                </c:pt>
                <c:pt idx="704">
                  <c:v>46168</c:v>
                </c:pt>
                <c:pt idx="705">
                  <c:v>46169</c:v>
                </c:pt>
                <c:pt idx="706">
                  <c:v>46170</c:v>
                </c:pt>
                <c:pt idx="707">
                  <c:v>46171</c:v>
                </c:pt>
                <c:pt idx="708">
                  <c:v>46174</c:v>
                </c:pt>
                <c:pt idx="709">
                  <c:v>46175</c:v>
                </c:pt>
                <c:pt idx="710">
                  <c:v>46176</c:v>
                </c:pt>
                <c:pt idx="711">
                  <c:v>46177</c:v>
                </c:pt>
                <c:pt idx="712">
                  <c:v>46178</c:v>
                </c:pt>
                <c:pt idx="713">
                  <c:v>46181</c:v>
                </c:pt>
                <c:pt idx="714">
                  <c:v>46182</c:v>
                </c:pt>
                <c:pt idx="715">
                  <c:v>46183</c:v>
                </c:pt>
                <c:pt idx="716">
                  <c:v>46184</c:v>
                </c:pt>
                <c:pt idx="717">
                  <c:v>46185</c:v>
                </c:pt>
                <c:pt idx="718">
                  <c:v>46188</c:v>
                </c:pt>
                <c:pt idx="719">
                  <c:v>46189</c:v>
                </c:pt>
                <c:pt idx="720">
                  <c:v>46190</c:v>
                </c:pt>
                <c:pt idx="721">
                  <c:v>46191</c:v>
                </c:pt>
                <c:pt idx="722">
                  <c:v>46192</c:v>
                </c:pt>
                <c:pt idx="723">
                  <c:v>46195</c:v>
                </c:pt>
                <c:pt idx="724">
                  <c:v>46196</c:v>
                </c:pt>
                <c:pt idx="725">
                  <c:v>46197</c:v>
                </c:pt>
                <c:pt idx="726">
                  <c:v>46198</c:v>
                </c:pt>
                <c:pt idx="727">
                  <c:v>46199</c:v>
                </c:pt>
                <c:pt idx="728">
                  <c:v>46202</c:v>
                </c:pt>
                <c:pt idx="729">
                  <c:v>46203</c:v>
                </c:pt>
                <c:pt idx="730">
                  <c:v>46204</c:v>
                </c:pt>
                <c:pt idx="731">
                  <c:v>46205</c:v>
                </c:pt>
                <c:pt idx="732">
                  <c:v>46206</c:v>
                </c:pt>
                <c:pt idx="733">
                  <c:v>46209</c:v>
                </c:pt>
                <c:pt idx="734">
                  <c:v>46210</c:v>
                </c:pt>
                <c:pt idx="735">
                  <c:v>46211</c:v>
                </c:pt>
                <c:pt idx="736">
                  <c:v>46212</c:v>
                </c:pt>
                <c:pt idx="737">
                  <c:v>46213</c:v>
                </c:pt>
                <c:pt idx="738">
                  <c:v>46216</c:v>
                </c:pt>
                <c:pt idx="739">
                  <c:v>46217</c:v>
                </c:pt>
                <c:pt idx="740">
                  <c:v>46218</c:v>
                </c:pt>
                <c:pt idx="741">
                  <c:v>46219</c:v>
                </c:pt>
                <c:pt idx="742">
                  <c:v>46220</c:v>
                </c:pt>
                <c:pt idx="743">
                  <c:v>46223</c:v>
                </c:pt>
                <c:pt idx="744">
                  <c:v>46224</c:v>
                </c:pt>
                <c:pt idx="745">
                  <c:v>46225</c:v>
                </c:pt>
                <c:pt idx="746">
                  <c:v>46226</c:v>
                </c:pt>
                <c:pt idx="747">
                  <c:v>46227</c:v>
                </c:pt>
                <c:pt idx="748">
                  <c:v>46230</c:v>
                </c:pt>
                <c:pt idx="749">
                  <c:v>46231</c:v>
                </c:pt>
                <c:pt idx="750">
                  <c:v>46232</c:v>
                </c:pt>
                <c:pt idx="751">
                  <c:v>46233</c:v>
                </c:pt>
                <c:pt idx="752">
                  <c:v>46234</c:v>
                </c:pt>
                <c:pt idx="753">
                  <c:v>46237</c:v>
                </c:pt>
                <c:pt idx="754">
                  <c:v>46238</c:v>
                </c:pt>
                <c:pt idx="755">
                  <c:v>46239</c:v>
                </c:pt>
                <c:pt idx="756">
                  <c:v>46240</c:v>
                </c:pt>
                <c:pt idx="757">
                  <c:v>46241</c:v>
                </c:pt>
                <c:pt idx="758">
                  <c:v>46244</c:v>
                </c:pt>
                <c:pt idx="759">
                  <c:v>46245</c:v>
                </c:pt>
                <c:pt idx="760">
                  <c:v>46246</c:v>
                </c:pt>
                <c:pt idx="761">
                  <c:v>46247</c:v>
                </c:pt>
                <c:pt idx="762">
                  <c:v>46248</c:v>
                </c:pt>
                <c:pt idx="763">
                  <c:v>46251</c:v>
                </c:pt>
                <c:pt idx="764">
                  <c:v>46252</c:v>
                </c:pt>
                <c:pt idx="765">
                  <c:v>46253</c:v>
                </c:pt>
                <c:pt idx="766">
                  <c:v>46254</c:v>
                </c:pt>
                <c:pt idx="767">
                  <c:v>46255</c:v>
                </c:pt>
                <c:pt idx="768">
                  <c:v>46258</c:v>
                </c:pt>
                <c:pt idx="769">
                  <c:v>46259</c:v>
                </c:pt>
                <c:pt idx="770">
                  <c:v>46260</c:v>
                </c:pt>
                <c:pt idx="771">
                  <c:v>46261</c:v>
                </c:pt>
                <c:pt idx="772">
                  <c:v>46262</c:v>
                </c:pt>
                <c:pt idx="773">
                  <c:v>46265</c:v>
                </c:pt>
                <c:pt idx="774">
                  <c:v>46266</c:v>
                </c:pt>
                <c:pt idx="775">
                  <c:v>46267</c:v>
                </c:pt>
                <c:pt idx="776">
                  <c:v>46268</c:v>
                </c:pt>
                <c:pt idx="777">
                  <c:v>46269</c:v>
                </c:pt>
                <c:pt idx="778">
                  <c:v>46272</c:v>
                </c:pt>
                <c:pt idx="779">
                  <c:v>46273</c:v>
                </c:pt>
                <c:pt idx="780">
                  <c:v>46274</c:v>
                </c:pt>
                <c:pt idx="781">
                  <c:v>46275</c:v>
                </c:pt>
                <c:pt idx="782">
                  <c:v>46276</c:v>
                </c:pt>
                <c:pt idx="783">
                  <c:v>46279</c:v>
                </c:pt>
                <c:pt idx="784">
                  <c:v>46280</c:v>
                </c:pt>
                <c:pt idx="785">
                  <c:v>46281</c:v>
                </c:pt>
                <c:pt idx="786">
                  <c:v>46282</c:v>
                </c:pt>
                <c:pt idx="787">
                  <c:v>46283</c:v>
                </c:pt>
                <c:pt idx="788">
                  <c:v>46286</c:v>
                </c:pt>
                <c:pt idx="789">
                  <c:v>46287</c:v>
                </c:pt>
                <c:pt idx="790">
                  <c:v>46288</c:v>
                </c:pt>
                <c:pt idx="791">
                  <c:v>46289</c:v>
                </c:pt>
                <c:pt idx="792">
                  <c:v>46290</c:v>
                </c:pt>
                <c:pt idx="793">
                  <c:v>46293</c:v>
                </c:pt>
                <c:pt idx="794">
                  <c:v>46294</c:v>
                </c:pt>
                <c:pt idx="795">
                  <c:v>46295</c:v>
                </c:pt>
                <c:pt idx="796">
                  <c:v>46296</c:v>
                </c:pt>
                <c:pt idx="797">
                  <c:v>46297</c:v>
                </c:pt>
                <c:pt idx="798">
                  <c:v>46300</c:v>
                </c:pt>
                <c:pt idx="799">
                  <c:v>46301</c:v>
                </c:pt>
                <c:pt idx="800">
                  <c:v>46302</c:v>
                </c:pt>
                <c:pt idx="801">
                  <c:v>46303</c:v>
                </c:pt>
                <c:pt idx="802">
                  <c:v>46304</c:v>
                </c:pt>
                <c:pt idx="803">
                  <c:v>46307</c:v>
                </c:pt>
                <c:pt idx="804">
                  <c:v>46308</c:v>
                </c:pt>
                <c:pt idx="805">
                  <c:v>46309</c:v>
                </c:pt>
                <c:pt idx="806">
                  <c:v>46310</c:v>
                </c:pt>
                <c:pt idx="807">
                  <c:v>46311</c:v>
                </c:pt>
                <c:pt idx="808">
                  <c:v>46314</c:v>
                </c:pt>
                <c:pt idx="809">
                  <c:v>46315</c:v>
                </c:pt>
                <c:pt idx="810">
                  <c:v>46316</c:v>
                </c:pt>
                <c:pt idx="811">
                  <c:v>46317</c:v>
                </c:pt>
                <c:pt idx="812">
                  <c:v>46318</c:v>
                </c:pt>
                <c:pt idx="813">
                  <c:v>46321</c:v>
                </c:pt>
                <c:pt idx="814">
                  <c:v>46322</c:v>
                </c:pt>
                <c:pt idx="815">
                  <c:v>46323</c:v>
                </c:pt>
                <c:pt idx="816">
                  <c:v>46324</c:v>
                </c:pt>
                <c:pt idx="817">
                  <c:v>46325</c:v>
                </c:pt>
                <c:pt idx="818">
                  <c:v>46328</c:v>
                </c:pt>
                <c:pt idx="819">
                  <c:v>46329</c:v>
                </c:pt>
                <c:pt idx="820">
                  <c:v>46330</c:v>
                </c:pt>
                <c:pt idx="821">
                  <c:v>46331</c:v>
                </c:pt>
                <c:pt idx="822">
                  <c:v>46332</c:v>
                </c:pt>
                <c:pt idx="823">
                  <c:v>46335</c:v>
                </c:pt>
                <c:pt idx="824">
                  <c:v>46336</c:v>
                </c:pt>
                <c:pt idx="825">
                  <c:v>46337</c:v>
                </c:pt>
                <c:pt idx="826">
                  <c:v>46338</c:v>
                </c:pt>
                <c:pt idx="827">
                  <c:v>46339</c:v>
                </c:pt>
                <c:pt idx="828">
                  <c:v>46342</c:v>
                </c:pt>
                <c:pt idx="829">
                  <c:v>46343</c:v>
                </c:pt>
                <c:pt idx="830">
                  <c:v>46344</c:v>
                </c:pt>
                <c:pt idx="831">
                  <c:v>46345</c:v>
                </c:pt>
                <c:pt idx="832">
                  <c:v>46346</c:v>
                </c:pt>
                <c:pt idx="833">
                  <c:v>46349</c:v>
                </c:pt>
                <c:pt idx="834">
                  <c:v>46350</c:v>
                </c:pt>
                <c:pt idx="835">
                  <c:v>46351</c:v>
                </c:pt>
                <c:pt idx="836">
                  <c:v>46352</c:v>
                </c:pt>
                <c:pt idx="837">
                  <c:v>46353</c:v>
                </c:pt>
                <c:pt idx="838">
                  <c:v>46356</c:v>
                </c:pt>
                <c:pt idx="839">
                  <c:v>46357</c:v>
                </c:pt>
                <c:pt idx="840">
                  <c:v>46358</c:v>
                </c:pt>
                <c:pt idx="841">
                  <c:v>46359</c:v>
                </c:pt>
                <c:pt idx="842">
                  <c:v>46360</c:v>
                </c:pt>
                <c:pt idx="843">
                  <c:v>46363</c:v>
                </c:pt>
                <c:pt idx="844">
                  <c:v>46364</c:v>
                </c:pt>
                <c:pt idx="845">
                  <c:v>46365</c:v>
                </c:pt>
                <c:pt idx="846">
                  <c:v>46366</c:v>
                </c:pt>
                <c:pt idx="847">
                  <c:v>46367</c:v>
                </c:pt>
                <c:pt idx="848">
                  <c:v>46370</c:v>
                </c:pt>
                <c:pt idx="849">
                  <c:v>46371</c:v>
                </c:pt>
                <c:pt idx="850">
                  <c:v>46372</c:v>
                </c:pt>
                <c:pt idx="851">
                  <c:v>46373</c:v>
                </c:pt>
                <c:pt idx="852">
                  <c:v>46374</c:v>
                </c:pt>
                <c:pt idx="853">
                  <c:v>46377</c:v>
                </c:pt>
                <c:pt idx="854">
                  <c:v>46378</c:v>
                </c:pt>
                <c:pt idx="855">
                  <c:v>46379</c:v>
                </c:pt>
                <c:pt idx="856">
                  <c:v>46380</c:v>
                </c:pt>
                <c:pt idx="857">
                  <c:v>46381</c:v>
                </c:pt>
                <c:pt idx="858">
                  <c:v>46384</c:v>
                </c:pt>
                <c:pt idx="859">
                  <c:v>46385</c:v>
                </c:pt>
                <c:pt idx="860">
                  <c:v>46386</c:v>
                </c:pt>
                <c:pt idx="861">
                  <c:v>46387</c:v>
                </c:pt>
                <c:pt idx="862">
                  <c:v>46388</c:v>
                </c:pt>
                <c:pt idx="863">
                  <c:v>46391</c:v>
                </c:pt>
                <c:pt idx="864">
                  <c:v>46392</c:v>
                </c:pt>
                <c:pt idx="865">
                  <c:v>46393</c:v>
                </c:pt>
                <c:pt idx="866">
                  <c:v>46394</c:v>
                </c:pt>
                <c:pt idx="867">
                  <c:v>46395</c:v>
                </c:pt>
                <c:pt idx="868">
                  <c:v>46398</c:v>
                </c:pt>
                <c:pt idx="869">
                  <c:v>46399</c:v>
                </c:pt>
                <c:pt idx="870">
                  <c:v>46400</c:v>
                </c:pt>
                <c:pt idx="871">
                  <c:v>46401</c:v>
                </c:pt>
                <c:pt idx="872">
                  <c:v>46402</c:v>
                </c:pt>
                <c:pt idx="873">
                  <c:v>46405</c:v>
                </c:pt>
                <c:pt idx="874">
                  <c:v>46406</c:v>
                </c:pt>
                <c:pt idx="875">
                  <c:v>46407</c:v>
                </c:pt>
                <c:pt idx="876">
                  <c:v>46408</c:v>
                </c:pt>
                <c:pt idx="877">
                  <c:v>46409</c:v>
                </c:pt>
                <c:pt idx="878">
                  <c:v>46412</c:v>
                </c:pt>
                <c:pt idx="879">
                  <c:v>46413</c:v>
                </c:pt>
                <c:pt idx="880">
                  <c:v>46414</c:v>
                </c:pt>
                <c:pt idx="881">
                  <c:v>46415</c:v>
                </c:pt>
                <c:pt idx="882">
                  <c:v>46416</c:v>
                </c:pt>
                <c:pt idx="883">
                  <c:v>46419</c:v>
                </c:pt>
                <c:pt idx="884">
                  <c:v>46420</c:v>
                </c:pt>
                <c:pt idx="885">
                  <c:v>46421</c:v>
                </c:pt>
                <c:pt idx="886">
                  <c:v>46422</c:v>
                </c:pt>
                <c:pt idx="887">
                  <c:v>46423</c:v>
                </c:pt>
                <c:pt idx="888">
                  <c:v>46426</c:v>
                </c:pt>
                <c:pt idx="889">
                  <c:v>46427</c:v>
                </c:pt>
                <c:pt idx="890">
                  <c:v>46428</c:v>
                </c:pt>
                <c:pt idx="891">
                  <c:v>46429</c:v>
                </c:pt>
                <c:pt idx="892">
                  <c:v>46430</c:v>
                </c:pt>
                <c:pt idx="893">
                  <c:v>46433</c:v>
                </c:pt>
                <c:pt idx="894">
                  <c:v>46434</c:v>
                </c:pt>
                <c:pt idx="895">
                  <c:v>46435</c:v>
                </c:pt>
                <c:pt idx="896">
                  <c:v>46436</c:v>
                </c:pt>
                <c:pt idx="897">
                  <c:v>46437</c:v>
                </c:pt>
                <c:pt idx="898">
                  <c:v>46440</c:v>
                </c:pt>
                <c:pt idx="899">
                  <c:v>46441</c:v>
                </c:pt>
                <c:pt idx="900">
                  <c:v>46442</c:v>
                </c:pt>
                <c:pt idx="901">
                  <c:v>46443</c:v>
                </c:pt>
                <c:pt idx="902">
                  <c:v>46444</c:v>
                </c:pt>
                <c:pt idx="903">
                  <c:v>46447</c:v>
                </c:pt>
                <c:pt idx="904">
                  <c:v>46448</c:v>
                </c:pt>
                <c:pt idx="905">
                  <c:v>46449</c:v>
                </c:pt>
                <c:pt idx="906">
                  <c:v>46450</c:v>
                </c:pt>
                <c:pt idx="907">
                  <c:v>46451</c:v>
                </c:pt>
                <c:pt idx="908">
                  <c:v>46454</c:v>
                </c:pt>
                <c:pt idx="909">
                  <c:v>46455</c:v>
                </c:pt>
                <c:pt idx="910">
                  <c:v>46456</c:v>
                </c:pt>
                <c:pt idx="911">
                  <c:v>46457</c:v>
                </c:pt>
                <c:pt idx="912">
                  <c:v>46458</c:v>
                </c:pt>
                <c:pt idx="913">
                  <c:v>46461</c:v>
                </c:pt>
                <c:pt idx="914">
                  <c:v>46462</c:v>
                </c:pt>
                <c:pt idx="915">
                  <c:v>46463</c:v>
                </c:pt>
                <c:pt idx="916">
                  <c:v>46464</c:v>
                </c:pt>
                <c:pt idx="917">
                  <c:v>46465</c:v>
                </c:pt>
                <c:pt idx="918">
                  <c:v>46468</c:v>
                </c:pt>
                <c:pt idx="919">
                  <c:v>46469</c:v>
                </c:pt>
                <c:pt idx="920">
                  <c:v>46470</c:v>
                </c:pt>
                <c:pt idx="921">
                  <c:v>46471</c:v>
                </c:pt>
                <c:pt idx="922">
                  <c:v>46472</c:v>
                </c:pt>
                <c:pt idx="923">
                  <c:v>46475</c:v>
                </c:pt>
                <c:pt idx="924">
                  <c:v>46476</c:v>
                </c:pt>
                <c:pt idx="925">
                  <c:v>46477</c:v>
                </c:pt>
                <c:pt idx="926">
                  <c:v>46478</c:v>
                </c:pt>
                <c:pt idx="927">
                  <c:v>46479</c:v>
                </c:pt>
                <c:pt idx="928">
                  <c:v>46482</c:v>
                </c:pt>
                <c:pt idx="929">
                  <c:v>46483</c:v>
                </c:pt>
                <c:pt idx="930">
                  <c:v>46484</c:v>
                </c:pt>
                <c:pt idx="931">
                  <c:v>46485</c:v>
                </c:pt>
                <c:pt idx="932">
                  <c:v>46486</c:v>
                </c:pt>
                <c:pt idx="933">
                  <c:v>46489</c:v>
                </c:pt>
                <c:pt idx="934">
                  <c:v>46490</c:v>
                </c:pt>
                <c:pt idx="935">
                  <c:v>46491</c:v>
                </c:pt>
                <c:pt idx="936">
                  <c:v>46492</c:v>
                </c:pt>
                <c:pt idx="937">
                  <c:v>46493</c:v>
                </c:pt>
                <c:pt idx="938">
                  <c:v>46496</c:v>
                </c:pt>
                <c:pt idx="939">
                  <c:v>46497</c:v>
                </c:pt>
                <c:pt idx="940">
                  <c:v>46498</c:v>
                </c:pt>
                <c:pt idx="941">
                  <c:v>46499</c:v>
                </c:pt>
                <c:pt idx="942">
                  <c:v>46500</c:v>
                </c:pt>
                <c:pt idx="943">
                  <c:v>46503</c:v>
                </c:pt>
                <c:pt idx="944">
                  <c:v>46504</c:v>
                </c:pt>
                <c:pt idx="945">
                  <c:v>46505</c:v>
                </c:pt>
                <c:pt idx="946">
                  <c:v>46506</c:v>
                </c:pt>
                <c:pt idx="947">
                  <c:v>46507</c:v>
                </c:pt>
                <c:pt idx="948">
                  <c:v>46510</c:v>
                </c:pt>
                <c:pt idx="949">
                  <c:v>46511</c:v>
                </c:pt>
                <c:pt idx="950">
                  <c:v>46512</c:v>
                </c:pt>
                <c:pt idx="951">
                  <c:v>46513</c:v>
                </c:pt>
                <c:pt idx="952">
                  <c:v>46514</c:v>
                </c:pt>
                <c:pt idx="953">
                  <c:v>46517</c:v>
                </c:pt>
                <c:pt idx="954">
                  <c:v>46518</c:v>
                </c:pt>
                <c:pt idx="955">
                  <c:v>46519</c:v>
                </c:pt>
                <c:pt idx="956">
                  <c:v>46520</c:v>
                </c:pt>
                <c:pt idx="957">
                  <c:v>46521</c:v>
                </c:pt>
                <c:pt idx="958">
                  <c:v>46524</c:v>
                </c:pt>
                <c:pt idx="959">
                  <c:v>46525</c:v>
                </c:pt>
                <c:pt idx="960">
                  <c:v>46526</c:v>
                </c:pt>
                <c:pt idx="961">
                  <c:v>46527</c:v>
                </c:pt>
                <c:pt idx="962">
                  <c:v>46528</c:v>
                </c:pt>
                <c:pt idx="963">
                  <c:v>46531</c:v>
                </c:pt>
                <c:pt idx="964">
                  <c:v>46532</c:v>
                </c:pt>
                <c:pt idx="965">
                  <c:v>46533</c:v>
                </c:pt>
                <c:pt idx="966">
                  <c:v>46534</c:v>
                </c:pt>
                <c:pt idx="967">
                  <c:v>46535</c:v>
                </c:pt>
                <c:pt idx="968">
                  <c:v>46538</c:v>
                </c:pt>
                <c:pt idx="969">
                  <c:v>46539</c:v>
                </c:pt>
                <c:pt idx="970">
                  <c:v>46540</c:v>
                </c:pt>
                <c:pt idx="971">
                  <c:v>46541</c:v>
                </c:pt>
                <c:pt idx="972">
                  <c:v>46542</c:v>
                </c:pt>
                <c:pt idx="973">
                  <c:v>46545</c:v>
                </c:pt>
                <c:pt idx="974">
                  <c:v>46546</c:v>
                </c:pt>
                <c:pt idx="975">
                  <c:v>46547</c:v>
                </c:pt>
                <c:pt idx="976">
                  <c:v>46548</c:v>
                </c:pt>
                <c:pt idx="977">
                  <c:v>46549</c:v>
                </c:pt>
                <c:pt idx="978">
                  <c:v>46552</c:v>
                </c:pt>
                <c:pt idx="979">
                  <c:v>46553</c:v>
                </c:pt>
                <c:pt idx="980">
                  <c:v>46554</c:v>
                </c:pt>
                <c:pt idx="981">
                  <c:v>46555</c:v>
                </c:pt>
                <c:pt idx="982">
                  <c:v>46556</c:v>
                </c:pt>
                <c:pt idx="983">
                  <c:v>46559</c:v>
                </c:pt>
                <c:pt idx="984">
                  <c:v>46560</c:v>
                </c:pt>
                <c:pt idx="985">
                  <c:v>46561</c:v>
                </c:pt>
                <c:pt idx="986">
                  <c:v>46562</c:v>
                </c:pt>
                <c:pt idx="987">
                  <c:v>46563</c:v>
                </c:pt>
                <c:pt idx="988">
                  <c:v>46566</c:v>
                </c:pt>
                <c:pt idx="989">
                  <c:v>46567</c:v>
                </c:pt>
                <c:pt idx="990">
                  <c:v>46568</c:v>
                </c:pt>
                <c:pt idx="991">
                  <c:v>46569</c:v>
                </c:pt>
                <c:pt idx="992">
                  <c:v>46570</c:v>
                </c:pt>
                <c:pt idx="993">
                  <c:v>46573</c:v>
                </c:pt>
                <c:pt idx="994">
                  <c:v>46574</c:v>
                </c:pt>
                <c:pt idx="995">
                  <c:v>46575</c:v>
                </c:pt>
                <c:pt idx="996">
                  <c:v>46576</c:v>
                </c:pt>
                <c:pt idx="997">
                  <c:v>46577</c:v>
                </c:pt>
                <c:pt idx="998">
                  <c:v>46580</c:v>
                </c:pt>
              </c:numCache>
            </c:numRef>
          </c:cat>
          <c:val>
            <c:numRef>
              <c:f>Daily!$N$2:$N$1057</c:f>
            </c:numRef>
          </c:val>
          <c:smooth val="0"/>
          <c:extLst>
            <c:ext xmlns:c16="http://schemas.microsoft.com/office/drawing/2014/chart" uri="{C3380CC4-5D6E-409C-BE32-E72D297353CC}">
              <c16:uniqueId val="{00000013-094D-4E29-B010-D717A2A1A293}"/>
            </c:ext>
          </c:extLst>
        </c:ser>
        <c:ser>
          <c:idx val="14"/>
          <c:order val="14"/>
          <c:tx>
            <c:strRef>
              <c:f>Daily!$S$1</c:f>
              <c:strCache>
                <c:ptCount val="1"/>
                <c:pt idx="0">
                  <c:v>M+1</c:v>
                </c:pt>
              </c:strCache>
            </c:strRef>
          </c:tx>
          <c:spPr>
            <a:ln w="28575" cap="rnd" cmpd="sng" algn="ctr">
              <a:solidFill>
                <a:schemeClr val="accent3">
                  <a:lumMod val="80000"/>
                  <a:lumOff val="20000"/>
                  <a:shade val="95000"/>
                  <a:satMod val="105000"/>
                </a:schemeClr>
              </a:solidFill>
              <a:prstDash val="solid"/>
              <a:round/>
            </a:ln>
            <a:effectLst/>
          </c:spPr>
          <c:marker>
            <c:symbol val="none"/>
          </c:marker>
          <c:cat>
            <c:numRef>
              <c:f>Daily!$A$2:$A$1000</c:f>
              <c:numCache>
                <c:formatCode>d\-mmm\-yy</c:formatCode>
                <c:ptCount val="999"/>
                <c:pt idx="0">
                  <c:v>45128</c:v>
                </c:pt>
                <c:pt idx="1">
                  <c:v>45131</c:v>
                </c:pt>
                <c:pt idx="2">
                  <c:v>45132</c:v>
                </c:pt>
                <c:pt idx="3">
                  <c:v>45133</c:v>
                </c:pt>
                <c:pt idx="4">
                  <c:v>45134</c:v>
                </c:pt>
                <c:pt idx="5">
                  <c:v>45135</c:v>
                </c:pt>
                <c:pt idx="6">
                  <c:v>45138</c:v>
                </c:pt>
                <c:pt idx="7">
                  <c:v>45139</c:v>
                </c:pt>
                <c:pt idx="8">
                  <c:v>45140</c:v>
                </c:pt>
                <c:pt idx="9">
                  <c:v>45141</c:v>
                </c:pt>
                <c:pt idx="10">
                  <c:v>45142</c:v>
                </c:pt>
                <c:pt idx="11">
                  <c:v>45145</c:v>
                </c:pt>
                <c:pt idx="12">
                  <c:v>45146</c:v>
                </c:pt>
                <c:pt idx="13">
                  <c:v>45147</c:v>
                </c:pt>
                <c:pt idx="14">
                  <c:v>45148</c:v>
                </c:pt>
                <c:pt idx="15">
                  <c:v>45149</c:v>
                </c:pt>
                <c:pt idx="16">
                  <c:v>45152</c:v>
                </c:pt>
                <c:pt idx="17">
                  <c:v>45153</c:v>
                </c:pt>
                <c:pt idx="18">
                  <c:v>45154</c:v>
                </c:pt>
                <c:pt idx="19">
                  <c:v>45155</c:v>
                </c:pt>
                <c:pt idx="20">
                  <c:v>45156</c:v>
                </c:pt>
                <c:pt idx="21">
                  <c:v>45159</c:v>
                </c:pt>
                <c:pt idx="22">
                  <c:v>45160</c:v>
                </c:pt>
                <c:pt idx="23">
                  <c:v>45161</c:v>
                </c:pt>
                <c:pt idx="24">
                  <c:v>45162</c:v>
                </c:pt>
                <c:pt idx="25">
                  <c:v>45163</c:v>
                </c:pt>
                <c:pt idx="26">
                  <c:v>45166</c:v>
                </c:pt>
                <c:pt idx="27">
                  <c:v>45167</c:v>
                </c:pt>
                <c:pt idx="28">
                  <c:v>45168</c:v>
                </c:pt>
                <c:pt idx="29">
                  <c:v>45169</c:v>
                </c:pt>
                <c:pt idx="30">
                  <c:v>45170</c:v>
                </c:pt>
                <c:pt idx="31">
                  <c:v>45173</c:v>
                </c:pt>
                <c:pt idx="32">
                  <c:v>45174</c:v>
                </c:pt>
                <c:pt idx="33">
                  <c:v>45175</c:v>
                </c:pt>
                <c:pt idx="34">
                  <c:v>45176</c:v>
                </c:pt>
                <c:pt idx="35">
                  <c:v>45177</c:v>
                </c:pt>
                <c:pt idx="36">
                  <c:v>45180</c:v>
                </c:pt>
                <c:pt idx="37">
                  <c:v>45181</c:v>
                </c:pt>
                <c:pt idx="38">
                  <c:v>45182</c:v>
                </c:pt>
                <c:pt idx="39">
                  <c:v>45183</c:v>
                </c:pt>
                <c:pt idx="40">
                  <c:v>45184</c:v>
                </c:pt>
                <c:pt idx="41">
                  <c:v>45187</c:v>
                </c:pt>
                <c:pt idx="42">
                  <c:v>45188</c:v>
                </c:pt>
                <c:pt idx="43">
                  <c:v>45189</c:v>
                </c:pt>
                <c:pt idx="44">
                  <c:v>45190</c:v>
                </c:pt>
                <c:pt idx="45">
                  <c:v>45191</c:v>
                </c:pt>
                <c:pt idx="46">
                  <c:v>45194</c:v>
                </c:pt>
                <c:pt idx="47">
                  <c:v>45195</c:v>
                </c:pt>
                <c:pt idx="48">
                  <c:v>45196</c:v>
                </c:pt>
                <c:pt idx="49">
                  <c:v>45197</c:v>
                </c:pt>
                <c:pt idx="50">
                  <c:v>45208</c:v>
                </c:pt>
                <c:pt idx="51">
                  <c:v>45209</c:v>
                </c:pt>
                <c:pt idx="52">
                  <c:v>45210</c:v>
                </c:pt>
                <c:pt idx="53">
                  <c:v>45211</c:v>
                </c:pt>
                <c:pt idx="54">
                  <c:v>45212</c:v>
                </c:pt>
                <c:pt idx="55">
                  <c:v>45215</c:v>
                </c:pt>
                <c:pt idx="56">
                  <c:v>45216</c:v>
                </c:pt>
                <c:pt idx="57">
                  <c:v>45217</c:v>
                </c:pt>
                <c:pt idx="58">
                  <c:v>45218</c:v>
                </c:pt>
                <c:pt idx="59">
                  <c:v>45219</c:v>
                </c:pt>
                <c:pt idx="60">
                  <c:v>45222</c:v>
                </c:pt>
                <c:pt idx="61">
                  <c:v>45223</c:v>
                </c:pt>
                <c:pt idx="62">
                  <c:v>45224</c:v>
                </c:pt>
                <c:pt idx="63">
                  <c:v>45225</c:v>
                </c:pt>
                <c:pt idx="64">
                  <c:v>45226</c:v>
                </c:pt>
                <c:pt idx="65">
                  <c:v>45229</c:v>
                </c:pt>
                <c:pt idx="66">
                  <c:v>45230</c:v>
                </c:pt>
                <c:pt idx="67">
                  <c:v>45231</c:v>
                </c:pt>
                <c:pt idx="68">
                  <c:v>45232</c:v>
                </c:pt>
                <c:pt idx="69">
                  <c:v>45233</c:v>
                </c:pt>
                <c:pt idx="70">
                  <c:v>45236</c:v>
                </c:pt>
                <c:pt idx="71">
                  <c:v>45237</c:v>
                </c:pt>
                <c:pt idx="72">
                  <c:v>45238</c:v>
                </c:pt>
                <c:pt idx="73">
                  <c:v>45239</c:v>
                </c:pt>
                <c:pt idx="74">
                  <c:v>45240</c:v>
                </c:pt>
                <c:pt idx="75">
                  <c:v>45243</c:v>
                </c:pt>
                <c:pt idx="76">
                  <c:v>45244</c:v>
                </c:pt>
                <c:pt idx="77">
                  <c:v>45245</c:v>
                </c:pt>
                <c:pt idx="78">
                  <c:v>45246</c:v>
                </c:pt>
                <c:pt idx="79">
                  <c:v>45247</c:v>
                </c:pt>
                <c:pt idx="80">
                  <c:v>45250</c:v>
                </c:pt>
                <c:pt idx="81">
                  <c:v>45251</c:v>
                </c:pt>
                <c:pt idx="82">
                  <c:v>45252</c:v>
                </c:pt>
                <c:pt idx="83">
                  <c:v>45253</c:v>
                </c:pt>
                <c:pt idx="84">
                  <c:v>45254</c:v>
                </c:pt>
                <c:pt idx="85">
                  <c:v>45257</c:v>
                </c:pt>
                <c:pt idx="86">
                  <c:v>45258</c:v>
                </c:pt>
                <c:pt idx="87">
                  <c:v>45259</c:v>
                </c:pt>
                <c:pt idx="88">
                  <c:v>45260</c:v>
                </c:pt>
                <c:pt idx="89">
                  <c:v>45261</c:v>
                </c:pt>
                <c:pt idx="90">
                  <c:v>45264</c:v>
                </c:pt>
                <c:pt idx="91">
                  <c:v>45265</c:v>
                </c:pt>
                <c:pt idx="92">
                  <c:v>45266</c:v>
                </c:pt>
                <c:pt idx="93">
                  <c:v>45267</c:v>
                </c:pt>
                <c:pt idx="94">
                  <c:v>45268</c:v>
                </c:pt>
                <c:pt idx="95">
                  <c:v>45271</c:v>
                </c:pt>
                <c:pt idx="96">
                  <c:v>45272</c:v>
                </c:pt>
                <c:pt idx="97">
                  <c:v>45273</c:v>
                </c:pt>
                <c:pt idx="98">
                  <c:v>45274</c:v>
                </c:pt>
                <c:pt idx="99">
                  <c:v>45275</c:v>
                </c:pt>
                <c:pt idx="100">
                  <c:v>45278</c:v>
                </c:pt>
                <c:pt idx="101">
                  <c:v>45279</c:v>
                </c:pt>
                <c:pt idx="102">
                  <c:v>45280</c:v>
                </c:pt>
                <c:pt idx="103">
                  <c:v>45281</c:v>
                </c:pt>
                <c:pt idx="104">
                  <c:v>45282</c:v>
                </c:pt>
                <c:pt idx="105">
                  <c:v>45285</c:v>
                </c:pt>
                <c:pt idx="106">
                  <c:v>45286</c:v>
                </c:pt>
                <c:pt idx="107">
                  <c:v>45287</c:v>
                </c:pt>
                <c:pt idx="108">
                  <c:v>45288</c:v>
                </c:pt>
                <c:pt idx="109">
                  <c:v>45289</c:v>
                </c:pt>
                <c:pt idx="110">
                  <c:v>45293</c:v>
                </c:pt>
                <c:pt idx="111">
                  <c:v>45294</c:v>
                </c:pt>
                <c:pt idx="112">
                  <c:v>45295</c:v>
                </c:pt>
                <c:pt idx="113">
                  <c:v>45296</c:v>
                </c:pt>
                <c:pt idx="114">
                  <c:v>45299</c:v>
                </c:pt>
                <c:pt idx="115">
                  <c:v>45300</c:v>
                </c:pt>
                <c:pt idx="116">
                  <c:v>45301</c:v>
                </c:pt>
                <c:pt idx="117">
                  <c:v>45302</c:v>
                </c:pt>
                <c:pt idx="118">
                  <c:v>45303</c:v>
                </c:pt>
                <c:pt idx="119">
                  <c:v>45306</c:v>
                </c:pt>
                <c:pt idx="120">
                  <c:v>45307</c:v>
                </c:pt>
                <c:pt idx="121">
                  <c:v>45308</c:v>
                </c:pt>
                <c:pt idx="122">
                  <c:v>45309</c:v>
                </c:pt>
                <c:pt idx="123">
                  <c:v>45310</c:v>
                </c:pt>
                <c:pt idx="124">
                  <c:v>45313</c:v>
                </c:pt>
                <c:pt idx="125">
                  <c:v>45314</c:v>
                </c:pt>
                <c:pt idx="126">
                  <c:v>45315</c:v>
                </c:pt>
                <c:pt idx="127">
                  <c:v>45316</c:v>
                </c:pt>
                <c:pt idx="128">
                  <c:v>45317</c:v>
                </c:pt>
                <c:pt idx="129">
                  <c:v>45320</c:v>
                </c:pt>
                <c:pt idx="130">
                  <c:v>45321</c:v>
                </c:pt>
                <c:pt idx="131">
                  <c:v>45322</c:v>
                </c:pt>
                <c:pt idx="132">
                  <c:v>45323</c:v>
                </c:pt>
                <c:pt idx="133">
                  <c:v>45324</c:v>
                </c:pt>
                <c:pt idx="134">
                  <c:v>45327</c:v>
                </c:pt>
                <c:pt idx="135">
                  <c:v>45328</c:v>
                </c:pt>
                <c:pt idx="136">
                  <c:v>45329</c:v>
                </c:pt>
                <c:pt idx="137">
                  <c:v>45330</c:v>
                </c:pt>
                <c:pt idx="138">
                  <c:v>45341</c:v>
                </c:pt>
                <c:pt idx="139">
                  <c:v>45342</c:v>
                </c:pt>
                <c:pt idx="140">
                  <c:v>45343</c:v>
                </c:pt>
                <c:pt idx="141">
                  <c:v>45344</c:v>
                </c:pt>
                <c:pt idx="142">
                  <c:v>45345</c:v>
                </c:pt>
                <c:pt idx="143">
                  <c:v>45348</c:v>
                </c:pt>
                <c:pt idx="144">
                  <c:v>45349</c:v>
                </c:pt>
                <c:pt idx="145">
                  <c:v>45350</c:v>
                </c:pt>
                <c:pt idx="146">
                  <c:v>45351</c:v>
                </c:pt>
                <c:pt idx="147">
                  <c:v>45352</c:v>
                </c:pt>
                <c:pt idx="148">
                  <c:v>45355</c:v>
                </c:pt>
                <c:pt idx="149">
                  <c:v>45356</c:v>
                </c:pt>
                <c:pt idx="150">
                  <c:v>45357</c:v>
                </c:pt>
                <c:pt idx="151">
                  <c:v>45358</c:v>
                </c:pt>
                <c:pt idx="152">
                  <c:v>45359</c:v>
                </c:pt>
                <c:pt idx="153">
                  <c:v>45362</c:v>
                </c:pt>
                <c:pt idx="154">
                  <c:v>45363</c:v>
                </c:pt>
                <c:pt idx="155">
                  <c:v>45364</c:v>
                </c:pt>
                <c:pt idx="156">
                  <c:v>45365</c:v>
                </c:pt>
                <c:pt idx="157">
                  <c:v>45366</c:v>
                </c:pt>
                <c:pt idx="158">
                  <c:v>45369</c:v>
                </c:pt>
                <c:pt idx="159">
                  <c:v>45370</c:v>
                </c:pt>
                <c:pt idx="160">
                  <c:v>45371</c:v>
                </c:pt>
                <c:pt idx="161">
                  <c:v>45372</c:v>
                </c:pt>
                <c:pt idx="162">
                  <c:v>45373</c:v>
                </c:pt>
                <c:pt idx="163">
                  <c:v>45376</c:v>
                </c:pt>
                <c:pt idx="164">
                  <c:v>45377</c:v>
                </c:pt>
                <c:pt idx="165">
                  <c:v>45378</c:v>
                </c:pt>
                <c:pt idx="166">
                  <c:v>45379</c:v>
                </c:pt>
                <c:pt idx="167">
                  <c:v>45380</c:v>
                </c:pt>
                <c:pt idx="168">
                  <c:v>45383</c:v>
                </c:pt>
                <c:pt idx="169">
                  <c:v>45384</c:v>
                </c:pt>
                <c:pt idx="170">
                  <c:v>45385</c:v>
                </c:pt>
                <c:pt idx="171">
                  <c:v>45390</c:v>
                </c:pt>
                <c:pt idx="172">
                  <c:v>45391</c:v>
                </c:pt>
                <c:pt idx="173">
                  <c:v>45392</c:v>
                </c:pt>
                <c:pt idx="174">
                  <c:v>45393</c:v>
                </c:pt>
                <c:pt idx="175">
                  <c:v>45394</c:v>
                </c:pt>
                <c:pt idx="176">
                  <c:v>45397</c:v>
                </c:pt>
                <c:pt idx="177">
                  <c:v>45398</c:v>
                </c:pt>
                <c:pt idx="178">
                  <c:v>45399</c:v>
                </c:pt>
                <c:pt idx="179">
                  <c:v>45400</c:v>
                </c:pt>
                <c:pt idx="180">
                  <c:v>45401</c:v>
                </c:pt>
                <c:pt idx="181">
                  <c:v>45404</c:v>
                </c:pt>
                <c:pt idx="182">
                  <c:v>45405</c:v>
                </c:pt>
                <c:pt idx="183">
                  <c:v>45406</c:v>
                </c:pt>
                <c:pt idx="184">
                  <c:v>45407</c:v>
                </c:pt>
                <c:pt idx="185">
                  <c:v>45408</c:v>
                </c:pt>
                <c:pt idx="186">
                  <c:v>45411</c:v>
                </c:pt>
                <c:pt idx="187">
                  <c:v>45412</c:v>
                </c:pt>
                <c:pt idx="188">
                  <c:v>45418</c:v>
                </c:pt>
                <c:pt idx="189">
                  <c:v>45419</c:v>
                </c:pt>
                <c:pt idx="190">
                  <c:v>45420</c:v>
                </c:pt>
                <c:pt idx="191">
                  <c:v>45421</c:v>
                </c:pt>
                <c:pt idx="192">
                  <c:v>45422</c:v>
                </c:pt>
                <c:pt idx="193">
                  <c:v>45425</c:v>
                </c:pt>
                <c:pt idx="194">
                  <c:v>45426</c:v>
                </c:pt>
                <c:pt idx="195">
                  <c:v>45427</c:v>
                </c:pt>
                <c:pt idx="196">
                  <c:v>45428</c:v>
                </c:pt>
                <c:pt idx="197">
                  <c:v>45429</c:v>
                </c:pt>
                <c:pt idx="198">
                  <c:v>45432</c:v>
                </c:pt>
                <c:pt idx="199">
                  <c:v>45433</c:v>
                </c:pt>
                <c:pt idx="200">
                  <c:v>45434</c:v>
                </c:pt>
                <c:pt idx="201">
                  <c:v>45435</c:v>
                </c:pt>
                <c:pt idx="202">
                  <c:v>45436</c:v>
                </c:pt>
                <c:pt idx="203">
                  <c:v>45439</c:v>
                </c:pt>
                <c:pt idx="204">
                  <c:v>45440</c:v>
                </c:pt>
                <c:pt idx="205">
                  <c:v>45441</c:v>
                </c:pt>
                <c:pt idx="206">
                  <c:v>45442</c:v>
                </c:pt>
                <c:pt idx="207">
                  <c:v>45443</c:v>
                </c:pt>
                <c:pt idx="208">
                  <c:v>45446</c:v>
                </c:pt>
                <c:pt idx="209">
                  <c:v>45447</c:v>
                </c:pt>
                <c:pt idx="210">
                  <c:v>45448</c:v>
                </c:pt>
                <c:pt idx="211">
                  <c:v>45449</c:v>
                </c:pt>
                <c:pt idx="212">
                  <c:v>45450</c:v>
                </c:pt>
                <c:pt idx="213">
                  <c:v>45454</c:v>
                </c:pt>
                <c:pt idx="214">
                  <c:v>45455</c:v>
                </c:pt>
                <c:pt idx="215">
                  <c:v>45456</c:v>
                </c:pt>
                <c:pt idx="216">
                  <c:v>45457</c:v>
                </c:pt>
                <c:pt idx="217">
                  <c:v>45460</c:v>
                </c:pt>
                <c:pt idx="218">
                  <c:v>45461</c:v>
                </c:pt>
                <c:pt idx="219">
                  <c:v>45462</c:v>
                </c:pt>
                <c:pt idx="220">
                  <c:v>45463</c:v>
                </c:pt>
                <c:pt idx="221">
                  <c:v>45464</c:v>
                </c:pt>
                <c:pt idx="222">
                  <c:v>45467</c:v>
                </c:pt>
                <c:pt idx="223">
                  <c:v>45468</c:v>
                </c:pt>
                <c:pt idx="224">
                  <c:v>45469</c:v>
                </c:pt>
                <c:pt idx="225">
                  <c:v>45470</c:v>
                </c:pt>
                <c:pt idx="226">
                  <c:v>45471</c:v>
                </c:pt>
                <c:pt idx="227">
                  <c:v>45474</c:v>
                </c:pt>
                <c:pt idx="228">
                  <c:v>45475</c:v>
                </c:pt>
                <c:pt idx="229">
                  <c:v>45476</c:v>
                </c:pt>
                <c:pt idx="230">
                  <c:v>45477</c:v>
                </c:pt>
                <c:pt idx="231">
                  <c:v>45478</c:v>
                </c:pt>
                <c:pt idx="232">
                  <c:v>45481</c:v>
                </c:pt>
                <c:pt idx="233">
                  <c:v>45482</c:v>
                </c:pt>
                <c:pt idx="234">
                  <c:v>45483</c:v>
                </c:pt>
                <c:pt idx="235">
                  <c:v>45484</c:v>
                </c:pt>
                <c:pt idx="236">
                  <c:v>45485</c:v>
                </c:pt>
                <c:pt idx="237">
                  <c:v>45488</c:v>
                </c:pt>
                <c:pt idx="238">
                  <c:v>45489</c:v>
                </c:pt>
                <c:pt idx="239">
                  <c:v>45490</c:v>
                </c:pt>
                <c:pt idx="240">
                  <c:v>45491</c:v>
                </c:pt>
                <c:pt idx="241">
                  <c:v>45492</c:v>
                </c:pt>
                <c:pt idx="242">
                  <c:v>45495</c:v>
                </c:pt>
                <c:pt idx="243">
                  <c:v>45496</c:v>
                </c:pt>
                <c:pt idx="244">
                  <c:v>45497</c:v>
                </c:pt>
                <c:pt idx="245">
                  <c:v>45498</c:v>
                </c:pt>
                <c:pt idx="246">
                  <c:v>45499</c:v>
                </c:pt>
                <c:pt idx="247">
                  <c:v>45502</c:v>
                </c:pt>
                <c:pt idx="248">
                  <c:v>45503</c:v>
                </c:pt>
                <c:pt idx="249">
                  <c:v>45504</c:v>
                </c:pt>
                <c:pt idx="250">
                  <c:v>45505</c:v>
                </c:pt>
                <c:pt idx="251">
                  <c:v>45506</c:v>
                </c:pt>
                <c:pt idx="252">
                  <c:v>45509</c:v>
                </c:pt>
                <c:pt idx="253">
                  <c:v>45510</c:v>
                </c:pt>
                <c:pt idx="254">
                  <c:v>45511</c:v>
                </c:pt>
                <c:pt idx="255">
                  <c:v>45512</c:v>
                </c:pt>
                <c:pt idx="256">
                  <c:v>45513</c:v>
                </c:pt>
                <c:pt idx="257">
                  <c:v>45516</c:v>
                </c:pt>
                <c:pt idx="258">
                  <c:v>45517</c:v>
                </c:pt>
                <c:pt idx="259">
                  <c:v>45518</c:v>
                </c:pt>
                <c:pt idx="260">
                  <c:v>45519</c:v>
                </c:pt>
                <c:pt idx="261">
                  <c:v>45520</c:v>
                </c:pt>
                <c:pt idx="262">
                  <c:v>45523</c:v>
                </c:pt>
                <c:pt idx="263">
                  <c:v>45524</c:v>
                </c:pt>
                <c:pt idx="264">
                  <c:v>45525</c:v>
                </c:pt>
                <c:pt idx="265">
                  <c:v>45526</c:v>
                </c:pt>
                <c:pt idx="266">
                  <c:v>45527</c:v>
                </c:pt>
                <c:pt idx="267">
                  <c:v>45530</c:v>
                </c:pt>
                <c:pt idx="268">
                  <c:v>45531</c:v>
                </c:pt>
                <c:pt idx="269">
                  <c:v>45532</c:v>
                </c:pt>
                <c:pt idx="270">
                  <c:v>45533</c:v>
                </c:pt>
                <c:pt idx="271">
                  <c:v>45534</c:v>
                </c:pt>
                <c:pt idx="272">
                  <c:v>45537</c:v>
                </c:pt>
                <c:pt idx="273">
                  <c:v>45538</c:v>
                </c:pt>
                <c:pt idx="274">
                  <c:v>45539</c:v>
                </c:pt>
                <c:pt idx="275">
                  <c:v>45540</c:v>
                </c:pt>
                <c:pt idx="276">
                  <c:v>45541</c:v>
                </c:pt>
                <c:pt idx="277">
                  <c:v>45544</c:v>
                </c:pt>
                <c:pt idx="278">
                  <c:v>45545</c:v>
                </c:pt>
                <c:pt idx="279">
                  <c:v>45546</c:v>
                </c:pt>
                <c:pt idx="280">
                  <c:v>45547</c:v>
                </c:pt>
                <c:pt idx="281">
                  <c:v>45548</c:v>
                </c:pt>
                <c:pt idx="282">
                  <c:v>45553</c:v>
                </c:pt>
                <c:pt idx="283">
                  <c:v>45554</c:v>
                </c:pt>
                <c:pt idx="284">
                  <c:v>45555</c:v>
                </c:pt>
                <c:pt idx="285">
                  <c:v>45558</c:v>
                </c:pt>
                <c:pt idx="286">
                  <c:v>45559</c:v>
                </c:pt>
                <c:pt idx="287">
                  <c:v>45560</c:v>
                </c:pt>
                <c:pt idx="288">
                  <c:v>45561</c:v>
                </c:pt>
                <c:pt idx="289">
                  <c:v>45562</c:v>
                </c:pt>
                <c:pt idx="290">
                  <c:v>45565</c:v>
                </c:pt>
                <c:pt idx="291">
                  <c:v>45573</c:v>
                </c:pt>
                <c:pt idx="292">
                  <c:v>45574</c:v>
                </c:pt>
                <c:pt idx="293">
                  <c:v>45575</c:v>
                </c:pt>
                <c:pt idx="294">
                  <c:v>45576</c:v>
                </c:pt>
                <c:pt idx="295">
                  <c:v>45579</c:v>
                </c:pt>
                <c:pt idx="296">
                  <c:v>45580</c:v>
                </c:pt>
                <c:pt idx="297">
                  <c:v>45581</c:v>
                </c:pt>
                <c:pt idx="298">
                  <c:v>45582</c:v>
                </c:pt>
                <c:pt idx="299">
                  <c:v>45583</c:v>
                </c:pt>
                <c:pt idx="300">
                  <c:v>45586</c:v>
                </c:pt>
                <c:pt idx="301">
                  <c:v>45587</c:v>
                </c:pt>
                <c:pt idx="302">
                  <c:v>45588</c:v>
                </c:pt>
                <c:pt idx="303">
                  <c:v>45589</c:v>
                </c:pt>
                <c:pt idx="304">
                  <c:v>45590</c:v>
                </c:pt>
                <c:pt idx="305">
                  <c:v>45593</c:v>
                </c:pt>
                <c:pt idx="306">
                  <c:v>45594</c:v>
                </c:pt>
                <c:pt idx="307">
                  <c:v>45595</c:v>
                </c:pt>
                <c:pt idx="308">
                  <c:v>45596</c:v>
                </c:pt>
                <c:pt idx="309">
                  <c:v>45597</c:v>
                </c:pt>
                <c:pt idx="310">
                  <c:v>45600</c:v>
                </c:pt>
                <c:pt idx="311">
                  <c:v>45601</c:v>
                </c:pt>
                <c:pt idx="312">
                  <c:v>45602</c:v>
                </c:pt>
                <c:pt idx="313">
                  <c:v>45603</c:v>
                </c:pt>
                <c:pt idx="314">
                  <c:v>45604</c:v>
                </c:pt>
                <c:pt idx="315">
                  <c:v>45607</c:v>
                </c:pt>
                <c:pt idx="316">
                  <c:v>45608</c:v>
                </c:pt>
                <c:pt idx="317">
                  <c:v>45609</c:v>
                </c:pt>
                <c:pt idx="318">
                  <c:v>45610</c:v>
                </c:pt>
                <c:pt idx="319">
                  <c:v>45611</c:v>
                </c:pt>
                <c:pt idx="320">
                  <c:v>45614</c:v>
                </c:pt>
                <c:pt idx="321">
                  <c:v>45615</c:v>
                </c:pt>
                <c:pt idx="322">
                  <c:v>45616</c:v>
                </c:pt>
                <c:pt idx="323">
                  <c:v>45617</c:v>
                </c:pt>
                <c:pt idx="324">
                  <c:v>45618</c:v>
                </c:pt>
                <c:pt idx="325">
                  <c:v>45621</c:v>
                </c:pt>
                <c:pt idx="326">
                  <c:v>45622</c:v>
                </c:pt>
                <c:pt idx="327">
                  <c:v>45623</c:v>
                </c:pt>
                <c:pt idx="328">
                  <c:v>45624</c:v>
                </c:pt>
                <c:pt idx="329">
                  <c:v>45625</c:v>
                </c:pt>
                <c:pt idx="330">
                  <c:v>45628</c:v>
                </c:pt>
                <c:pt idx="331">
                  <c:v>45629</c:v>
                </c:pt>
                <c:pt idx="332">
                  <c:v>45630</c:v>
                </c:pt>
                <c:pt idx="333">
                  <c:v>45631</c:v>
                </c:pt>
                <c:pt idx="334">
                  <c:v>45632</c:v>
                </c:pt>
                <c:pt idx="335">
                  <c:v>45635</c:v>
                </c:pt>
                <c:pt idx="336">
                  <c:v>45636</c:v>
                </c:pt>
                <c:pt idx="337">
                  <c:v>45637</c:v>
                </c:pt>
                <c:pt idx="338">
                  <c:v>45638</c:v>
                </c:pt>
                <c:pt idx="339">
                  <c:v>45639</c:v>
                </c:pt>
                <c:pt idx="340">
                  <c:v>45642</c:v>
                </c:pt>
                <c:pt idx="341">
                  <c:v>45643</c:v>
                </c:pt>
                <c:pt idx="342">
                  <c:v>45644</c:v>
                </c:pt>
                <c:pt idx="343">
                  <c:v>45645</c:v>
                </c:pt>
                <c:pt idx="344">
                  <c:v>45646</c:v>
                </c:pt>
                <c:pt idx="345">
                  <c:v>45649</c:v>
                </c:pt>
                <c:pt idx="346">
                  <c:v>45650</c:v>
                </c:pt>
                <c:pt idx="347">
                  <c:v>45651</c:v>
                </c:pt>
                <c:pt idx="348">
                  <c:v>45652</c:v>
                </c:pt>
                <c:pt idx="349">
                  <c:v>45653</c:v>
                </c:pt>
                <c:pt idx="350">
                  <c:v>45656</c:v>
                </c:pt>
                <c:pt idx="351">
                  <c:v>45657</c:v>
                </c:pt>
                <c:pt idx="352">
                  <c:v>45659</c:v>
                </c:pt>
                <c:pt idx="353">
                  <c:v>45660</c:v>
                </c:pt>
                <c:pt idx="354">
                  <c:v>45663</c:v>
                </c:pt>
                <c:pt idx="355">
                  <c:v>45664</c:v>
                </c:pt>
                <c:pt idx="356">
                  <c:v>45665</c:v>
                </c:pt>
                <c:pt idx="357">
                  <c:v>45666</c:v>
                </c:pt>
                <c:pt idx="358">
                  <c:v>45667</c:v>
                </c:pt>
                <c:pt idx="359">
                  <c:v>45670</c:v>
                </c:pt>
                <c:pt idx="360">
                  <c:v>45671</c:v>
                </c:pt>
                <c:pt idx="361">
                  <c:v>45672</c:v>
                </c:pt>
                <c:pt idx="362">
                  <c:v>45673</c:v>
                </c:pt>
                <c:pt idx="363">
                  <c:v>45674</c:v>
                </c:pt>
                <c:pt idx="364">
                  <c:v>45677</c:v>
                </c:pt>
                <c:pt idx="365">
                  <c:v>45678</c:v>
                </c:pt>
                <c:pt idx="366">
                  <c:v>45679</c:v>
                </c:pt>
                <c:pt idx="367">
                  <c:v>45680</c:v>
                </c:pt>
                <c:pt idx="368">
                  <c:v>45681</c:v>
                </c:pt>
                <c:pt idx="369">
                  <c:v>45684</c:v>
                </c:pt>
                <c:pt idx="370">
                  <c:v>45693</c:v>
                </c:pt>
                <c:pt idx="371">
                  <c:v>45694</c:v>
                </c:pt>
                <c:pt idx="372">
                  <c:v>45695</c:v>
                </c:pt>
                <c:pt idx="373">
                  <c:v>45698</c:v>
                </c:pt>
                <c:pt idx="374">
                  <c:v>45699</c:v>
                </c:pt>
                <c:pt idx="375">
                  <c:v>45700</c:v>
                </c:pt>
                <c:pt idx="376">
                  <c:v>45701</c:v>
                </c:pt>
                <c:pt idx="377">
                  <c:v>45702</c:v>
                </c:pt>
                <c:pt idx="378">
                  <c:v>45705</c:v>
                </c:pt>
                <c:pt idx="379">
                  <c:v>45706</c:v>
                </c:pt>
                <c:pt idx="380">
                  <c:v>45707</c:v>
                </c:pt>
                <c:pt idx="381">
                  <c:v>45708</c:v>
                </c:pt>
                <c:pt idx="382">
                  <c:v>45709</c:v>
                </c:pt>
                <c:pt idx="383">
                  <c:v>45712</c:v>
                </c:pt>
                <c:pt idx="384">
                  <c:v>45713</c:v>
                </c:pt>
                <c:pt idx="385">
                  <c:v>45714</c:v>
                </c:pt>
                <c:pt idx="386">
                  <c:v>45715</c:v>
                </c:pt>
                <c:pt idx="387">
                  <c:v>45716</c:v>
                </c:pt>
                <c:pt idx="388">
                  <c:v>45719</c:v>
                </c:pt>
                <c:pt idx="389">
                  <c:v>45720</c:v>
                </c:pt>
                <c:pt idx="390">
                  <c:v>45721</c:v>
                </c:pt>
                <c:pt idx="391">
                  <c:v>45722</c:v>
                </c:pt>
                <c:pt idx="392">
                  <c:v>45723</c:v>
                </c:pt>
                <c:pt idx="393">
                  <c:v>45726</c:v>
                </c:pt>
                <c:pt idx="394">
                  <c:v>45727</c:v>
                </c:pt>
                <c:pt idx="395">
                  <c:v>45728</c:v>
                </c:pt>
                <c:pt idx="396">
                  <c:v>45729</c:v>
                </c:pt>
                <c:pt idx="397">
                  <c:v>45730</c:v>
                </c:pt>
                <c:pt idx="398">
                  <c:v>45733</c:v>
                </c:pt>
                <c:pt idx="399">
                  <c:v>45734</c:v>
                </c:pt>
                <c:pt idx="400">
                  <c:v>45735</c:v>
                </c:pt>
                <c:pt idx="401">
                  <c:v>45736</c:v>
                </c:pt>
                <c:pt idx="402">
                  <c:v>45737</c:v>
                </c:pt>
                <c:pt idx="403">
                  <c:v>45740</c:v>
                </c:pt>
                <c:pt idx="404">
                  <c:v>45741</c:v>
                </c:pt>
                <c:pt idx="405">
                  <c:v>45742</c:v>
                </c:pt>
                <c:pt idx="406">
                  <c:v>45743</c:v>
                </c:pt>
                <c:pt idx="407">
                  <c:v>45744</c:v>
                </c:pt>
                <c:pt idx="408">
                  <c:v>45747</c:v>
                </c:pt>
                <c:pt idx="409">
                  <c:v>45748</c:v>
                </c:pt>
                <c:pt idx="410">
                  <c:v>45749</c:v>
                </c:pt>
                <c:pt idx="411">
                  <c:v>45750</c:v>
                </c:pt>
                <c:pt idx="412">
                  <c:v>45754</c:v>
                </c:pt>
                <c:pt idx="413">
                  <c:v>45755</c:v>
                </c:pt>
                <c:pt idx="414">
                  <c:v>45756</c:v>
                </c:pt>
                <c:pt idx="415">
                  <c:v>45757</c:v>
                </c:pt>
                <c:pt idx="416">
                  <c:v>45758</c:v>
                </c:pt>
                <c:pt idx="417">
                  <c:v>45761</c:v>
                </c:pt>
                <c:pt idx="418">
                  <c:v>45762</c:v>
                </c:pt>
                <c:pt idx="419">
                  <c:v>45763</c:v>
                </c:pt>
                <c:pt idx="420">
                  <c:v>45764</c:v>
                </c:pt>
                <c:pt idx="421">
                  <c:v>45765</c:v>
                </c:pt>
                <c:pt idx="422">
                  <c:v>45768</c:v>
                </c:pt>
                <c:pt idx="423">
                  <c:v>45769</c:v>
                </c:pt>
                <c:pt idx="424">
                  <c:v>45770</c:v>
                </c:pt>
                <c:pt idx="425">
                  <c:v>45771</c:v>
                </c:pt>
                <c:pt idx="426">
                  <c:v>45772</c:v>
                </c:pt>
                <c:pt idx="427">
                  <c:v>45775</c:v>
                </c:pt>
                <c:pt idx="428">
                  <c:v>45776</c:v>
                </c:pt>
                <c:pt idx="429">
                  <c:v>45777</c:v>
                </c:pt>
                <c:pt idx="430">
                  <c:v>45783</c:v>
                </c:pt>
                <c:pt idx="431">
                  <c:v>45784</c:v>
                </c:pt>
                <c:pt idx="432">
                  <c:v>45785</c:v>
                </c:pt>
                <c:pt idx="433">
                  <c:v>45786</c:v>
                </c:pt>
                <c:pt idx="434">
                  <c:v>45789</c:v>
                </c:pt>
                <c:pt idx="435">
                  <c:v>45790</c:v>
                </c:pt>
                <c:pt idx="436">
                  <c:v>45791</c:v>
                </c:pt>
                <c:pt idx="437">
                  <c:v>45792</c:v>
                </c:pt>
                <c:pt idx="438">
                  <c:v>45793</c:v>
                </c:pt>
                <c:pt idx="439">
                  <c:v>45796</c:v>
                </c:pt>
                <c:pt idx="440">
                  <c:v>45797</c:v>
                </c:pt>
                <c:pt idx="441">
                  <c:v>45798</c:v>
                </c:pt>
                <c:pt idx="442">
                  <c:v>45799</c:v>
                </c:pt>
                <c:pt idx="443">
                  <c:v>45800</c:v>
                </c:pt>
                <c:pt idx="444">
                  <c:v>45803</c:v>
                </c:pt>
                <c:pt idx="445">
                  <c:v>45804</c:v>
                </c:pt>
                <c:pt idx="446">
                  <c:v>45805</c:v>
                </c:pt>
                <c:pt idx="447">
                  <c:v>45806</c:v>
                </c:pt>
                <c:pt idx="448">
                  <c:v>45807</c:v>
                </c:pt>
                <c:pt idx="449">
                  <c:v>45811</c:v>
                </c:pt>
                <c:pt idx="450">
                  <c:v>45812</c:v>
                </c:pt>
                <c:pt idx="451">
                  <c:v>45813</c:v>
                </c:pt>
                <c:pt idx="452">
                  <c:v>45814</c:v>
                </c:pt>
                <c:pt idx="453">
                  <c:v>45817</c:v>
                </c:pt>
                <c:pt idx="454">
                  <c:v>45818</c:v>
                </c:pt>
                <c:pt idx="455">
                  <c:v>45819</c:v>
                </c:pt>
                <c:pt idx="456">
                  <c:v>45820</c:v>
                </c:pt>
                <c:pt idx="457">
                  <c:v>45821</c:v>
                </c:pt>
                <c:pt idx="458">
                  <c:v>45824</c:v>
                </c:pt>
                <c:pt idx="459">
                  <c:v>45825</c:v>
                </c:pt>
                <c:pt idx="460">
                  <c:v>45826</c:v>
                </c:pt>
                <c:pt idx="461">
                  <c:v>45827</c:v>
                </c:pt>
                <c:pt idx="462">
                  <c:v>45828</c:v>
                </c:pt>
                <c:pt idx="463">
                  <c:v>45831</c:v>
                </c:pt>
                <c:pt idx="464">
                  <c:v>45832</c:v>
                </c:pt>
                <c:pt idx="465">
                  <c:v>45833</c:v>
                </c:pt>
                <c:pt idx="466">
                  <c:v>45834</c:v>
                </c:pt>
                <c:pt idx="467">
                  <c:v>45835</c:v>
                </c:pt>
                <c:pt idx="468">
                  <c:v>45838</c:v>
                </c:pt>
                <c:pt idx="469">
                  <c:v>45839</c:v>
                </c:pt>
                <c:pt idx="470">
                  <c:v>45840</c:v>
                </c:pt>
                <c:pt idx="471">
                  <c:v>45841</c:v>
                </c:pt>
                <c:pt idx="472">
                  <c:v>45842</c:v>
                </c:pt>
                <c:pt idx="473">
                  <c:v>45845</c:v>
                </c:pt>
                <c:pt idx="474">
                  <c:v>45846</c:v>
                </c:pt>
                <c:pt idx="475">
                  <c:v>45847</c:v>
                </c:pt>
                <c:pt idx="476">
                  <c:v>45848</c:v>
                </c:pt>
                <c:pt idx="477">
                  <c:v>45849</c:v>
                </c:pt>
                <c:pt idx="478">
                  <c:v>45852</c:v>
                </c:pt>
                <c:pt idx="479">
                  <c:v>45853</c:v>
                </c:pt>
                <c:pt idx="480">
                  <c:v>45854</c:v>
                </c:pt>
                <c:pt idx="481">
                  <c:v>45855</c:v>
                </c:pt>
                <c:pt idx="482">
                  <c:v>45856</c:v>
                </c:pt>
                <c:pt idx="483">
                  <c:v>45859</c:v>
                </c:pt>
                <c:pt idx="484">
                  <c:v>45860</c:v>
                </c:pt>
                <c:pt idx="485">
                  <c:v>45861</c:v>
                </c:pt>
                <c:pt idx="486">
                  <c:v>45862</c:v>
                </c:pt>
                <c:pt idx="487">
                  <c:v>45863</c:v>
                </c:pt>
                <c:pt idx="488">
                  <c:v>45866</c:v>
                </c:pt>
                <c:pt idx="489">
                  <c:v>45867</c:v>
                </c:pt>
                <c:pt idx="490">
                  <c:v>45868</c:v>
                </c:pt>
                <c:pt idx="491">
                  <c:v>45869</c:v>
                </c:pt>
                <c:pt idx="492">
                  <c:v>45870</c:v>
                </c:pt>
                <c:pt idx="493">
                  <c:v>45873</c:v>
                </c:pt>
                <c:pt idx="494">
                  <c:v>45874</c:v>
                </c:pt>
                <c:pt idx="495">
                  <c:v>45875</c:v>
                </c:pt>
                <c:pt idx="496">
                  <c:v>45876</c:v>
                </c:pt>
                <c:pt idx="497">
                  <c:v>45877</c:v>
                </c:pt>
                <c:pt idx="498">
                  <c:v>45880</c:v>
                </c:pt>
                <c:pt idx="499">
                  <c:v>45881</c:v>
                </c:pt>
                <c:pt idx="500">
                  <c:v>45882</c:v>
                </c:pt>
                <c:pt idx="501">
                  <c:v>45883</c:v>
                </c:pt>
                <c:pt idx="502">
                  <c:v>45884</c:v>
                </c:pt>
                <c:pt idx="503">
                  <c:v>45887</c:v>
                </c:pt>
                <c:pt idx="504">
                  <c:v>45888</c:v>
                </c:pt>
                <c:pt idx="505">
                  <c:v>45889</c:v>
                </c:pt>
                <c:pt idx="506">
                  <c:v>45890</c:v>
                </c:pt>
                <c:pt idx="507">
                  <c:v>45891</c:v>
                </c:pt>
                <c:pt idx="508">
                  <c:v>45894</c:v>
                </c:pt>
                <c:pt idx="509">
                  <c:v>45895</c:v>
                </c:pt>
                <c:pt idx="510">
                  <c:v>45896</c:v>
                </c:pt>
                <c:pt idx="511">
                  <c:v>45897</c:v>
                </c:pt>
                <c:pt idx="512">
                  <c:v>45898</c:v>
                </c:pt>
                <c:pt idx="513">
                  <c:v>45901</c:v>
                </c:pt>
                <c:pt idx="514">
                  <c:v>45902</c:v>
                </c:pt>
                <c:pt idx="515">
                  <c:v>45903</c:v>
                </c:pt>
                <c:pt idx="516">
                  <c:v>45904</c:v>
                </c:pt>
                <c:pt idx="517">
                  <c:v>45905</c:v>
                </c:pt>
                <c:pt idx="518">
                  <c:v>45908</c:v>
                </c:pt>
                <c:pt idx="519">
                  <c:v>45909</c:v>
                </c:pt>
                <c:pt idx="520">
                  <c:v>45910</c:v>
                </c:pt>
                <c:pt idx="521">
                  <c:v>45911</c:v>
                </c:pt>
                <c:pt idx="522">
                  <c:v>45912</c:v>
                </c:pt>
                <c:pt idx="523">
                  <c:v>45915</c:v>
                </c:pt>
                <c:pt idx="524">
                  <c:v>45916</c:v>
                </c:pt>
                <c:pt idx="525">
                  <c:v>45917</c:v>
                </c:pt>
                <c:pt idx="526">
                  <c:v>45918</c:v>
                </c:pt>
                <c:pt idx="527">
                  <c:v>45919</c:v>
                </c:pt>
                <c:pt idx="528">
                  <c:v>45922</c:v>
                </c:pt>
                <c:pt idx="529">
                  <c:v>45923</c:v>
                </c:pt>
                <c:pt idx="530">
                  <c:v>45924</c:v>
                </c:pt>
                <c:pt idx="531">
                  <c:v>45925</c:v>
                </c:pt>
                <c:pt idx="532">
                  <c:v>45926</c:v>
                </c:pt>
                <c:pt idx="533">
                  <c:v>45929</c:v>
                </c:pt>
                <c:pt idx="534">
                  <c:v>45930</c:v>
                </c:pt>
                <c:pt idx="535">
                  <c:v>45931</c:v>
                </c:pt>
                <c:pt idx="536">
                  <c:v>45932</c:v>
                </c:pt>
                <c:pt idx="537">
                  <c:v>45933</c:v>
                </c:pt>
                <c:pt idx="538">
                  <c:v>45936</c:v>
                </c:pt>
                <c:pt idx="539">
                  <c:v>45937</c:v>
                </c:pt>
                <c:pt idx="540">
                  <c:v>45938</c:v>
                </c:pt>
                <c:pt idx="541">
                  <c:v>45939</c:v>
                </c:pt>
                <c:pt idx="542">
                  <c:v>45940</c:v>
                </c:pt>
                <c:pt idx="543">
                  <c:v>45943</c:v>
                </c:pt>
                <c:pt idx="544">
                  <c:v>45944</c:v>
                </c:pt>
                <c:pt idx="545">
                  <c:v>45945</c:v>
                </c:pt>
                <c:pt idx="546">
                  <c:v>45946</c:v>
                </c:pt>
                <c:pt idx="547">
                  <c:v>45947</c:v>
                </c:pt>
                <c:pt idx="548">
                  <c:v>45950</c:v>
                </c:pt>
                <c:pt idx="549">
                  <c:v>45951</c:v>
                </c:pt>
                <c:pt idx="550">
                  <c:v>45952</c:v>
                </c:pt>
                <c:pt idx="551">
                  <c:v>45953</c:v>
                </c:pt>
                <c:pt idx="552">
                  <c:v>45954</c:v>
                </c:pt>
                <c:pt idx="553">
                  <c:v>45957</c:v>
                </c:pt>
                <c:pt idx="554">
                  <c:v>45958</c:v>
                </c:pt>
                <c:pt idx="555">
                  <c:v>45959</c:v>
                </c:pt>
                <c:pt idx="556">
                  <c:v>45960</c:v>
                </c:pt>
                <c:pt idx="557">
                  <c:v>45961</c:v>
                </c:pt>
                <c:pt idx="558">
                  <c:v>45964</c:v>
                </c:pt>
                <c:pt idx="559">
                  <c:v>45965</c:v>
                </c:pt>
                <c:pt idx="560">
                  <c:v>45966</c:v>
                </c:pt>
                <c:pt idx="561">
                  <c:v>45967</c:v>
                </c:pt>
                <c:pt idx="562">
                  <c:v>45968</c:v>
                </c:pt>
                <c:pt idx="563">
                  <c:v>45971</c:v>
                </c:pt>
                <c:pt idx="564">
                  <c:v>45972</c:v>
                </c:pt>
                <c:pt idx="565">
                  <c:v>45973</c:v>
                </c:pt>
                <c:pt idx="566">
                  <c:v>45974</c:v>
                </c:pt>
                <c:pt idx="567">
                  <c:v>45975</c:v>
                </c:pt>
                <c:pt idx="568">
                  <c:v>45978</c:v>
                </c:pt>
                <c:pt idx="569">
                  <c:v>45979</c:v>
                </c:pt>
                <c:pt idx="570">
                  <c:v>45980</c:v>
                </c:pt>
                <c:pt idx="571">
                  <c:v>45981</c:v>
                </c:pt>
                <c:pt idx="572">
                  <c:v>45982</c:v>
                </c:pt>
                <c:pt idx="573">
                  <c:v>45985</c:v>
                </c:pt>
                <c:pt idx="574">
                  <c:v>45986</c:v>
                </c:pt>
                <c:pt idx="575">
                  <c:v>45987</c:v>
                </c:pt>
                <c:pt idx="576">
                  <c:v>45988</c:v>
                </c:pt>
                <c:pt idx="577">
                  <c:v>45989</c:v>
                </c:pt>
                <c:pt idx="578">
                  <c:v>45992</c:v>
                </c:pt>
                <c:pt idx="579">
                  <c:v>45993</c:v>
                </c:pt>
                <c:pt idx="580">
                  <c:v>45994</c:v>
                </c:pt>
                <c:pt idx="581">
                  <c:v>45995</c:v>
                </c:pt>
                <c:pt idx="582">
                  <c:v>45996</c:v>
                </c:pt>
                <c:pt idx="583">
                  <c:v>45999</c:v>
                </c:pt>
                <c:pt idx="584">
                  <c:v>46000</c:v>
                </c:pt>
                <c:pt idx="585">
                  <c:v>46001</c:v>
                </c:pt>
                <c:pt idx="586">
                  <c:v>46002</c:v>
                </c:pt>
                <c:pt idx="587">
                  <c:v>46003</c:v>
                </c:pt>
                <c:pt idx="588">
                  <c:v>46006</c:v>
                </c:pt>
                <c:pt idx="589">
                  <c:v>46007</c:v>
                </c:pt>
                <c:pt idx="590">
                  <c:v>46008</c:v>
                </c:pt>
                <c:pt idx="591">
                  <c:v>46009</c:v>
                </c:pt>
                <c:pt idx="592">
                  <c:v>46010</c:v>
                </c:pt>
                <c:pt idx="593">
                  <c:v>46013</c:v>
                </c:pt>
                <c:pt idx="594">
                  <c:v>46014</c:v>
                </c:pt>
                <c:pt idx="595">
                  <c:v>46015</c:v>
                </c:pt>
                <c:pt idx="596">
                  <c:v>46016</c:v>
                </c:pt>
                <c:pt idx="597">
                  <c:v>46017</c:v>
                </c:pt>
                <c:pt idx="598">
                  <c:v>46020</c:v>
                </c:pt>
                <c:pt idx="599">
                  <c:v>46021</c:v>
                </c:pt>
                <c:pt idx="600">
                  <c:v>46022</c:v>
                </c:pt>
                <c:pt idx="601">
                  <c:v>46023</c:v>
                </c:pt>
                <c:pt idx="602">
                  <c:v>46024</c:v>
                </c:pt>
                <c:pt idx="603">
                  <c:v>46027</c:v>
                </c:pt>
                <c:pt idx="604">
                  <c:v>46028</c:v>
                </c:pt>
                <c:pt idx="605">
                  <c:v>46029</c:v>
                </c:pt>
                <c:pt idx="606">
                  <c:v>46030</c:v>
                </c:pt>
                <c:pt idx="607">
                  <c:v>46031</c:v>
                </c:pt>
                <c:pt idx="608">
                  <c:v>46034</c:v>
                </c:pt>
                <c:pt idx="609">
                  <c:v>46035</c:v>
                </c:pt>
                <c:pt idx="610">
                  <c:v>46036</c:v>
                </c:pt>
                <c:pt idx="611">
                  <c:v>46037</c:v>
                </c:pt>
                <c:pt idx="612">
                  <c:v>46038</c:v>
                </c:pt>
                <c:pt idx="613">
                  <c:v>46041</c:v>
                </c:pt>
                <c:pt idx="614">
                  <c:v>46042</c:v>
                </c:pt>
                <c:pt idx="615">
                  <c:v>46043</c:v>
                </c:pt>
                <c:pt idx="616">
                  <c:v>46044</c:v>
                </c:pt>
                <c:pt idx="617">
                  <c:v>46045</c:v>
                </c:pt>
                <c:pt idx="618">
                  <c:v>46048</c:v>
                </c:pt>
                <c:pt idx="619">
                  <c:v>46049</c:v>
                </c:pt>
                <c:pt idx="620">
                  <c:v>46050</c:v>
                </c:pt>
                <c:pt idx="621">
                  <c:v>46051</c:v>
                </c:pt>
                <c:pt idx="622">
                  <c:v>46052</c:v>
                </c:pt>
                <c:pt idx="623">
                  <c:v>46055</c:v>
                </c:pt>
                <c:pt idx="624">
                  <c:v>46056</c:v>
                </c:pt>
                <c:pt idx="625">
                  <c:v>46057</c:v>
                </c:pt>
                <c:pt idx="626">
                  <c:v>46058</c:v>
                </c:pt>
                <c:pt idx="627">
                  <c:v>46059</c:v>
                </c:pt>
                <c:pt idx="628">
                  <c:v>46062</c:v>
                </c:pt>
                <c:pt idx="629">
                  <c:v>46063</c:v>
                </c:pt>
                <c:pt idx="630">
                  <c:v>46064</c:v>
                </c:pt>
                <c:pt idx="631">
                  <c:v>46065</c:v>
                </c:pt>
                <c:pt idx="632">
                  <c:v>46066</c:v>
                </c:pt>
                <c:pt idx="633">
                  <c:v>46069</c:v>
                </c:pt>
                <c:pt idx="634">
                  <c:v>46070</c:v>
                </c:pt>
                <c:pt idx="635">
                  <c:v>46071</c:v>
                </c:pt>
                <c:pt idx="636">
                  <c:v>46072</c:v>
                </c:pt>
                <c:pt idx="637">
                  <c:v>46073</c:v>
                </c:pt>
                <c:pt idx="638">
                  <c:v>46076</c:v>
                </c:pt>
                <c:pt idx="639">
                  <c:v>46077</c:v>
                </c:pt>
                <c:pt idx="640">
                  <c:v>46078</c:v>
                </c:pt>
                <c:pt idx="641">
                  <c:v>46079</c:v>
                </c:pt>
                <c:pt idx="642">
                  <c:v>46080</c:v>
                </c:pt>
                <c:pt idx="643">
                  <c:v>46083</c:v>
                </c:pt>
                <c:pt idx="644">
                  <c:v>46084</c:v>
                </c:pt>
                <c:pt idx="645">
                  <c:v>46085</c:v>
                </c:pt>
                <c:pt idx="646">
                  <c:v>46086</c:v>
                </c:pt>
                <c:pt idx="647">
                  <c:v>46087</c:v>
                </c:pt>
                <c:pt idx="648">
                  <c:v>46090</c:v>
                </c:pt>
                <c:pt idx="649">
                  <c:v>46091</c:v>
                </c:pt>
                <c:pt idx="650">
                  <c:v>46092</c:v>
                </c:pt>
                <c:pt idx="651">
                  <c:v>46093</c:v>
                </c:pt>
                <c:pt idx="652">
                  <c:v>46094</c:v>
                </c:pt>
                <c:pt idx="653">
                  <c:v>46097</c:v>
                </c:pt>
                <c:pt idx="654">
                  <c:v>46098</c:v>
                </c:pt>
                <c:pt idx="655">
                  <c:v>46099</c:v>
                </c:pt>
                <c:pt idx="656">
                  <c:v>46100</c:v>
                </c:pt>
                <c:pt idx="657">
                  <c:v>46101</c:v>
                </c:pt>
                <c:pt idx="658">
                  <c:v>46104</c:v>
                </c:pt>
                <c:pt idx="659">
                  <c:v>46105</c:v>
                </c:pt>
                <c:pt idx="660">
                  <c:v>46106</c:v>
                </c:pt>
                <c:pt idx="661">
                  <c:v>46107</c:v>
                </c:pt>
                <c:pt idx="662">
                  <c:v>46108</c:v>
                </c:pt>
                <c:pt idx="663">
                  <c:v>46111</c:v>
                </c:pt>
                <c:pt idx="664">
                  <c:v>46112</c:v>
                </c:pt>
                <c:pt idx="665">
                  <c:v>46113</c:v>
                </c:pt>
                <c:pt idx="666">
                  <c:v>46114</c:v>
                </c:pt>
                <c:pt idx="667">
                  <c:v>46115</c:v>
                </c:pt>
                <c:pt idx="668">
                  <c:v>46118</c:v>
                </c:pt>
                <c:pt idx="669">
                  <c:v>46119</c:v>
                </c:pt>
                <c:pt idx="670">
                  <c:v>46120</c:v>
                </c:pt>
                <c:pt idx="671">
                  <c:v>46121</c:v>
                </c:pt>
                <c:pt idx="672">
                  <c:v>46122</c:v>
                </c:pt>
                <c:pt idx="673">
                  <c:v>46125</c:v>
                </c:pt>
                <c:pt idx="674">
                  <c:v>46126</c:v>
                </c:pt>
                <c:pt idx="675">
                  <c:v>46127</c:v>
                </c:pt>
                <c:pt idx="676">
                  <c:v>46128</c:v>
                </c:pt>
                <c:pt idx="677">
                  <c:v>46129</c:v>
                </c:pt>
                <c:pt idx="678">
                  <c:v>46132</c:v>
                </c:pt>
                <c:pt idx="679">
                  <c:v>46133</c:v>
                </c:pt>
                <c:pt idx="680">
                  <c:v>46134</c:v>
                </c:pt>
                <c:pt idx="681">
                  <c:v>46135</c:v>
                </c:pt>
                <c:pt idx="682">
                  <c:v>46136</c:v>
                </c:pt>
                <c:pt idx="683">
                  <c:v>46139</c:v>
                </c:pt>
                <c:pt idx="684">
                  <c:v>46140</c:v>
                </c:pt>
                <c:pt idx="685">
                  <c:v>46141</c:v>
                </c:pt>
                <c:pt idx="686">
                  <c:v>46142</c:v>
                </c:pt>
                <c:pt idx="687">
                  <c:v>46143</c:v>
                </c:pt>
                <c:pt idx="688">
                  <c:v>46146</c:v>
                </c:pt>
                <c:pt idx="689">
                  <c:v>46147</c:v>
                </c:pt>
                <c:pt idx="690">
                  <c:v>46148</c:v>
                </c:pt>
                <c:pt idx="691">
                  <c:v>46149</c:v>
                </c:pt>
                <c:pt idx="692">
                  <c:v>46150</c:v>
                </c:pt>
                <c:pt idx="693">
                  <c:v>46153</c:v>
                </c:pt>
                <c:pt idx="694">
                  <c:v>46154</c:v>
                </c:pt>
                <c:pt idx="695">
                  <c:v>46155</c:v>
                </c:pt>
                <c:pt idx="696">
                  <c:v>46156</c:v>
                </c:pt>
                <c:pt idx="697">
                  <c:v>46157</c:v>
                </c:pt>
                <c:pt idx="698">
                  <c:v>46160</c:v>
                </c:pt>
                <c:pt idx="699">
                  <c:v>46161</c:v>
                </c:pt>
                <c:pt idx="700">
                  <c:v>46162</c:v>
                </c:pt>
                <c:pt idx="701">
                  <c:v>46163</c:v>
                </c:pt>
                <c:pt idx="702">
                  <c:v>46164</c:v>
                </c:pt>
                <c:pt idx="703">
                  <c:v>46167</c:v>
                </c:pt>
                <c:pt idx="704">
                  <c:v>46168</c:v>
                </c:pt>
                <c:pt idx="705">
                  <c:v>46169</c:v>
                </c:pt>
                <c:pt idx="706">
                  <c:v>46170</c:v>
                </c:pt>
                <c:pt idx="707">
                  <c:v>46171</c:v>
                </c:pt>
                <c:pt idx="708">
                  <c:v>46174</c:v>
                </c:pt>
                <c:pt idx="709">
                  <c:v>46175</c:v>
                </c:pt>
                <c:pt idx="710">
                  <c:v>46176</c:v>
                </c:pt>
                <c:pt idx="711">
                  <c:v>46177</c:v>
                </c:pt>
                <c:pt idx="712">
                  <c:v>46178</c:v>
                </c:pt>
                <c:pt idx="713">
                  <c:v>46181</c:v>
                </c:pt>
                <c:pt idx="714">
                  <c:v>46182</c:v>
                </c:pt>
                <c:pt idx="715">
                  <c:v>46183</c:v>
                </c:pt>
                <c:pt idx="716">
                  <c:v>46184</c:v>
                </c:pt>
                <c:pt idx="717">
                  <c:v>46185</c:v>
                </c:pt>
                <c:pt idx="718">
                  <c:v>46188</c:v>
                </c:pt>
                <c:pt idx="719">
                  <c:v>46189</c:v>
                </c:pt>
                <c:pt idx="720">
                  <c:v>46190</c:v>
                </c:pt>
                <c:pt idx="721">
                  <c:v>46191</c:v>
                </c:pt>
                <c:pt idx="722">
                  <c:v>46192</c:v>
                </c:pt>
                <c:pt idx="723">
                  <c:v>46195</c:v>
                </c:pt>
                <c:pt idx="724">
                  <c:v>46196</c:v>
                </c:pt>
                <c:pt idx="725">
                  <c:v>46197</c:v>
                </c:pt>
                <c:pt idx="726">
                  <c:v>46198</c:v>
                </c:pt>
                <c:pt idx="727">
                  <c:v>46199</c:v>
                </c:pt>
                <c:pt idx="728">
                  <c:v>46202</c:v>
                </c:pt>
                <c:pt idx="729">
                  <c:v>46203</c:v>
                </c:pt>
                <c:pt idx="730">
                  <c:v>46204</c:v>
                </c:pt>
                <c:pt idx="731">
                  <c:v>46205</c:v>
                </c:pt>
                <c:pt idx="732">
                  <c:v>46206</c:v>
                </c:pt>
                <c:pt idx="733">
                  <c:v>46209</c:v>
                </c:pt>
                <c:pt idx="734">
                  <c:v>46210</c:v>
                </c:pt>
                <c:pt idx="735">
                  <c:v>46211</c:v>
                </c:pt>
                <c:pt idx="736">
                  <c:v>46212</c:v>
                </c:pt>
                <c:pt idx="737">
                  <c:v>46213</c:v>
                </c:pt>
                <c:pt idx="738">
                  <c:v>46216</c:v>
                </c:pt>
                <c:pt idx="739">
                  <c:v>46217</c:v>
                </c:pt>
                <c:pt idx="740">
                  <c:v>46218</c:v>
                </c:pt>
                <c:pt idx="741">
                  <c:v>46219</c:v>
                </c:pt>
                <c:pt idx="742">
                  <c:v>46220</c:v>
                </c:pt>
                <c:pt idx="743">
                  <c:v>46223</c:v>
                </c:pt>
                <c:pt idx="744">
                  <c:v>46224</c:v>
                </c:pt>
                <c:pt idx="745">
                  <c:v>46225</c:v>
                </c:pt>
                <c:pt idx="746">
                  <c:v>46226</c:v>
                </c:pt>
                <c:pt idx="747">
                  <c:v>46227</c:v>
                </c:pt>
                <c:pt idx="748">
                  <c:v>46230</c:v>
                </c:pt>
                <c:pt idx="749">
                  <c:v>46231</c:v>
                </c:pt>
                <c:pt idx="750">
                  <c:v>46232</c:v>
                </c:pt>
                <c:pt idx="751">
                  <c:v>46233</c:v>
                </c:pt>
                <c:pt idx="752">
                  <c:v>46234</c:v>
                </c:pt>
                <c:pt idx="753">
                  <c:v>46237</c:v>
                </c:pt>
                <c:pt idx="754">
                  <c:v>46238</c:v>
                </c:pt>
                <c:pt idx="755">
                  <c:v>46239</c:v>
                </c:pt>
                <c:pt idx="756">
                  <c:v>46240</c:v>
                </c:pt>
                <c:pt idx="757">
                  <c:v>46241</c:v>
                </c:pt>
                <c:pt idx="758">
                  <c:v>46244</c:v>
                </c:pt>
                <c:pt idx="759">
                  <c:v>46245</c:v>
                </c:pt>
                <c:pt idx="760">
                  <c:v>46246</c:v>
                </c:pt>
                <c:pt idx="761">
                  <c:v>46247</c:v>
                </c:pt>
                <c:pt idx="762">
                  <c:v>46248</c:v>
                </c:pt>
                <c:pt idx="763">
                  <c:v>46251</c:v>
                </c:pt>
                <c:pt idx="764">
                  <c:v>46252</c:v>
                </c:pt>
                <c:pt idx="765">
                  <c:v>46253</c:v>
                </c:pt>
                <c:pt idx="766">
                  <c:v>46254</c:v>
                </c:pt>
                <c:pt idx="767">
                  <c:v>46255</c:v>
                </c:pt>
                <c:pt idx="768">
                  <c:v>46258</c:v>
                </c:pt>
                <c:pt idx="769">
                  <c:v>46259</c:v>
                </c:pt>
                <c:pt idx="770">
                  <c:v>46260</c:v>
                </c:pt>
                <c:pt idx="771">
                  <c:v>46261</c:v>
                </c:pt>
                <c:pt idx="772">
                  <c:v>46262</c:v>
                </c:pt>
                <c:pt idx="773">
                  <c:v>46265</c:v>
                </c:pt>
                <c:pt idx="774">
                  <c:v>46266</c:v>
                </c:pt>
                <c:pt idx="775">
                  <c:v>46267</c:v>
                </c:pt>
                <c:pt idx="776">
                  <c:v>46268</c:v>
                </c:pt>
                <c:pt idx="777">
                  <c:v>46269</c:v>
                </c:pt>
                <c:pt idx="778">
                  <c:v>46272</c:v>
                </c:pt>
                <c:pt idx="779">
                  <c:v>46273</c:v>
                </c:pt>
                <c:pt idx="780">
                  <c:v>46274</c:v>
                </c:pt>
                <c:pt idx="781">
                  <c:v>46275</c:v>
                </c:pt>
                <c:pt idx="782">
                  <c:v>46276</c:v>
                </c:pt>
                <c:pt idx="783">
                  <c:v>46279</c:v>
                </c:pt>
                <c:pt idx="784">
                  <c:v>46280</c:v>
                </c:pt>
                <c:pt idx="785">
                  <c:v>46281</c:v>
                </c:pt>
                <c:pt idx="786">
                  <c:v>46282</c:v>
                </c:pt>
                <c:pt idx="787">
                  <c:v>46283</c:v>
                </c:pt>
                <c:pt idx="788">
                  <c:v>46286</c:v>
                </c:pt>
                <c:pt idx="789">
                  <c:v>46287</c:v>
                </c:pt>
                <c:pt idx="790">
                  <c:v>46288</c:v>
                </c:pt>
                <c:pt idx="791">
                  <c:v>46289</c:v>
                </c:pt>
                <c:pt idx="792">
                  <c:v>46290</c:v>
                </c:pt>
                <c:pt idx="793">
                  <c:v>46293</c:v>
                </c:pt>
                <c:pt idx="794">
                  <c:v>46294</c:v>
                </c:pt>
                <c:pt idx="795">
                  <c:v>46295</c:v>
                </c:pt>
                <c:pt idx="796">
                  <c:v>46296</c:v>
                </c:pt>
                <c:pt idx="797">
                  <c:v>46297</c:v>
                </c:pt>
                <c:pt idx="798">
                  <c:v>46300</c:v>
                </c:pt>
                <c:pt idx="799">
                  <c:v>46301</c:v>
                </c:pt>
                <c:pt idx="800">
                  <c:v>46302</c:v>
                </c:pt>
                <c:pt idx="801">
                  <c:v>46303</c:v>
                </c:pt>
                <c:pt idx="802">
                  <c:v>46304</c:v>
                </c:pt>
                <c:pt idx="803">
                  <c:v>46307</c:v>
                </c:pt>
                <c:pt idx="804">
                  <c:v>46308</c:v>
                </c:pt>
                <c:pt idx="805">
                  <c:v>46309</c:v>
                </c:pt>
                <c:pt idx="806">
                  <c:v>46310</c:v>
                </c:pt>
                <c:pt idx="807">
                  <c:v>46311</c:v>
                </c:pt>
                <c:pt idx="808">
                  <c:v>46314</c:v>
                </c:pt>
                <c:pt idx="809">
                  <c:v>46315</c:v>
                </c:pt>
                <c:pt idx="810">
                  <c:v>46316</c:v>
                </c:pt>
                <c:pt idx="811">
                  <c:v>46317</c:v>
                </c:pt>
                <c:pt idx="812">
                  <c:v>46318</c:v>
                </c:pt>
                <c:pt idx="813">
                  <c:v>46321</c:v>
                </c:pt>
                <c:pt idx="814">
                  <c:v>46322</c:v>
                </c:pt>
                <c:pt idx="815">
                  <c:v>46323</c:v>
                </c:pt>
                <c:pt idx="816">
                  <c:v>46324</c:v>
                </c:pt>
                <c:pt idx="817">
                  <c:v>46325</c:v>
                </c:pt>
                <c:pt idx="818">
                  <c:v>46328</c:v>
                </c:pt>
                <c:pt idx="819">
                  <c:v>46329</c:v>
                </c:pt>
                <c:pt idx="820">
                  <c:v>46330</c:v>
                </c:pt>
                <c:pt idx="821">
                  <c:v>46331</c:v>
                </c:pt>
                <c:pt idx="822">
                  <c:v>46332</c:v>
                </c:pt>
                <c:pt idx="823">
                  <c:v>46335</c:v>
                </c:pt>
                <c:pt idx="824">
                  <c:v>46336</c:v>
                </c:pt>
                <c:pt idx="825">
                  <c:v>46337</c:v>
                </c:pt>
                <c:pt idx="826">
                  <c:v>46338</c:v>
                </c:pt>
                <c:pt idx="827">
                  <c:v>46339</c:v>
                </c:pt>
                <c:pt idx="828">
                  <c:v>46342</c:v>
                </c:pt>
                <c:pt idx="829">
                  <c:v>46343</c:v>
                </c:pt>
                <c:pt idx="830">
                  <c:v>46344</c:v>
                </c:pt>
                <c:pt idx="831">
                  <c:v>46345</c:v>
                </c:pt>
                <c:pt idx="832">
                  <c:v>46346</c:v>
                </c:pt>
                <c:pt idx="833">
                  <c:v>46349</c:v>
                </c:pt>
                <c:pt idx="834">
                  <c:v>46350</c:v>
                </c:pt>
                <c:pt idx="835">
                  <c:v>46351</c:v>
                </c:pt>
                <c:pt idx="836">
                  <c:v>46352</c:v>
                </c:pt>
                <c:pt idx="837">
                  <c:v>46353</c:v>
                </c:pt>
                <c:pt idx="838">
                  <c:v>46356</c:v>
                </c:pt>
                <c:pt idx="839">
                  <c:v>46357</c:v>
                </c:pt>
                <c:pt idx="840">
                  <c:v>46358</c:v>
                </c:pt>
                <c:pt idx="841">
                  <c:v>46359</c:v>
                </c:pt>
                <c:pt idx="842">
                  <c:v>46360</c:v>
                </c:pt>
                <c:pt idx="843">
                  <c:v>46363</c:v>
                </c:pt>
                <c:pt idx="844">
                  <c:v>46364</c:v>
                </c:pt>
                <c:pt idx="845">
                  <c:v>46365</c:v>
                </c:pt>
                <c:pt idx="846">
                  <c:v>46366</c:v>
                </c:pt>
                <c:pt idx="847">
                  <c:v>46367</c:v>
                </c:pt>
                <c:pt idx="848">
                  <c:v>46370</c:v>
                </c:pt>
                <c:pt idx="849">
                  <c:v>46371</c:v>
                </c:pt>
                <c:pt idx="850">
                  <c:v>46372</c:v>
                </c:pt>
                <c:pt idx="851">
                  <c:v>46373</c:v>
                </c:pt>
                <c:pt idx="852">
                  <c:v>46374</c:v>
                </c:pt>
                <c:pt idx="853">
                  <c:v>46377</c:v>
                </c:pt>
                <c:pt idx="854">
                  <c:v>46378</c:v>
                </c:pt>
                <c:pt idx="855">
                  <c:v>46379</c:v>
                </c:pt>
                <c:pt idx="856">
                  <c:v>46380</c:v>
                </c:pt>
                <c:pt idx="857">
                  <c:v>46381</c:v>
                </c:pt>
                <c:pt idx="858">
                  <c:v>46384</c:v>
                </c:pt>
                <c:pt idx="859">
                  <c:v>46385</c:v>
                </c:pt>
                <c:pt idx="860">
                  <c:v>46386</c:v>
                </c:pt>
                <c:pt idx="861">
                  <c:v>46387</c:v>
                </c:pt>
                <c:pt idx="862">
                  <c:v>46388</c:v>
                </c:pt>
                <c:pt idx="863">
                  <c:v>46391</c:v>
                </c:pt>
                <c:pt idx="864">
                  <c:v>46392</c:v>
                </c:pt>
                <c:pt idx="865">
                  <c:v>46393</c:v>
                </c:pt>
                <c:pt idx="866">
                  <c:v>46394</c:v>
                </c:pt>
                <c:pt idx="867">
                  <c:v>46395</c:v>
                </c:pt>
                <c:pt idx="868">
                  <c:v>46398</c:v>
                </c:pt>
                <c:pt idx="869">
                  <c:v>46399</c:v>
                </c:pt>
                <c:pt idx="870">
                  <c:v>46400</c:v>
                </c:pt>
                <c:pt idx="871">
                  <c:v>46401</c:v>
                </c:pt>
                <c:pt idx="872">
                  <c:v>46402</c:v>
                </c:pt>
                <c:pt idx="873">
                  <c:v>46405</c:v>
                </c:pt>
                <c:pt idx="874">
                  <c:v>46406</c:v>
                </c:pt>
                <c:pt idx="875">
                  <c:v>46407</c:v>
                </c:pt>
                <c:pt idx="876">
                  <c:v>46408</c:v>
                </c:pt>
                <c:pt idx="877">
                  <c:v>46409</c:v>
                </c:pt>
                <c:pt idx="878">
                  <c:v>46412</c:v>
                </c:pt>
                <c:pt idx="879">
                  <c:v>46413</c:v>
                </c:pt>
                <c:pt idx="880">
                  <c:v>46414</c:v>
                </c:pt>
                <c:pt idx="881">
                  <c:v>46415</c:v>
                </c:pt>
                <c:pt idx="882">
                  <c:v>46416</c:v>
                </c:pt>
                <c:pt idx="883">
                  <c:v>46419</c:v>
                </c:pt>
                <c:pt idx="884">
                  <c:v>46420</c:v>
                </c:pt>
                <c:pt idx="885">
                  <c:v>46421</c:v>
                </c:pt>
                <c:pt idx="886">
                  <c:v>46422</c:v>
                </c:pt>
                <c:pt idx="887">
                  <c:v>46423</c:v>
                </c:pt>
                <c:pt idx="888">
                  <c:v>46426</c:v>
                </c:pt>
                <c:pt idx="889">
                  <c:v>46427</c:v>
                </c:pt>
                <c:pt idx="890">
                  <c:v>46428</c:v>
                </c:pt>
                <c:pt idx="891">
                  <c:v>46429</c:v>
                </c:pt>
                <c:pt idx="892">
                  <c:v>46430</c:v>
                </c:pt>
                <c:pt idx="893">
                  <c:v>46433</c:v>
                </c:pt>
                <c:pt idx="894">
                  <c:v>46434</c:v>
                </c:pt>
                <c:pt idx="895">
                  <c:v>46435</c:v>
                </c:pt>
                <c:pt idx="896">
                  <c:v>46436</c:v>
                </c:pt>
                <c:pt idx="897">
                  <c:v>46437</c:v>
                </c:pt>
                <c:pt idx="898">
                  <c:v>46440</c:v>
                </c:pt>
                <c:pt idx="899">
                  <c:v>46441</c:v>
                </c:pt>
                <c:pt idx="900">
                  <c:v>46442</c:v>
                </c:pt>
                <c:pt idx="901">
                  <c:v>46443</c:v>
                </c:pt>
                <c:pt idx="902">
                  <c:v>46444</c:v>
                </c:pt>
                <c:pt idx="903">
                  <c:v>46447</c:v>
                </c:pt>
                <c:pt idx="904">
                  <c:v>46448</c:v>
                </c:pt>
                <c:pt idx="905">
                  <c:v>46449</c:v>
                </c:pt>
                <c:pt idx="906">
                  <c:v>46450</c:v>
                </c:pt>
                <c:pt idx="907">
                  <c:v>46451</c:v>
                </c:pt>
                <c:pt idx="908">
                  <c:v>46454</c:v>
                </c:pt>
                <c:pt idx="909">
                  <c:v>46455</c:v>
                </c:pt>
                <c:pt idx="910">
                  <c:v>46456</c:v>
                </c:pt>
                <c:pt idx="911">
                  <c:v>46457</c:v>
                </c:pt>
                <c:pt idx="912">
                  <c:v>46458</c:v>
                </c:pt>
                <c:pt idx="913">
                  <c:v>46461</c:v>
                </c:pt>
                <c:pt idx="914">
                  <c:v>46462</c:v>
                </c:pt>
                <c:pt idx="915">
                  <c:v>46463</c:v>
                </c:pt>
                <c:pt idx="916">
                  <c:v>46464</c:v>
                </c:pt>
                <c:pt idx="917">
                  <c:v>46465</c:v>
                </c:pt>
                <c:pt idx="918">
                  <c:v>46468</c:v>
                </c:pt>
                <c:pt idx="919">
                  <c:v>46469</c:v>
                </c:pt>
                <c:pt idx="920">
                  <c:v>46470</c:v>
                </c:pt>
                <c:pt idx="921">
                  <c:v>46471</c:v>
                </c:pt>
                <c:pt idx="922">
                  <c:v>46472</c:v>
                </c:pt>
                <c:pt idx="923">
                  <c:v>46475</c:v>
                </c:pt>
                <c:pt idx="924">
                  <c:v>46476</c:v>
                </c:pt>
                <c:pt idx="925">
                  <c:v>46477</c:v>
                </c:pt>
                <c:pt idx="926">
                  <c:v>46478</c:v>
                </c:pt>
                <c:pt idx="927">
                  <c:v>46479</c:v>
                </c:pt>
                <c:pt idx="928">
                  <c:v>46482</c:v>
                </c:pt>
                <c:pt idx="929">
                  <c:v>46483</c:v>
                </c:pt>
                <c:pt idx="930">
                  <c:v>46484</c:v>
                </c:pt>
                <c:pt idx="931">
                  <c:v>46485</c:v>
                </c:pt>
                <c:pt idx="932">
                  <c:v>46486</c:v>
                </c:pt>
                <c:pt idx="933">
                  <c:v>46489</c:v>
                </c:pt>
                <c:pt idx="934">
                  <c:v>46490</c:v>
                </c:pt>
                <c:pt idx="935">
                  <c:v>46491</c:v>
                </c:pt>
                <c:pt idx="936">
                  <c:v>46492</c:v>
                </c:pt>
                <c:pt idx="937">
                  <c:v>46493</c:v>
                </c:pt>
                <c:pt idx="938">
                  <c:v>46496</c:v>
                </c:pt>
                <c:pt idx="939">
                  <c:v>46497</c:v>
                </c:pt>
                <c:pt idx="940">
                  <c:v>46498</c:v>
                </c:pt>
                <c:pt idx="941">
                  <c:v>46499</c:v>
                </c:pt>
                <c:pt idx="942">
                  <c:v>46500</c:v>
                </c:pt>
                <c:pt idx="943">
                  <c:v>46503</c:v>
                </c:pt>
                <c:pt idx="944">
                  <c:v>46504</c:v>
                </c:pt>
                <c:pt idx="945">
                  <c:v>46505</c:v>
                </c:pt>
                <c:pt idx="946">
                  <c:v>46506</c:v>
                </c:pt>
                <c:pt idx="947">
                  <c:v>46507</c:v>
                </c:pt>
                <c:pt idx="948">
                  <c:v>46510</c:v>
                </c:pt>
                <c:pt idx="949">
                  <c:v>46511</c:v>
                </c:pt>
                <c:pt idx="950">
                  <c:v>46512</c:v>
                </c:pt>
                <c:pt idx="951">
                  <c:v>46513</c:v>
                </c:pt>
                <c:pt idx="952">
                  <c:v>46514</c:v>
                </c:pt>
                <c:pt idx="953">
                  <c:v>46517</c:v>
                </c:pt>
                <c:pt idx="954">
                  <c:v>46518</c:v>
                </c:pt>
                <c:pt idx="955">
                  <c:v>46519</c:v>
                </c:pt>
                <c:pt idx="956">
                  <c:v>46520</c:v>
                </c:pt>
                <c:pt idx="957">
                  <c:v>46521</c:v>
                </c:pt>
                <c:pt idx="958">
                  <c:v>46524</c:v>
                </c:pt>
                <c:pt idx="959">
                  <c:v>46525</c:v>
                </c:pt>
                <c:pt idx="960">
                  <c:v>46526</c:v>
                </c:pt>
                <c:pt idx="961">
                  <c:v>46527</c:v>
                </c:pt>
                <c:pt idx="962">
                  <c:v>46528</c:v>
                </c:pt>
                <c:pt idx="963">
                  <c:v>46531</c:v>
                </c:pt>
                <c:pt idx="964">
                  <c:v>46532</c:v>
                </c:pt>
                <c:pt idx="965">
                  <c:v>46533</c:v>
                </c:pt>
                <c:pt idx="966">
                  <c:v>46534</c:v>
                </c:pt>
                <c:pt idx="967">
                  <c:v>46535</c:v>
                </c:pt>
                <c:pt idx="968">
                  <c:v>46538</c:v>
                </c:pt>
                <c:pt idx="969">
                  <c:v>46539</c:v>
                </c:pt>
                <c:pt idx="970">
                  <c:v>46540</c:v>
                </c:pt>
                <c:pt idx="971">
                  <c:v>46541</c:v>
                </c:pt>
                <c:pt idx="972">
                  <c:v>46542</c:v>
                </c:pt>
                <c:pt idx="973">
                  <c:v>46545</c:v>
                </c:pt>
                <c:pt idx="974">
                  <c:v>46546</c:v>
                </c:pt>
                <c:pt idx="975">
                  <c:v>46547</c:v>
                </c:pt>
                <c:pt idx="976">
                  <c:v>46548</c:v>
                </c:pt>
                <c:pt idx="977">
                  <c:v>46549</c:v>
                </c:pt>
                <c:pt idx="978">
                  <c:v>46552</c:v>
                </c:pt>
                <c:pt idx="979">
                  <c:v>46553</c:v>
                </c:pt>
                <c:pt idx="980">
                  <c:v>46554</c:v>
                </c:pt>
                <c:pt idx="981">
                  <c:v>46555</c:v>
                </c:pt>
                <c:pt idx="982">
                  <c:v>46556</c:v>
                </c:pt>
                <c:pt idx="983">
                  <c:v>46559</c:v>
                </c:pt>
                <c:pt idx="984">
                  <c:v>46560</c:v>
                </c:pt>
                <c:pt idx="985">
                  <c:v>46561</c:v>
                </c:pt>
                <c:pt idx="986">
                  <c:v>46562</c:v>
                </c:pt>
                <c:pt idx="987">
                  <c:v>46563</c:v>
                </c:pt>
                <c:pt idx="988">
                  <c:v>46566</c:v>
                </c:pt>
                <c:pt idx="989">
                  <c:v>46567</c:v>
                </c:pt>
                <c:pt idx="990">
                  <c:v>46568</c:v>
                </c:pt>
                <c:pt idx="991">
                  <c:v>46569</c:v>
                </c:pt>
                <c:pt idx="992">
                  <c:v>46570</c:v>
                </c:pt>
                <c:pt idx="993">
                  <c:v>46573</c:v>
                </c:pt>
                <c:pt idx="994">
                  <c:v>46574</c:v>
                </c:pt>
                <c:pt idx="995">
                  <c:v>46575</c:v>
                </c:pt>
                <c:pt idx="996">
                  <c:v>46576</c:v>
                </c:pt>
                <c:pt idx="997">
                  <c:v>46577</c:v>
                </c:pt>
                <c:pt idx="998">
                  <c:v>46580</c:v>
                </c:pt>
              </c:numCache>
            </c:numRef>
          </c:cat>
          <c:val>
            <c:numRef>
              <c:f>Daily!$S$2:$S$1057</c:f>
            </c:numRef>
          </c:val>
          <c:smooth val="0"/>
          <c:extLst>
            <c:ext xmlns:c16="http://schemas.microsoft.com/office/drawing/2014/chart" uri="{C3380CC4-5D6E-409C-BE32-E72D297353CC}">
              <c16:uniqueId val="{00000014-094D-4E29-B010-D717A2A1A293}"/>
            </c:ext>
          </c:extLst>
        </c:ser>
        <c:ser>
          <c:idx val="15"/>
          <c:order val="15"/>
          <c:tx>
            <c:strRef>
              <c:f>Daily!$T$1</c:f>
              <c:strCache>
                <c:ptCount val="1"/>
                <c:pt idx="0">
                  <c:v>M+2</c:v>
                </c:pt>
              </c:strCache>
            </c:strRef>
          </c:tx>
          <c:spPr>
            <a:ln w="28575" cap="rnd" cmpd="sng" algn="ctr">
              <a:solidFill>
                <a:schemeClr val="accent4">
                  <a:lumMod val="80000"/>
                  <a:lumOff val="20000"/>
                  <a:shade val="95000"/>
                  <a:satMod val="105000"/>
                </a:schemeClr>
              </a:solidFill>
              <a:prstDash val="solid"/>
              <a:round/>
            </a:ln>
            <a:effectLst/>
          </c:spPr>
          <c:marker>
            <c:symbol val="none"/>
          </c:marker>
          <c:cat>
            <c:numRef>
              <c:f>Daily!$A$2:$A$1000</c:f>
              <c:numCache>
                <c:formatCode>d\-mmm\-yy</c:formatCode>
                <c:ptCount val="999"/>
                <c:pt idx="0">
                  <c:v>45128</c:v>
                </c:pt>
                <c:pt idx="1">
                  <c:v>45131</c:v>
                </c:pt>
                <c:pt idx="2">
                  <c:v>45132</c:v>
                </c:pt>
                <c:pt idx="3">
                  <c:v>45133</c:v>
                </c:pt>
                <c:pt idx="4">
                  <c:v>45134</c:v>
                </c:pt>
                <c:pt idx="5">
                  <c:v>45135</c:v>
                </c:pt>
                <c:pt idx="6">
                  <c:v>45138</c:v>
                </c:pt>
                <c:pt idx="7">
                  <c:v>45139</c:v>
                </c:pt>
                <c:pt idx="8">
                  <c:v>45140</c:v>
                </c:pt>
                <c:pt idx="9">
                  <c:v>45141</c:v>
                </c:pt>
                <c:pt idx="10">
                  <c:v>45142</c:v>
                </c:pt>
                <c:pt idx="11">
                  <c:v>45145</c:v>
                </c:pt>
                <c:pt idx="12">
                  <c:v>45146</c:v>
                </c:pt>
                <c:pt idx="13">
                  <c:v>45147</c:v>
                </c:pt>
                <c:pt idx="14">
                  <c:v>45148</c:v>
                </c:pt>
                <c:pt idx="15">
                  <c:v>45149</c:v>
                </c:pt>
                <c:pt idx="16">
                  <c:v>45152</c:v>
                </c:pt>
                <c:pt idx="17">
                  <c:v>45153</c:v>
                </c:pt>
                <c:pt idx="18">
                  <c:v>45154</c:v>
                </c:pt>
                <c:pt idx="19">
                  <c:v>45155</c:v>
                </c:pt>
                <c:pt idx="20">
                  <c:v>45156</c:v>
                </c:pt>
                <c:pt idx="21">
                  <c:v>45159</c:v>
                </c:pt>
                <c:pt idx="22">
                  <c:v>45160</c:v>
                </c:pt>
                <c:pt idx="23">
                  <c:v>45161</c:v>
                </c:pt>
                <c:pt idx="24">
                  <c:v>45162</c:v>
                </c:pt>
                <c:pt idx="25">
                  <c:v>45163</c:v>
                </c:pt>
                <c:pt idx="26">
                  <c:v>45166</c:v>
                </c:pt>
                <c:pt idx="27">
                  <c:v>45167</c:v>
                </c:pt>
                <c:pt idx="28">
                  <c:v>45168</c:v>
                </c:pt>
                <c:pt idx="29">
                  <c:v>45169</c:v>
                </c:pt>
                <c:pt idx="30">
                  <c:v>45170</c:v>
                </c:pt>
                <c:pt idx="31">
                  <c:v>45173</c:v>
                </c:pt>
                <c:pt idx="32">
                  <c:v>45174</c:v>
                </c:pt>
                <c:pt idx="33">
                  <c:v>45175</c:v>
                </c:pt>
                <c:pt idx="34">
                  <c:v>45176</c:v>
                </c:pt>
                <c:pt idx="35">
                  <c:v>45177</c:v>
                </c:pt>
                <c:pt idx="36">
                  <c:v>45180</c:v>
                </c:pt>
                <c:pt idx="37">
                  <c:v>45181</c:v>
                </c:pt>
                <c:pt idx="38">
                  <c:v>45182</c:v>
                </c:pt>
                <c:pt idx="39">
                  <c:v>45183</c:v>
                </c:pt>
                <c:pt idx="40">
                  <c:v>45184</c:v>
                </c:pt>
                <c:pt idx="41">
                  <c:v>45187</c:v>
                </c:pt>
                <c:pt idx="42">
                  <c:v>45188</c:v>
                </c:pt>
                <c:pt idx="43">
                  <c:v>45189</c:v>
                </c:pt>
                <c:pt idx="44">
                  <c:v>45190</c:v>
                </c:pt>
                <c:pt idx="45">
                  <c:v>45191</c:v>
                </c:pt>
                <c:pt idx="46">
                  <c:v>45194</c:v>
                </c:pt>
                <c:pt idx="47">
                  <c:v>45195</c:v>
                </c:pt>
                <c:pt idx="48">
                  <c:v>45196</c:v>
                </c:pt>
                <c:pt idx="49">
                  <c:v>45197</c:v>
                </c:pt>
                <c:pt idx="50">
                  <c:v>45208</c:v>
                </c:pt>
                <c:pt idx="51">
                  <c:v>45209</c:v>
                </c:pt>
                <c:pt idx="52">
                  <c:v>45210</c:v>
                </c:pt>
                <c:pt idx="53">
                  <c:v>45211</c:v>
                </c:pt>
                <c:pt idx="54">
                  <c:v>45212</c:v>
                </c:pt>
                <c:pt idx="55">
                  <c:v>45215</c:v>
                </c:pt>
                <c:pt idx="56">
                  <c:v>45216</c:v>
                </c:pt>
                <c:pt idx="57">
                  <c:v>45217</c:v>
                </c:pt>
                <c:pt idx="58">
                  <c:v>45218</c:v>
                </c:pt>
                <c:pt idx="59">
                  <c:v>45219</c:v>
                </c:pt>
                <c:pt idx="60">
                  <c:v>45222</c:v>
                </c:pt>
                <c:pt idx="61">
                  <c:v>45223</c:v>
                </c:pt>
                <c:pt idx="62">
                  <c:v>45224</c:v>
                </c:pt>
                <c:pt idx="63">
                  <c:v>45225</c:v>
                </c:pt>
                <c:pt idx="64">
                  <c:v>45226</c:v>
                </c:pt>
                <c:pt idx="65">
                  <c:v>45229</c:v>
                </c:pt>
                <c:pt idx="66">
                  <c:v>45230</c:v>
                </c:pt>
                <c:pt idx="67">
                  <c:v>45231</c:v>
                </c:pt>
                <c:pt idx="68">
                  <c:v>45232</c:v>
                </c:pt>
                <c:pt idx="69">
                  <c:v>45233</c:v>
                </c:pt>
                <c:pt idx="70">
                  <c:v>45236</c:v>
                </c:pt>
                <c:pt idx="71">
                  <c:v>45237</c:v>
                </c:pt>
                <c:pt idx="72">
                  <c:v>45238</c:v>
                </c:pt>
                <c:pt idx="73">
                  <c:v>45239</c:v>
                </c:pt>
                <c:pt idx="74">
                  <c:v>45240</c:v>
                </c:pt>
                <c:pt idx="75">
                  <c:v>45243</c:v>
                </c:pt>
                <c:pt idx="76">
                  <c:v>45244</c:v>
                </c:pt>
                <c:pt idx="77">
                  <c:v>45245</c:v>
                </c:pt>
                <c:pt idx="78">
                  <c:v>45246</c:v>
                </c:pt>
                <c:pt idx="79">
                  <c:v>45247</c:v>
                </c:pt>
                <c:pt idx="80">
                  <c:v>45250</c:v>
                </c:pt>
                <c:pt idx="81">
                  <c:v>45251</c:v>
                </c:pt>
                <c:pt idx="82">
                  <c:v>45252</c:v>
                </c:pt>
                <c:pt idx="83">
                  <c:v>45253</c:v>
                </c:pt>
                <c:pt idx="84">
                  <c:v>45254</c:v>
                </c:pt>
                <c:pt idx="85">
                  <c:v>45257</c:v>
                </c:pt>
                <c:pt idx="86">
                  <c:v>45258</c:v>
                </c:pt>
                <c:pt idx="87">
                  <c:v>45259</c:v>
                </c:pt>
                <c:pt idx="88">
                  <c:v>45260</c:v>
                </c:pt>
                <c:pt idx="89">
                  <c:v>45261</c:v>
                </c:pt>
                <c:pt idx="90">
                  <c:v>45264</c:v>
                </c:pt>
                <c:pt idx="91">
                  <c:v>45265</c:v>
                </c:pt>
                <c:pt idx="92">
                  <c:v>45266</c:v>
                </c:pt>
                <c:pt idx="93">
                  <c:v>45267</c:v>
                </c:pt>
                <c:pt idx="94">
                  <c:v>45268</c:v>
                </c:pt>
                <c:pt idx="95">
                  <c:v>45271</c:v>
                </c:pt>
                <c:pt idx="96">
                  <c:v>45272</c:v>
                </c:pt>
                <c:pt idx="97">
                  <c:v>45273</c:v>
                </c:pt>
                <c:pt idx="98">
                  <c:v>45274</c:v>
                </c:pt>
                <c:pt idx="99">
                  <c:v>45275</c:v>
                </c:pt>
                <c:pt idx="100">
                  <c:v>45278</c:v>
                </c:pt>
                <c:pt idx="101">
                  <c:v>45279</c:v>
                </c:pt>
                <c:pt idx="102">
                  <c:v>45280</c:v>
                </c:pt>
                <c:pt idx="103">
                  <c:v>45281</c:v>
                </c:pt>
                <c:pt idx="104">
                  <c:v>45282</c:v>
                </c:pt>
                <c:pt idx="105">
                  <c:v>45285</c:v>
                </c:pt>
                <c:pt idx="106">
                  <c:v>45286</c:v>
                </c:pt>
                <c:pt idx="107">
                  <c:v>45287</c:v>
                </c:pt>
                <c:pt idx="108">
                  <c:v>45288</c:v>
                </c:pt>
                <c:pt idx="109">
                  <c:v>45289</c:v>
                </c:pt>
                <c:pt idx="110">
                  <c:v>45293</c:v>
                </c:pt>
                <c:pt idx="111">
                  <c:v>45294</c:v>
                </c:pt>
                <c:pt idx="112">
                  <c:v>45295</c:v>
                </c:pt>
                <c:pt idx="113">
                  <c:v>45296</c:v>
                </c:pt>
                <c:pt idx="114">
                  <c:v>45299</c:v>
                </c:pt>
                <c:pt idx="115">
                  <c:v>45300</c:v>
                </c:pt>
                <c:pt idx="116">
                  <c:v>45301</c:v>
                </c:pt>
                <c:pt idx="117">
                  <c:v>45302</c:v>
                </c:pt>
                <c:pt idx="118">
                  <c:v>45303</c:v>
                </c:pt>
                <c:pt idx="119">
                  <c:v>45306</c:v>
                </c:pt>
                <c:pt idx="120">
                  <c:v>45307</c:v>
                </c:pt>
                <c:pt idx="121">
                  <c:v>45308</c:v>
                </c:pt>
                <c:pt idx="122">
                  <c:v>45309</c:v>
                </c:pt>
                <c:pt idx="123">
                  <c:v>45310</c:v>
                </c:pt>
                <c:pt idx="124">
                  <c:v>45313</c:v>
                </c:pt>
                <c:pt idx="125">
                  <c:v>45314</c:v>
                </c:pt>
                <c:pt idx="126">
                  <c:v>45315</c:v>
                </c:pt>
                <c:pt idx="127">
                  <c:v>45316</c:v>
                </c:pt>
                <c:pt idx="128">
                  <c:v>45317</c:v>
                </c:pt>
                <c:pt idx="129">
                  <c:v>45320</c:v>
                </c:pt>
                <c:pt idx="130">
                  <c:v>45321</c:v>
                </c:pt>
                <c:pt idx="131">
                  <c:v>45322</c:v>
                </c:pt>
                <c:pt idx="132">
                  <c:v>45323</c:v>
                </c:pt>
                <c:pt idx="133">
                  <c:v>45324</c:v>
                </c:pt>
                <c:pt idx="134">
                  <c:v>45327</c:v>
                </c:pt>
                <c:pt idx="135">
                  <c:v>45328</c:v>
                </c:pt>
                <c:pt idx="136">
                  <c:v>45329</c:v>
                </c:pt>
                <c:pt idx="137">
                  <c:v>45330</c:v>
                </c:pt>
                <c:pt idx="138">
                  <c:v>45341</c:v>
                </c:pt>
                <c:pt idx="139">
                  <c:v>45342</c:v>
                </c:pt>
                <c:pt idx="140">
                  <c:v>45343</c:v>
                </c:pt>
                <c:pt idx="141">
                  <c:v>45344</c:v>
                </c:pt>
                <c:pt idx="142">
                  <c:v>45345</c:v>
                </c:pt>
                <c:pt idx="143">
                  <c:v>45348</c:v>
                </c:pt>
                <c:pt idx="144">
                  <c:v>45349</c:v>
                </c:pt>
                <c:pt idx="145">
                  <c:v>45350</c:v>
                </c:pt>
                <c:pt idx="146">
                  <c:v>45351</c:v>
                </c:pt>
                <c:pt idx="147">
                  <c:v>45352</c:v>
                </c:pt>
                <c:pt idx="148">
                  <c:v>45355</c:v>
                </c:pt>
                <c:pt idx="149">
                  <c:v>45356</c:v>
                </c:pt>
                <c:pt idx="150">
                  <c:v>45357</c:v>
                </c:pt>
                <c:pt idx="151">
                  <c:v>45358</c:v>
                </c:pt>
                <c:pt idx="152">
                  <c:v>45359</c:v>
                </c:pt>
                <c:pt idx="153">
                  <c:v>45362</c:v>
                </c:pt>
                <c:pt idx="154">
                  <c:v>45363</c:v>
                </c:pt>
                <c:pt idx="155">
                  <c:v>45364</c:v>
                </c:pt>
                <c:pt idx="156">
                  <c:v>45365</c:v>
                </c:pt>
                <c:pt idx="157">
                  <c:v>45366</c:v>
                </c:pt>
                <c:pt idx="158">
                  <c:v>45369</c:v>
                </c:pt>
                <c:pt idx="159">
                  <c:v>45370</c:v>
                </c:pt>
                <c:pt idx="160">
                  <c:v>45371</c:v>
                </c:pt>
                <c:pt idx="161">
                  <c:v>45372</c:v>
                </c:pt>
                <c:pt idx="162">
                  <c:v>45373</c:v>
                </c:pt>
                <c:pt idx="163">
                  <c:v>45376</c:v>
                </c:pt>
                <c:pt idx="164">
                  <c:v>45377</c:v>
                </c:pt>
                <c:pt idx="165">
                  <c:v>45378</c:v>
                </c:pt>
                <c:pt idx="166">
                  <c:v>45379</c:v>
                </c:pt>
                <c:pt idx="167">
                  <c:v>45380</c:v>
                </c:pt>
                <c:pt idx="168">
                  <c:v>45383</c:v>
                </c:pt>
                <c:pt idx="169">
                  <c:v>45384</c:v>
                </c:pt>
                <c:pt idx="170">
                  <c:v>45385</c:v>
                </c:pt>
                <c:pt idx="171">
                  <c:v>45390</c:v>
                </c:pt>
                <c:pt idx="172">
                  <c:v>45391</c:v>
                </c:pt>
                <c:pt idx="173">
                  <c:v>45392</c:v>
                </c:pt>
                <c:pt idx="174">
                  <c:v>45393</c:v>
                </c:pt>
                <c:pt idx="175">
                  <c:v>45394</c:v>
                </c:pt>
                <c:pt idx="176">
                  <c:v>45397</c:v>
                </c:pt>
                <c:pt idx="177">
                  <c:v>45398</c:v>
                </c:pt>
                <c:pt idx="178">
                  <c:v>45399</c:v>
                </c:pt>
                <c:pt idx="179">
                  <c:v>45400</c:v>
                </c:pt>
                <c:pt idx="180">
                  <c:v>45401</c:v>
                </c:pt>
                <c:pt idx="181">
                  <c:v>45404</c:v>
                </c:pt>
                <c:pt idx="182">
                  <c:v>45405</c:v>
                </c:pt>
                <c:pt idx="183">
                  <c:v>45406</c:v>
                </c:pt>
                <c:pt idx="184">
                  <c:v>45407</c:v>
                </c:pt>
                <c:pt idx="185">
                  <c:v>45408</c:v>
                </c:pt>
                <c:pt idx="186">
                  <c:v>45411</c:v>
                </c:pt>
                <c:pt idx="187">
                  <c:v>45412</c:v>
                </c:pt>
                <c:pt idx="188">
                  <c:v>45418</c:v>
                </c:pt>
                <c:pt idx="189">
                  <c:v>45419</c:v>
                </c:pt>
                <c:pt idx="190">
                  <c:v>45420</c:v>
                </c:pt>
                <c:pt idx="191">
                  <c:v>45421</c:v>
                </c:pt>
                <c:pt idx="192">
                  <c:v>45422</c:v>
                </c:pt>
                <c:pt idx="193">
                  <c:v>45425</c:v>
                </c:pt>
                <c:pt idx="194">
                  <c:v>45426</c:v>
                </c:pt>
                <c:pt idx="195">
                  <c:v>45427</c:v>
                </c:pt>
                <c:pt idx="196">
                  <c:v>45428</c:v>
                </c:pt>
                <c:pt idx="197">
                  <c:v>45429</c:v>
                </c:pt>
                <c:pt idx="198">
                  <c:v>45432</c:v>
                </c:pt>
                <c:pt idx="199">
                  <c:v>45433</c:v>
                </c:pt>
                <c:pt idx="200">
                  <c:v>45434</c:v>
                </c:pt>
                <c:pt idx="201">
                  <c:v>45435</c:v>
                </c:pt>
                <c:pt idx="202">
                  <c:v>45436</c:v>
                </c:pt>
                <c:pt idx="203">
                  <c:v>45439</c:v>
                </c:pt>
                <c:pt idx="204">
                  <c:v>45440</c:v>
                </c:pt>
                <c:pt idx="205">
                  <c:v>45441</c:v>
                </c:pt>
                <c:pt idx="206">
                  <c:v>45442</c:v>
                </c:pt>
                <c:pt idx="207">
                  <c:v>45443</c:v>
                </c:pt>
                <c:pt idx="208">
                  <c:v>45446</c:v>
                </c:pt>
                <c:pt idx="209">
                  <c:v>45447</c:v>
                </c:pt>
                <c:pt idx="210">
                  <c:v>45448</c:v>
                </c:pt>
                <c:pt idx="211">
                  <c:v>45449</c:v>
                </c:pt>
                <c:pt idx="212">
                  <c:v>45450</c:v>
                </c:pt>
                <c:pt idx="213">
                  <c:v>45454</c:v>
                </c:pt>
                <c:pt idx="214">
                  <c:v>45455</c:v>
                </c:pt>
                <c:pt idx="215">
                  <c:v>45456</c:v>
                </c:pt>
                <c:pt idx="216">
                  <c:v>45457</c:v>
                </c:pt>
                <c:pt idx="217">
                  <c:v>45460</c:v>
                </c:pt>
                <c:pt idx="218">
                  <c:v>45461</c:v>
                </c:pt>
                <c:pt idx="219">
                  <c:v>45462</c:v>
                </c:pt>
                <c:pt idx="220">
                  <c:v>45463</c:v>
                </c:pt>
                <c:pt idx="221">
                  <c:v>45464</c:v>
                </c:pt>
                <c:pt idx="222">
                  <c:v>45467</c:v>
                </c:pt>
                <c:pt idx="223">
                  <c:v>45468</c:v>
                </c:pt>
                <c:pt idx="224">
                  <c:v>45469</c:v>
                </c:pt>
                <c:pt idx="225">
                  <c:v>45470</c:v>
                </c:pt>
                <c:pt idx="226">
                  <c:v>45471</c:v>
                </c:pt>
                <c:pt idx="227">
                  <c:v>45474</c:v>
                </c:pt>
                <c:pt idx="228">
                  <c:v>45475</c:v>
                </c:pt>
                <c:pt idx="229">
                  <c:v>45476</c:v>
                </c:pt>
                <c:pt idx="230">
                  <c:v>45477</c:v>
                </c:pt>
                <c:pt idx="231">
                  <c:v>45478</c:v>
                </c:pt>
                <c:pt idx="232">
                  <c:v>45481</c:v>
                </c:pt>
                <c:pt idx="233">
                  <c:v>45482</c:v>
                </c:pt>
                <c:pt idx="234">
                  <c:v>45483</c:v>
                </c:pt>
                <c:pt idx="235">
                  <c:v>45484</c:v>
                </c:pt>
                <c:pt idx="236">
                  <c:v>45485</c:v>
                </c:pt>
                <c:pt idx="237">
                  <c:v>45488</c:v>
                </c:pt>
                <c:pt idx="238">
                  <c:v>45489</c:v>
                </c:pt>
                <c:pt idx="239">
                  <c:v>45490</c:v>
                </c:pt>
                <c:pt idx="240">
                  <c:v>45491</c:v>
                </c:pt>
                <c:pt idx="241">
                  <c:v>45492</c:v>
                </c:pt>
                <c:pt idx="242">
                  <c:v>45495</c:v>
                </c:pt>
                <c:pt idx="243">
                  <c:v>45496</c:v>
                </c:pt>
                <c:pt idx="244">
                  <c:v>45497</c:v>
                </c:pt>
                <c:pt idx="245">
                  <c:v>45498</c:v>
                </c:pt>
                <c:pt idx="246">
                  <c:v>45499</c:v>
                </c:pt>
                <c:pt idx="247">
                  <c:v>45502</c:v>
                </c:pt>
                <c:pt idx="248">
                  <c:v>45503</c:v>
                </c:pt>
                <c:pt idx="249">
                  <c:v>45504</c:v>
                </c:pt>
                <c:pt idx="250">
                  <c:v>45505</c:v>
                </c:pt>
                <c:pt idx="251">
                  <c:v>45506</c:v>
                </c:pt>
                <c:pt idx="252">
                  <c:v>45509</c:v>
                </c:pt>
                <c:pt idx="253">
                  <c:v>45510</c:v>
                </c:pt>
                <c:pt idx="254">
                  <c:v>45511</c:v>
                </c:pt>
                <c:pt idx="255">
                  <c:v>45512</c:v>
                </c:pt>
                <c:pt idx="256">
                  <c:v>45513</c:v>
                </c:pt>
                <c:pt idx="257">
                  <c:v>45516</c:v>
                </c:pt>
                <c:pt idx="258">
                  <c:v>45517</c:v>
                </c:pt>
                <c:pt idx="259">
                  <c:v>45518</c:v>
                </c:pt>
                <c:pt idx="260">
                  <c:v>45519</c:v>
                </c:pt>
                <c:pt idx="261">
                  <c:v>45520</c:v>
                </c:pt>
                <c:pt idx="262">
                  <c:v>45523</c:v>
                </c:pt>
                <c:pt idx="263">
                  <c:v>45524</c:v>
                </c:pt>
                <c:pt idx="264">
                  <c:v>45525</c:v>
                </c:pt>
                <c:pt idx="265">
                  <c:v>45526</c:v>
                </c:pt>
                <c:pt idx="266">
                  <c:v>45527</c:v>
                </c:pt>
                <c:pt idx="267">
                  <c:v>45530</c:v>
                </c:pt>
                <c:pt idx="268">
                  <c:v>45531</c:v>
                </c:pt>
                <c:pt idx="269">
                  <c:v>45532</c:v>
                </c:pt>
                <c:pt idx="270">
                  <c:v>45533</c:v>
                </c:pt>
                <c:pt idx="271">
                  <c:v>45534</c:v>
                </c:pt>
                <c:pt idx="272">
                  <c:v>45537</c:v>
                </c:pt>
                <c:pt idx="273">
                  <c:v>45538</c:v>
                </c:pt>
                <c:pt idx="274">
                  <c:v>45539</c:v>
                </c:pt>
                <c:pt idx="275">
                  <c:v>45540</c:v>
                </c:pt>
                <c:pt idx="276">
                  <c:v>45541</c:v>
                </c:pt>
                <c:pt idx="277">
                  <c:v>45544</c:v>
                </c:pt>
                <c:pt idx="278">
                  <c:v>45545</c:v>
                </c:pt>
                <c:pt idx="279">
                  <c:v>45546</c:v>
                </c:pt>
                <c:pt idx="280">
                  <c:v>45547</c:v>
                </c:pt>
                <c:pt idx="281">
                  <c:v>45548</c:v>
                </c:pt>
                <c:pt idx="282">
                  <c:v>45553</c:v>
                </c:pt>
                <c:pt idx="283">
                  <c:v>45554</c:v>
                </c:pt>
                <c:pt idx="284">
                  <c:v>45555</c:v>
                </c:pt>
                <c:pt idx="285">
                  <c:v>45558</c:v>
                </c:pt>
                <c:pt idx="286">
                  <c:v>45559</c:v>
                </c:pt>
                <c:pt idx="287">
                  <c:v>45560</c:v>
                </c:pt>
                <c:pt idx="288">
                  <c:v>45561</c:v>
                </c:pt>
                <c:pt idx="289">
                  <c:v>45562</c:v>
                </c:pt>
                <c:pt idx="290">
                  <c:v>45565</c:v>
                </c:pt>
                <c:pt idx="291">
                  <c:v>45573</c:v>
                </c:pt>
                <c:pt idx="292">
                  <c:v>45574</c:v>
                </c:pt>
                <c:pt idx="293">
                  <c:v>45575</c:v>
                </c:pt>
                <c:pt idx="294">
                  <c:v>45576</c:v>
                </c:pt>
                <c:pt idx="295">
                  <c:v>45579</c:v>
                </c:pt>
                <c:pt idx="296">
                  <c:v>45580</c:v>
                </c:pt>
                <c:pt idx="297">
                  <c:v>45581</c:v>
                </c:pt>
                <c:pt idx="298">
                  <c:v>45582</c:v>
                </c:pt>
                <c:pt idx="299">
                  <c:v>45583</c:v>
                </c:pt>
                <c:pt idx="300">
                  <c:v>45586</c:v>
                </c:pt>
                <c:pt idx="301">
                  <c:v>45587</c:v>
                </c:pt>
                <c:pt idx="302">
                  <c:v>45588</c:v>
                </c:pt>
                <c:pt idx="303">
                  <c:v>45589</c:v>
                </c:pt>
                <c:pt idx="304">
                  <c:v>45590</c:v>
                </c:pt>
                <c:pt idx="305">
                  <c:v>45593</c:v>
                </c:pt>
                <c:pt idx="306">
                  <c:v>45594</c:v>
                </c:pt>
                <c:pt idx="307">
                  <c:v>45595</c:v>
                </c:pt>
                <c:pt idx="308">
                  <c:v>45596</c:v>
                </c:pt>
                <c:pt idx="309">
                  <c:v>45597</c:v>
                </c:pt>
                <c:pt idx="310">
                  <c:v>45600</c:v>
                </c:pt>
                <c:pt idx="311">
                  <c:v>45601</c:v>
                </c:pt>
                <c:pt idx="312">
                  <c:v>45602</c:v>
                </c:pt>
                <c:pt idx="313">
                  <c:v>45603</c:v>
                </c:pt>
                <c:pt idx="314">
                  <c:v>45604</c:v>
                </c:pt>
                <c:pt idx="315">
                  <c:v>45607</c:v>
                </c:pt>
                <c:pt idx="316">
                  <c:v>45608</c:v>
                </c:pt>
                <c:pt idx="317">
                  <c:v>45609</c:v>
                </c:pt>
                <c:pt idx="318">
                  <c:v>45610</c:v>
                </c:pt>
                <c:pt idx="319">
                  <c:v>45611</c:v>
                </c:pt>
                <c:pt idx="320">
                  <c:v>45614</c:v>
                </c:pt>
                <c:pt idx="321">
                  <c:v>45615</c:v>
                </c:pt>
                <c:pt idx="322">
                  <c:v>45616</c:v>
                </c:pt>
                <c:pt idx="323">
                  <c:v>45617</c:v>
                </c:pt>
                <c:pt idx="324">
                  <c:v>45618</c:v>
                </c:pt>
                <c:pt idx="325">
                  <c:v>45621</c:v>
                </c:pt>
                <c:pt idx="326">
                  <c:v>45622</c:v>
                </c:pt>
                <c:pt idx="327">
                  <c:v>45623</c:v>
                </c:pt>
                <c:pt idx="328">
                  <c:v>45624</c:v>
                </c:pt>
                <c:pt idx="329">
                  <c:v>45625</c:v>
                </c:pt>
                <c:pt idx="330">
                  <c:v>45628</c:v>
                </c:pt>
                <c:pt idx="331">
                  <c:v>45629</c:v>
                </c:pt>
                <c:pt idx="332">
                  <c:v>45630</c:v>
                </c:pt>
                <c:pt idx="333">
                  <c:v>45631</c:v>
                </c:pt>
                <c:pt idx="334">
                  <c:v>45632</c:v>
                </c:pt>
                <c:pt idx="335">
                  <c:v>45635</c:v>
                </c:pt>
                <c:pt idx="336">
                  <c:v>45636</c:v>
                </c:pt>
                <c:pt idx="337">
                  <c:v>45637</c:v>
                </c:pt>
                <c:pt idx="338">
                  <c:v>45638</c:v>
                </c:pt>
                <c:pt idx="339">
                  <c:v>45639</c:v>
                </c:pt>
                <c:pt idx="340">
                  <c:v>45642</c:v>
                </c:pt>
                <c:pt idx="341">
                  <c:v>45643</c:v>
                </c:pt>
                <c:pt idx="342">
                  <c:v>45644</c:v>
                </c:pt>
                <c:pt idx="343">
                  <c:v>45645</c:v>
                </c:pt>
                <c:pt idx="344">
                  <c:v>45646</c:v>
                </c:pt>
                <c:pt idx="345">
                  <c:v>45649</c:v>
                </c:pt>
                <c:pt idx="346">
                  <c:v>45650</c:v>
                </c:pt>
                <c:pt idx="347">
                  <c:v>45651</c:v>
                </c:pt>
                <c:pt idx="348">
                  <c:v>45652</c:v>
                </c:pt>
                <c:pt idx="349">
                  <c:v>45653</c:v>
                </c:pt>
                <c:pt idx="350">
                  <c:v>45656</c:v>
                </c:pt>
                <c:pt idx="351">
                  <c:v>45657</c:v>
                </c:pt>
                <c:pt idx="352">
                  <c:v>45659</c:v>
                </c:pt>
                <c:pt idx="353">
                  <c:v>45660</c:v>
                </c:pt>
                <c:pt idx="354">
                  <c:v>45663</c:v>
                </c:pt>
                <c:pt idx="355">
                  <c:v>45664</c:v>
                </c:pt>
                <c:pt idx="356">
                  <c:v>45665</c:v>
                </c:pt>
                <c:pt idx="357">
                  <c:v>45666</c:v>
                </c:pt>
                <c:pt idx="358">
                  <c:v>45667</c:v>
                </c:pt>
                <c:pt idx="359">
                  <c:v>45670</c:v>
                </c:pt>
                <c:pt idx="360">
                  <c:v>45671</c:v>
                </c:pt>
                <c:pt idx="361">
                  <c:v>45672</c:v>
                </c:pt>
                <c:pt idx="362">
                  <c:v>45673</c:v>
                </c:pt>
                <c:pt idx="363">
                  <c:v>45674</c:v>
                </c:pt>
                <c:pt idx="364">
                  <c:v>45677</c:v>
                </c:pt>
                <c:pt idx="365">
                  <c:v>45678</c:v>
                </c:pt>
                <c:pt idx="366">
                  <c:v>45679</c:v>
                </c:pt>
                <c:pt idx="367">
                  <c:v>45680</c:v>
                </c:pt>
                <c:pt idx="368">
                  <c:v>45681</c:v>
                </c:pt>
                <c:pt idx="369">
                  <c:v>45684</c:v>
                </c:pt>
                <c:pt idx="370">
                  <c:v>45693</c:v>
                </c:pt>
                <c:pt idx="371">
                  <c:v>45694</c:v>
                </c:pt>
                <c:pt idx="372">
                  <c:v>45695</c:v>
                </c:pt>
                <c:pt idx="373">
                  <c:v>45698</c:v>
                </c:pt>
                <c:pt idx="374">
                  <c:v>45699</c:v>
                </c:pt>
                <c:pt idx="375">
                  <c:v>45700</c:v>
                </c:pt>
                <c:pt idx="376">
                  <c:v>45701</c:v>
                </c:pt>
                <c:pt idx="377">
                  <c:v>45702</c:v>
                </c:pt>
                <c:pt idx="378">
                  <c:v>45705</c:v>
                </c:pt>
                <c:pt idx="379">
                  <c:v>45706</c:v>
                </c:pt>
                <c:pt idx="380">
                  <c:v>45707</c:v>
                </c:pt>
                <c:pt idx="381">
                  <c:v>45708</c:v>
                </c:pt>
                <c:pt idx="382">
                  <c:v>45709</c:v>
                </c:pt>
                <c:pt idx="383">
                  <c:v>45712</c:v>
                </c:pt>
                <c:pt idx="384">
                  <c:v>45713</c:v>
                </c:pt>
                <c:pt idx="385">
                  <c:v>45714</c:v>
                </c:pt>
                <c:pt idx="386">
                  <c:v>45715</c:v>
                </c:pt>
                <c:pt idx="387">
                  <c:v>45716</c:v>
                </c:pt>
                <c:pt idx="388">
                  <c:v>45719</c:v>
                </c:pt>
                <c:pt idx="389">
                  <c:v>45720</c:v>
                </c:pt>
                <c:pt idx="390">
                  <c:v>45721</c:v>
                </c:pt>
                <c:pt idx="391">
                  <c:v>45722</c:v>
                </c:pt>
                <c:pt idx="392">
                  <c:v>45723</c:v>
                </c:pt>
                <c:pt idx="393">
                  <c:v>45726</c:v>
                </c:pt>
                <c:pt idx="394">
                  <c:v>45727</c:v>
                </c:pt>
                <c:pt idx="395">
                  <c:v>45728</c:v>
                </c:pt>
                <c:pt idx="396">
                  <c:v>45729</c:v>
                </c:pt>
                <c:pt idx="397">
                  <c:v>45730</c:v>
                </c:pt>
                <c:pt idx="398">
                  <c:v>45733</c:v>
                </c:pt>
                <c:pt idx="399">
                  <c:v>45734</c:v>
                </c:pt>
                <c:pt idx="400">
                  <c:v>45735</c:v>
                </c:pt>
                <c:pt idx="401">
                  <c:v>45736</c:v>
                </c:pt>
                <c:pt idx="402">
                  <c:v>45737</c:v>
                </c:pt>
                <c:pt idx="403">
                  <c:v>45740</c:v>
                </c:pt>
                <c:pt idx="404">
                  <c:v>45741</c:v>
                </c:pt>
                <c:pt idx="405">
                  <c:v>45742</c:v>
                </c:pt>
                <c:pt idx="406">
                  <c:v>45743</c:v>
                </c:pt>
                <c:pt idx="407">
                  <c:v>45744</c:v>
                </c:pt>
                <c:pt idx="408">
                  <c:v>45747</c:v>
                </c:pt>
                <c:pt idx="409">
                  <c:v>45748</c:v>
                </c:pt>
                <c:pt idx="410">
                  <c:v>45749</c:v>
                </c:pt>
                <c:pt idx="411">
                  <c:v>45750</c:v>
                </c:pt>
                <c:pt idx="412">
                  <c:v>45754</c:v>
                </c:pt>
                <c:pt idx="413">
                  <c:v>45755</c:v>
                </c:pt>
                <c:pt idx="414">
                  <c:v>45756</c:v>
                </c:pt>
                <c:pt idx="415">
                  <c:v>45757</c:v>
                </c:pt>
                <c:pt idx="416">
                  <c:v>45758</c:v>
                </c:pt>
                <c:pt idx="417">
                  <c:v>45761</c:v>
                </c:pt>
                <c:pt idx="418">
                  <c:v>45762</c:v>
                </c:pt>
                <c:pt idx="419">
                  <c:v>45763</c:v>
                </c:pt>
                <c:pt idx="420">
                  <c:v>45764</c:v>
                </c:pt>
                <c:pt idx="421">
                  <c:v>45765</c:v>
                </c:pt>
                <c:pt idx="422">
                  <c:v>45768</c:v>
                </c:pt>
                <c:pt idx="423">
                  <c:v>45769</c:v>
                </c:pt>
                <c:pt idx="424">
                  <c:v>45770</c:v>
                </c:pt>
                <c:pt idx="425">
                  <c:v>45771</c:v>
                </c:pt>
                <c:pt idx="426">
                  <c:v>45772</c:v>
                </c:pt>
                <c:pt idx="427">
                  <c:v>45775</c:v>
                </c:pt>
                <c:pt idx="428">
                  <c:v>45776</c:v>
                </c:pt>
                <c:pt idx="429">
                  <c:v>45777</c:v>
                </c:pt>
                <c:pt idx="430">
                  <c:v>45783</c:v>
                </c:pt>
                <c:pt idx="431">
                  <c:v>45784</c:v>
                </c:pt>
                <c:pt idx="432">
                  <c:v>45785</c:v>
                </c:pt>
                <c:pt idx="433">
                  <c:v>45786</c:v>
                </c:pt>
                <c:pt idx="434">
                  <c:v>45789</c:v>
                </c:pt>
                <c:pt idx="435">
                  <c:v>45790</c:v>
                </c:pt>
                <c:pt idx="436">
                  <c:v>45791</c:v>
                </c:pt>
                <c:pt idx="437">
                  <c:v>45792</c:v>
                </c:pt>
                <c:pt idx="438">
                  <c:v>45793</c:v>
                </c:pt>
                <c:pt idx="439">
                  <c:v>45796</c:v>
                </c:pt>
                <c:pt idx="440">
                  <c:v>45797</c:v>
                </c:pt>
                <c:pt idx="441">
                  <c:v>45798</c:v>
                </c:pt>
                <c:pt idx="442">
                  <c:v>45799</c:v>
                </c:pt>
                <c:pt idx="443">
                  <c:v>45800</c:v>
                </c:pt>
                <c:pt idx="444">
                  <c:v>45803</c:v>
                </c:pt>
                <c:pt idx="445">
                  <c:v>45804</c:v>
                </c:pt>
                <c:pt idx="446">
                  <c:v>45805</c:v>
                </c:pt>
                <c:pt idx="447">
                  <c:v>45806</c:v>
                </c:pt>
                <c:pt idx="448">
                  <c:v>45807</c:v>
                </c:pt>
                <c:pt idx="449">
                  <c:v>45811</c:v>
                </c:pt>
                <c:pt idx="450">
                  <c:v>45812</c:v>
                </c:pt>
                <c:pt idx="451">
                  <c:v>45813</c:v>
                </c:pt>
                <c:pt idx="452">
                  <c:v>45814</c:v>
                </c:pt>
                <c:pt idx="453">
                  <c:v>45817</c:v>
                </c:pt>
                <c:pt idx="454">
                  <c:v>45818</c:v>
                </c:pt>
                <c:pt idx="455">
                  <c:v>45819</c:v>
                </c:pt>
                <c:pt idx="456">
                  <c:v>45820</c:v>
                </c:pt>
                <c:pt idx="457">
                  <c:v>45821</c:v>
                </c:pt>
                <c:pt idx="458">
                  <c:v>45824</c:v>
                </c:pt>
                <c:pt idx="459">
                  <c:v>45825</c:v>
                </c:pt>
                <c:pt idx="460">
                  <c:v>45826</c:v>
                </c:pt>
                <c:pt idx="461">
                  <c:v>45827</c:v>
                </c:pt>
                <c:pt idx="462">
                  <c:v>45828</c:v>
                </c:pt>
                <c:pt idx="463">
                  <c:v>45831</c:v>
                </c:pt>
                <c:pt idx="464">
                  <c:v>45832</c:v>
                </c:pt>
                <c:pt idx="465">
                  <c:v>45833</c:v>
                </c:pt>
                <c:pt idx="466">
                  <c:v>45834</c:v>
                </c:pt>
                <c:pt idx="467">
                  <c:v>45835</c:v>
                </c:pt>
                <c:pt idx="468">
                  <c:v>45838</c:v>
                </c:pt>
                <c:pt idx="469">
                  <c:v>45839</c:v>
                </c:pt>
                <c:pt idx="470">
                  <c:v>45840</c:v>
                </c:pt>
                <c:pt idx="471">
                  <c:v>45841</c:v>
                </c:pt>
                <c:pt idx="472">
                  <c:v>45842</c:v>
                </c:pt>
                <c:pt idx="473">
                  <c:v>45845</c:v>
                </c:pt>
                <c:pt idx="474">
                  <c:v>45846</c:v>
                </c:pt>
                <c:pt idx="475">
                  <c:v>45847</c:v>
                </c:pt>
                <c:pt idx="476">
                  <c:v>45848</c:v>
                </c:pt>
                <c:pt idx="477">
                  <c:v>45849</c:v>
                </c:pt>
                <c:pt idx="478">
                  <c:v>45852</c:v>
                </c:pt>
                <c:pt idx="479">
                  <c:v>45853</c:v>
                </c:pt>
                <c:pt idx="480">
                  <c:v>45854</c:v>
                </c:pt>
                <c:pt idx="481">
                  <c:v>45855</c:v>
                </c:pt>
                <c:pt idx="482">
                  <c:v>45856</c:v>
                </c:pt>
                <c:pt idx="483">
                  <c:v>45859</c:v>
                </c:pt>
                <c:pt idx="484">
                  <c:v>45860</c:v>
                </c:pt>
                <c:pt idx="485">
                  <c:v>45861</c:v>
                </c:pt>
                <c:pt idx="486">
                  <c:v>45862</c:v>
                </c:pt>
                <c:pt idx="487">
                  <c:v>45863</c:v>
                </c:pt>
                <c:pt idx="488">
                  <c:v>45866</c:v>
                </c:pt>
                <c:pt idx="489">
                  <c:v>45867</c:v>
                </c:pt>
                <c:pt idx="490">
                  <c:v>45868</c:v>
                </c:pt>
                <c:pt idx="491">
                  <c:v>45869</c:v>
                </c:pt>
                <c:pt idx="492">
                  <c:v>45870</c:v>
                </c:pt>
                <c:pt idx="493">
                  <c:v>45873</c:v>
                </c:pt>
                <c:pt idx="494">
                  <c:v>45874</c:v>
                </c:pt>
                <c:pt idx="495">
                  <c:v>45875</c:v>
                </c:pt>
                <c:pt idx="496">
                  <c:v>45876</c:v>
                </c:pt>
                <c:pt idx="497">
                  <c:v>45877</c:v>
                </c:pt>
                <c:pt idx="498">
                  <c:v>45880</c:v>
                </c:pt>
                <c:pt idx="499">
                  <c:v>45881</c:v>
                </c:pt>
                <c:pt idx="500">
                  <c:v>45882</c:v>
                </c:pt>
                <c:pt idx="501">
                  <c:v>45883</c:v>
                </c:pt>
                <c:pt idx="502">
                  <c:v>45884</c:v>
                </c:pt>
                <c:pt idx="503">
                  <c:v>45887</c:v>
                </c:pt>
                <c:pt idx="504">
                  <c:v>45888</c:v>
                </c:pt>
                <c:pt idx="505">
                  <c:v>45889</c:v>
                </c:pt>
                <c:pt idx="506">
                  <c:v>45890</c:v>
                </c:pt>
                <c:pt idx="507">
                  <c:v>45891</c:v>
                </c:pt>
                <c:pt idx="508">
                  <c:v>45894</c:v>
                </c:pt>
                <c:pt idx="509">
                  <c:v>45895</c:v>
                </c:pt>
                <c:pt idx="510">
                  <c:v>45896</c:v>
                </c:pt>
                <c:pt idx="511">
                  <c:v>45897</c:v>
                </c:pt>
                <c:pt idx="512">
                  <c:v>45898</c:v>
                </c:pt>
                <c:pt idx="513">
                  <c:v>45901</c:v>
                </c:pt>
                <c:pt idx="514">
                  <c:v>45902</c:v>
                </c:pt>
                <c:pt idx="515">
                  <c:v>45903</c:v>
                </c:pt>
                <c:pt idx="516">
                  <c:v>45904</c:v>
                </c:pt>
                <c:pt idx="517">
                  <c:v>45905</c:v>
                </c:pt>
                <c:pt idx="518">
                  <c:v>45908</c:v>
                </c:pt>
                <c:pt idx="519">
                  <c:v>45909</c:v>
                </c:pt>
                <c:pt idx="520">
                  <c:v>45910</c:v>
                </c:pt>
                <c:pt idx="521">
                  <c:v>45911</c:v>
                </c:pt>
                <c:pt idx="522">
                  <c:v>45912</c:v>
                </c:pt>
                <c:pt idx="523">
                  <c:v>45915</c:v>
                </c:pt>
                <c:pt idx="524">
                  <c:v>45916</c:v>
                </c:pt>
                <c:pt idx="525">
                  <c:v>45917</c:v>
                </c:pt>
                <c:pt idx="526">
                  <c:v>45918</c:v>
                </c:pt>
                <c:pt idx="527">
                  <c:v>45919</c:v>
                </c:pt>
                <c:pt idx="528">
                  <c:v>45922</c:v>
                </c:pt>
                <c:pt idx="529">
                  <c:v>45923</c:v>
                </c:pt>
                <c:pt idx="530">
                  <c:v>45924</c:v>
                </c:pt>
                <c:pt idx="531">
                  <c:v>45925</c:v>
                </c:pt>
                <c:pt idx="532">
                  <c:v>45926</c:v>
                </c:pt>
                <c:pt idx="533">
                  <c:v>45929</c:v>
                </c:pt>
                <c:pt idx="534">
                  <c:v>45930</c:v>
                </c:pt>
                <c:pt idx="535">
                  <c:v>45931</c:v>
                </c:pt>
                <c:pt idx="536">
                  <c:v>45932</c:v>
                </c:pt>
                <c:pt idx="537">
                  <c:v>45933</c:v>
                </c:pt>
                <c:pt idx="538">
                  <c:v>45936</c:v>
                </c:pt>
                <c:pt idx="539">
                  <c:v>45937</c:v>
                </c:pt>
                <c:pt idx="540">
                  <c:v>45938</c:v>
                </c:pt>
                <c:pt idx="541">
                  <c:v>45939</c:v>
                </c:pt>
                <c:pt idx="542">
                  <c:v>45940</c:v>
                </c:pt>
                <c:pt idx="543">
                  <c:v>45943</c:v>
                </c:pt>
                <c:pt idx="544">
                  <c:v>45944</c:v>
                </c:pt>
                <c:pt idx="545">
                  <c:v>45945</c:v>
                </c:pt>
                <c:pt idx="546">
                  <c:v>45946</c:v>
                </c:pt>
                <c:pt idx="547">
                  <c:v>45947</c:v>
                </c:pt>
                <c:pt idx="548">
                  <c:v>45950</c:v>
                </c:pt>
                <c:pt idx="549">
                  <c:v>45951</c:v>
                </c:pt>
                <c:pt idx="550">
                  <c:v>45952</c:v>
                </c:pt>
                <c:pt idx="551">
                  <c:v>45953</c:v>
                </c:pt>
                <c:pt idx="552">
                  <c:v>45954</c:v>
                </c:pt>
                <c:pt idx="553">
                  <c:v>45957</c:v>
                </c:pt>
                <c:pt idx="554">
                  <c:v>45958</c:v>
                </c:pt>
                <c:pt idx="555">
                  <c:v>45959</c:v>
                </c:pt>
                <c:pt idx="556">
                  <c:v>45960</c:v>
                </c:pt>
                <c:pt idx="557">
                  <c:v>45961</c:v>
                </c:pt>
                <c:pt idx="558">
                  <c:v>45964</c:v>
                </c:pt>
                <c:pt idx="559">
                  <c:v>45965</c:v>
                </c:pt>
                <c:pt idx="560">
                  <c:v>45966</c:v>
                </c:pt>
                <c:pt idx="561">
                  <c:v>45967</c:v>
                </c:pt>
                <c:pt idx="562">
                  <c:v>45968</c:v>
                </c:pt>
                <c:pt idx="563">
                  <c:v>45971</c:v>
                </c:pt>
                <c:pt idx="564">
                  <c:v>45972</c:v>
                </c:pt>
                <c:pt idx="565">
                  <c:v>45973</c:v>
                </c:pt>
                <c:pt idx="566">
                  <c:v>45974</c:v>
                </c:pt>
                <c:pt idx="567">
                  <c:v>45975</c:v>
                </c:pt>
                <c:pt idx="568">
                  <c:v>45978</c:v>
                </c:pt>
                <c:pt idx="569">
                  <c:v>45979</c:v>
                </c:pt>
                <c:pt idx="570">
                  <c:v>45980</c:v>
                </c:pt>
                <c:pt idx="571">
                  <c:v>45981</c:v>
                </c:pt>
                <c:pt idx="572">
                  <c:v>45982</c:v>
                </c:pt>
                <c:pt idx="573">
                  <c:v>45985</c:v>
                </c:pt>
                <c:pt idx="574">
                  <c:v>45986</c:v>
                </c:pt>
                <c:pt idx="575">
                  <c:v>45987</c:v>
                </c:pt>
                <c:pt idx="576">
                  <c:v>45988</c:v>
                </c:pt>
                <c:pt idx="577">
                  <c:v>45989</c:v>
                </c:pt>
                <c:pt idx="578">
                  <c:v>45992</c:v>
                </c:pt>
                <c:pt idx="579">
                  <c:v>45993</c:v>
                </c:pt>
                <c:pt idx="580">
                  <c:v>45994</c:v>
                </c:pt>
                <c:pt idx="581">
                  <c:v>45995</c:v>
                </c:pt>
                <c:pt idx="582">
                  <c:v>45996</c:v>
                </c:pt>
                <c:pt idx="583">
                  <c:v>45999</c:v>
                </c:pt>
                <c:pt idx="584">
                  <c:v>46000</c:v>
                </c:pt>
                <c:pt idx="585">
                  <c:v>46001</c:v>
                </c:pt>
                <c:pt idx="586">
                  <c:v>46002</c:v>
                </c:pt>
                <c:pt idx="587">
                  <c:v>46003</c:v>
                </c:pt>
                <c:pt idx="588">
                  <c:v>46006</c:v>
                </c:pt>
                <c:pt idx="589">
                  <c:v>46007</c:v>
                </c:pt>
                <c:pt idx="590">
                  <c:v>46008</c:v>
                </c:pt>
                <c:pt idx="591">
                  <c:v>46009</c:v>
                </c:pt>
                <c:pt idx="592">
                  <c:v>46010</c:v>
                </c:pt>
                <c:pt idx="593">
                  <c:v>46013</c:v>
                </c:pt>
                <c:pt idx="594">
                  <c:v>46014</c:v>
                </c:pt>
                <c:pt idx="595">
                  <c:v>46015</c:v>
                </c:pt>
                <c:pt idx="596">
                  <c:v>46016</c:v>
                </c:pt>
                <c:pt idx="597">
                  <c:v>46017</c:v>
                </c:pt>
                <c:pt idx="598">
                  <c:v>46020</c:v>
                </c:pt>
                <c:pt idx="599">
                  <c:v>46021</c:v>
                </c:pt>
                <c:pt idx="600">
                  <c:v>46022</c:v>
                </c:pt>
                <c:pt idx="601">
                  <c:v>46023</c:v>
                </c:pt>
                <c:pt idx="602">
                  <c:v>46024</c:v>
                </c:pt>
                <c:pt idx="603">
                  <c:v>46027</c:v>
                </c:pt>
                <c:pt idx="604">
                  <c:v>46028</c:v>
                </c:pt>
                <c:pt idx="605">
                  <c:v>46029</c:v>
                </c:pt>
                <c:pt idx="606">
                  <c:v>46030</c:v>
                </c:pt>
                <c:pt idx="607">
                  <c:v>46031</c:v>
                </c:pt>
                <c:pt idx="608">
                  <c:v>46034</c:v>
                </c:pt>
                <c:pt idx="609">
                  <c:v>46035</c:v>
                </c:pt>
                <c:pt idx="610">
                  <c:v>46036</c:v>
                </c:pt>
                <c:pt idx="611">
                  <c:v>46037</c:v>
                </c:pt>
                <c:pt idx="612">
                  <c:v>46038</c:v>
                </c:pt>
                <c:pt idx="613">
                  <c:v>46041</c:v>
                </c:pt>
                <c:pt idx="614">
                  <c:v>46042</c:v>
                </c:pt>
                <c:pt idx="615">
                  <c:v>46043</c:v>
                </c:pt>
                <c:pt idx="616">
                  <c:v>46044</c:v>
                </c:pt>
                <c:pt idx="617">
                  <c:v>46045</c:v>
                </c:pt>
                <c:pt idx="618">
                  <c:v>46048</c:v>
                </c:pt>
                <c:pt idx="619">
                  <c:v>46049</c:v>
                </c:pt>
                <c:pt idx="620">
                  <c:v>46050</c:v>
                </c:pt>
                <c:pt idx="621">
                  <c:v>46051</c:v>
                </c:pt>
                <c:pt idx="622">
                  <c:v>46052</c:v>
                </c:pt>
                <c:pt idx="623">
                  <c:v>46055</c:v>
                </c:pt>
                <c:pt idx="624">
                  <c:v>46056</c:v>
                </c:pt>
                <c:pt idx="625">
                  <c:v>46057</c:v>
                </c:pt>
                <c:pt idx="626">
                  <c:v>46058</c:v>
                </c:pt>
                <c:pt idx="627">
                  <c:v>46059</c:v>
                </c:pt>
                <c:pt idx="628">
                  <c:v>46062</c:v>
                </c:pt>
                <c:pt idx="629">
                  <c:v>46063</c:v>
                </c:pt>
                <c:pt idx="630">
                  <c:v>46064</c:v>
                </c:pt>
                <c:pt idx="631">
                  <c:v>46065</c:v>
                </c:pt>
                <c:pt idx="632">
                  <c:v>46066</c:v>
                </c:pt>
                <c:pt idx="633">
                  <c:v>46069</c:v>
                </c:pt>
                <c:pt idx="634">
                  <c:v>46070</c:v>
                </c:pt>
                <c:pt idx="635">
                  <c:v>46071</c:v>
                </c:pt>
                <c:pt idx="636">
                  <c:v>46072</c:v>
                </c:pt>
                <c:pt idx="637">
                  <c:v>46073</c:v>
                </c:pt>
                <c:pt idx="638">
                  <c:v>46076</c:v>
                </c:pt>
                <c:pt idx="639">
                  <c:v>46077</c:v>
                </c:pt>
                <c:pt idx="640">
                  <c:v>46078</c:v>
                </c:pt>
                <c:pt idx="641">
                  <c:v>46079</c:v>
                </c:pt>
                <c:pt idx="642">
                  <c:v>46080</c:v>
                </c:pt>
                <c:pt idx="643">
                  <c:v>46083</c:v>
                </c:pt>
                <c:pt idx="644">
                  <c:v>46084</c:v>
                </c:pt>
                <c:pt idx="645">
                  <c:v>46085</c:v>
                </c:pt>
                <c:pt idx="646">
                  <c:v>46086</c:v>
                </c:pt>
                <c:pt idx="647">
                  <c:v>46087</c:v>
                </c:pt>
                <c:pt idx="648">
                  <c:v>46090</c:v>
                </c:pt>
                <c:pt idx="649">
                  <c:v>46091</c:v>
                </c:pt>
                <c:pt idx="650">
                  <c:v>46092</c:v>
                </c:pt>
                <c:pt idx="651">
                  <c:v>46093</c:v>
                </c:pt>
                <c:pt idx="652">
                  <c:v>46094</c:v>
                </c:pt>
                <c:pt idx="653">
                  <c:v>46097</c:v>
                </c:pt>
                <c:pt idx="654">
                  <c:v>46098</c:v>
                </c:pt>
                <c:pt idx="655">
                  <c:v>46099</c:v>
                </c:pt>
                <c:pt idx="656">
                  <c:v>46100</c:v>
                </c:pt>
                <c:pt idx="657">
                  <c:v>46101</c:v>
                </c:pt>
                <c:pt idx="658">
                  <c:v>46104</c:v>
                </c:pt>
                <c:pt idx="659">
                  <c:v>46105</c:v>
                </c:pt>
                <c:pt idx="660">
                  <c:v>46106</c:v>
                </c:pt>
                <c:pt idx="661">
                  <c:v>46107</c:v>
                </c:pt>
                <c:pt idx="662">
                  <c:v>46108</c:v>
                </c:pt>
                <c:pt idx="663">
                  <c:v>46111</c:v>
                </c:pt>
                <c:pt idx="664">
                  <c:v>46112</c:v>
                </c:pt>
                <c:pt idx="665">
                  <c:v>46113</c:v>
                </c:pt>
                <c:pt idx="666">
                  <c:v>46114</c:v>
                </c:pt>
                <c:pt idx="667">
                  <c:v>46115</c:v>
                </c:pt>
                <c:pt idx="668">
                  <c:v>46118</c:v>
                </c:pt>
                <c:pt idx="669">
                  <c:v>46119</c:v>
                </c:pt>
                <c:pt idx="670">
                  <c:v>46120</c:v>
                </c:pt>
                <c:pt idx="671">
                  <c:v>46121</c:v>
                </c:pt>
                <c:pt idx="672">
                  <c:v>46122</c:v>
                </c:pt>
                <c:pt idx="673">
                  <c:v>46125</c:v>
                </c:pt>
                <c:pt idx="674">
                  <c:v>46126</c:v>
                </c:pt>
                <c:pt idx="675">
                  <c:v>46127</c:v>
                </c:pt>
                <c:pt idx="676">
                  <c:v>46128</c:v>
                </c:pt>
                <c:pt idx="677">
                  <c:v>46129</c:v>
                </c:pt>
                <c:pt idx="678">
                  <c:v>46132</c:v>
                </c:pt>
                <c:pt idx="679">
                  <c:v>46133</c:v>
                </c:pt>
                <c:pt idx="680">
                  <c:v>46134</c:v>
                </c:pt>
                <c:pt idx="681">
                  <c:v>46135</c:v>
                </c:pt>
                <c:pt idx="682">
                  <c:v>46136</c:v>
                </c:pt>
                <c:pt idx="683">
                  <c:v>46139</c:v>
                </c:pt>
                <c:pt idx="684">
                  <c:v>46140</c:v>
                </c:pt>
                <c:pt idx="685">
                  <c:v>46141</c:v>
                </c:pt>
                <c:pt idx="686">
                  <c:v>46142</c:v>
                </c:pt>
                <c:pt idx="687">
                  <c:v>46143</c:v>
                </c:pt>
                <c:pt idx="688">
                  <c:v>46146</c:v>
                </c:pt>
                <c:pt idx="689">
                  <c:v>46147</c:v>
                </c:pt>
                <c:pt idx="690">
                  <c:v>46148</c:v>
                </c:pt>
                <c:pt idx="691">
                  <c:v>46149</c:v>
                </c:pt>
                <c:pt idx="692">
                  <c:v>46150</c:v>
                </c:pt>
                <c:pt idx="693">
                  <c:v>46153</c:v>
                </c:pt>
                <c:pt idx="694">
                  <c:v>46154</c:v>
                </c:pt>
                <c:pt idx="695">
                  <c:v>46155</c:v>
                </c:pt>
                <c:pt idx="696">
                  <c:v>46156</c:v>
                </c:pt>
                <c:pt idx="697">
                  <c:v>46157</c:v>
                </c:pt>
                <c:pt idx="698">
                  <c:v>46160</c:v>
                </c:pt>
                <c:pt idx="699">
                  <c:v>46161</c:v>
                </c:pt>
                <c:pt idx="700">
                  <c:v>46162</c:v>
                </c:pt>
                <c:pt idx="701">
                  <c:v>46163</c:v>
                </c:pt>
                <c:pt idx="702">
                  <c:v>46164</c:v>
                </c:pt>
                <c:pt idx="703">
                  <c:v>46167</c:v>
                </c:pt>
                <c:pt idx="704">
                  <c:v>46168</c:v>
                </c:pt>
                <c:pt idx="705">
                  <c:v>46169</c:v>
                </c:pt>
                <c:pt idx="706">
                  <c:v>46170</c:v>
                </c:pt>
                <c:pt idx="707">
                  <c:v>46171</c:v>
                </c:pt>
                <c:pt idx="708">
                  <c:v>46174</c:v>
                </c:pt>
                <c:pt idx="709">
                  <c:v>46175</c:v>
                </c:pt>
                <c:pt idx="710">
                  <c:v>46176</c:v>
                </c:pt>
                <c:pt idx="711">
                  <c:v>46177</c:v>
                </c:pt>
                <c:pt idx="712">
                  <c:v>46178</c:v>
                </c:pt>
                <c:pt idx="713">
                  <c:v>46181</c:v>
                </c:pt>
                <c:pt idx="714">
                  <c:v>46182</c:v>
                </c:pt>
                <c:pt idx="715">
                  <c:v>46183</c:v>
                </c:pt>
                <c:pt idx="716">
                  <c:v>46184</c:v>
                </c:pt>
                <c:pt idx="717">
                  <c:v>46185</c:v>
                </c:pt>
                <c:pt idx="718">
                  <c:v>46188</c:v>
                </c:pt>
                <c:pt idx="719">
                  <c:v>46189</c:v>
                </c:pt>
                <c:pt idx="720">
                  <c:v>46190</c:v>
                </c:pt>
                <c:pt idx="721">
                  <c:v>46191</c:v>
                </c:pt>
                <c:pt idx="722">
                  <c:v>46192</c:v>
                </c:pt>
                <c:pt idx="723">
                  <c:v>46195</c:v>
                </c:pt>
                <c:pt idx="724">
                  <c:v>46196</c:v>
                </c:pt>
                <c:pt idx="725">
                  <c:v>46197</c:v>
                </c:pt>
                <c:pt idx="726">
                  <c:v>46198</c:v>
                </c:pt>
                <c:pt idx="727">
                  <c:v>46199</c:v>
                </c:pt>
                <c:pt idx="728">
                  <c:v>46202</c:v>
                </c:pt>
                <c:pt idx="729">
                  <c:v>46203</c:v>
                </c:pt>
                <c:pt idx="730">
                  <c:v>46204</c:v>
                </c:pt>
                <c:pt idx="731">
                  <c:v>46205</c:v>
                </c:pt>
                <c:pt idx="732">
                  <c:v>46206</c:v>
                </c:pt>
                <c:pt idx="733">
                  <c:v>46209</c:v>
                </c:pt>
                <c:pt idx="734">
                  <c:v>46210</c:v>
                </c:pt>
                <c:pt idx="735">
                  <c:v>46211</c:v>
                </c:pt>
                <c:pt idx="736">
                  <c:v>46212</c:v>
                </c:pt>
                <c:pt idx="737">
                  <c:v>46213</c:v>
                </c:pt>
                <c:pt idx="738">
                  <c:v>46216</c:v>
                </c:pt>
                <c:pt idx="739">
                  <c:v>46217</c:v>
                </c:pt>
                <c:pt idx="740">
                  <c:v>46218</c:v>
                </c:pt>
                <c:pt idx="741">
                  <c:v>46219</c:v>
                </c:pt>
                <c:pt idx="742">
                  <c:v>46220</c:v>
                </c:pt>
                <c:pt idx="743">
                  <c:v>46223</c:v>
                </c:pt>
                <c:pt idx="744">
                  <c:v>46224</c:v>
                </c:pt>
                <c:pt idx="745">
                  <c:v>46225</c:v>
                </c:pt>
                <c:pt idx="746">
                  <c:v>46226</c:v>
                </c:pt>
                <c:pt idx="747">
                  <c:v>46227</c:v>
                </c:pt>
                <c:pt idx="748">
                  <c:v>46230</c:v>
                </c:pt>
                <c:pt idx="749">
                  <c:v>46231</c:v>
                </c:pt>
                <c:pt idx="750">
                  <c:v>46232</c:v>
                </c:pt>
                <c:pt idx="751">
                  <c:v>46233</c:v>
                </c:pt>
                <c:pt idx="752">
                  <c:v>46234</c:v>
                </c:pt>
                <c:pt idx="753">
                  <c:v>46237</c:v>
                </c:pt>
                <c:pt idx="754">
                  <c:v>46238</c:v>
                </c:pt>
                <c:pt idx="755">
                  <c:v>46239</c:v>
                </c:pt>
                <c:pt idx="756">
                  <c:v>46240</c:v>
                </c:pt>
                <c:pt idx="757">
                  <c:v>46241</c:v>
                </c:pt>
                <c:pt idx="758">
                  <c:v>46244</c:v>
                </c:pt>
                <c:pt idx="759">
                  <c:v>46245</c:v>
                </c:pt>
                <c:pt idx="760">
                  <c:v>46246</c:v>
                </c:pt>
                <c:pt idx="761">
                  <c:v>46247</c:v>
                </c:pt>
                <c:pt idx="762">
                  <c:v>46248</c:v>
                </c:pt>
                <c:pt idx="763">
                  <c:v>46251</c:v>
                </c:pt>
                <c:pt idx="764">
                  <c:v>46252</c:v>
                </c:pt>
                <c:pt idx="765">
                  <c:v>46253</c:v>
                </c:pt>
                <c:pt idx="766">
                  <c:v>46254</c:v>
                </c:pt>
                <c:pt idx="767">
                  <c:v>46255</c:v>
                </c:pt>
                <c:pt idx="768">
                  <c:v>46258</c:v>
                </c:pt>
                <c:pt idx="769">
                  <c:v>46259</c:v>
                </c:pt>
                <c:pt idx="770">
                  <c:v>46260</c:v>
                </c:pt>
                <c:pt idx="771">
                  <c:v>46261</c:v>
                </c:pt>
                <c:pt idx="772">
                  <c:v>46262</c:v>
                </c:pt>
                <c:pt idx="773">
                  <c:v>46265</c:v>
                </c:pt>
                <c:pt idx="774">
                  <c:v>46266</c:v>
                </c:pt>
                <c:pt idx="775">
                  <c:v>46267</c:v>
                </c:pt>
                <c:pt idx="776">
                  <c:v>46268</c:v>
                </c:pt>
                <c:pt idx="777">
                  <c:v>46269</c:v>
                </c:pt>
                <c:pt idx="778">
                  <c:v>46272</c:v>
                </c:pt>
                <c:pt idx="779">
                  <c:v>46273</c:v>
                </c:pt>
                <c:pt idx="780">
                  <c:v>46274</c:v>
                </c:pt>
                <c:pt idx="781">
                  <c:v>46275</c:v>
                </c:pt>
                <c:pt idx="782">
                  <c:v>46276</c:v>
                </c:pt>
                <c:pt idx="783">
                  <c:v>46279</c:v>
                </c:pt>
                <c:pt idx="784">
                  <c:v>46280</c:v>
                </c:pt>
                <c:pt idx="785">
                  <c:v>46281</c:v>
                </c:pt>
                <c:pt idx="786">
                  <c:v>46282</c:v>
                </c:pt>
                <c:pt idx="787">
                  <c:v>46283</c:v>
                </c:pt>
                <c:pt idx="788">
                  <c:v>46286</c:v>
                </c:pt>
                <c:pt idx="789">
                  <c:v>46287</c:v>
                </c:pt>
                <c:pt idx="790">
                  <c:v>46288</c:v>
                </c:pt>
                <c:pt idx="791">
                  <c:v>46289</c:v>
                </c:pt>
                <c:pt idx="792">
                  <c:v>46290</c:v>
                </c:pt>
                <c:pt idx="793">
                  <c:v>46293</c:v>
                </c:pt>
                <c:pt idx="794">
                  <c:v>46294</c:v>
                </c:pt>
                <c:pt idx="795">
                  <c:v>46295</c:v>
                </c:pt>
                <c:pt idx="796">
                  <c:v>46296</c:v>
                </c:pt>
                <c:pt idx="797">
                  <c:v>46297</c:v>
                </c:pt>
                <c:pt idx="798">
                  <c:v>46300</c:v>
                </c:pt>
                <c:pt idx="799">
                  <c:v>46301</c:v>
                </c:pt>
                <c:pt idx="800">
                  <c:v>46302</c:v>
                </c:pt>
                <c:pt idx="801">
                  <c:v>46303</c:v>
                </c:pt>
                <c:pt idx="802">
                  <c:v>46304</c:v>
                </c:pt>
                <c:pt idx="803">
                  <c:v>46307</c:v>
                </c:pt>
                <c:pt idx="804">
                  <c:v>46308</c:v>
                </c:pt>
                <c:pt idx="805">
                  <c:v>46309</c:v>
                </c:pt>
                <c:pt idx="806">
                  <c:v>46310</c:v>
                </c:pt>
                <c:pt idx="807">
                  <c:v>46311</c:v>
                </c:pt>
                <c:pt idx="808">
                  <c:v>46314</c:v>
                </c:pt>
                <c:pt idx="809">
                  <c:v>46315</c:v>
                </c:pt>
                <c:pt idx="810">
                  <c:v>46316</c:v>
                </c:pt>
                <c:pt idx="811">
                  <c:v>46317</c:v>
                </c:pt>
                <c:pt idx="812">
                  <c:v>46318</c:v>
                </c:pt>
                <c:pt idx="813">
                  <c:v>46321</c:v>
                </c:pt>
                <c:pt idx="814">
                  <c:v>46322</c:v>
                </c:pt>
                <c:pt idx="815">
                  <c:v>46323</c:v>
                </c:pt>
                <c:pt idx="816">
                  <c:v>46324</c:v>
                </c:pt>
                <c:pt idx="817">
                  <c:v>46325</c:v>
                </c:pt>
                <c:pt idx="818">
                  <c:v>46328</c:v>
                </c:pt>
                <c:pt idx="819">
                  <c:v>46329</c:v>
                </c:pt>
                <c:pt idx="820">
                  <c:v>46330</c:v>
                </c:pt>
                <c:pt idx="821">
                  <c:v>46331</c:v>
                </c:pt>
                <c:pt idx="822">
                  <c:v>46332</c:v>
                </c:pt>
                <c:pt idx="823">
                  <c:v>46335</c:v>
                </c:pt>
                <c:pt idx="824">
                  <c:v>46336</c:v>
                </c:pt>
                <c:pt idx="825">
                  <c:v>46337</c:v>
                </c:pt>
                <c:pt idx="826">
                  <c:v>46338</c:v>
                </c:pt>
                <c:pt idx="827">
                  <c:v>46339</c:v>
                </c:pt>
                <c:pt idx="828">
                  <c:v>46342</c:v>
                </c:pt>
                <c:pt idx="829">
                  <c:v>46343</c:v>
                </c:pt>
                <c:pt idx="830">
                  <c:v>46344</c:v>
                </c:pt>
                <c:pt idx="831">
                  <c:v>46345</c:v>
                </c:pt>
                <c:pt idx="832">
                  <c:v>46346</c:v>
                </c:pt>
                <c:pt idx="833">
                  <c:v>46349</c:v>
                </c:pt>
                <c:pt idx="834">
                  <c:v>46350</c:v>
                </c:pt>
                <c:pt idx="835">
                  <c:v>46351</c:v>
                </c:pt>
                <c:pt idx="836">
                  <c:v>46352</c:v>
                </c:pt>
                <c:pt idx="837">
                  <c:v>46353</c:v>
                </c:pt>
                <c:pt idx="838">
                  <c:v>46356</c:v>
                </c:pt>
                <c:pt idx="839">
                  <c:v>46357</c:v>
                </c:pt>
                <c:pt idx="840">
                  <c:v>46358</c:v>
                </c:pt>
                <c:pt idx="841">
                  <c:v>46359</c:v>
                </c:pt>
                <c:pt idx="842">
                  <c:v>46360</c:v>
                </c:pt>
                <c:pt idx="843">
                  <c:v>46363</c:v>
                </c:pt>
                <c:pt idx="844">
                  <c:v>46364</c:v>
                </c:pt>
                <c:pt idx="845">
                  <c:v>46365</c:v>
                </c:pt>
                <c:pt idx="846">
                  <c:v>46366</c:v>
                </c:pt>
                <c:pt idx="847">
                  <c:v>46367</c:v>
                </c:pt>
                <c:pt idx="848">
                  <c:v>46370</c:v>
                </c:pt>
                <c:pt idx="849">
                  <c:v>46371</c:v>
                </c:pt>
                <c:pt idx="850">
                  <c:v>46372</c:v>
                </c:pt>
                <c:pt idx="851">
                  <c:v>46373</c:v>
                </c:pt>
                <c:pt idx="852">
                  <c:v>46374</c:v>
                </c:pt>
                <c:pt idx="853">
                  <c:v>46377</c:v>
                </c:pt>
                <c:pt idx="854">
                  <c:v>46378</c:v>
                </c:pt>
                <c:pt idx="855">
                  <c:v>46379</c:v>
                </c:pt>
                <c:pt idx="856">
                  <c:v>46380</c:v>
                </c:pt>
                <c:pt idx="857">
                  <c:v>46381</c:v>
                </c:pt>
                <c:pt idx="858">
                  <c:v>46384</c:v>
                </c:pt>
                <c:pt idx="859">
                  <c:v>46385</c:v>
                </c:pt>
                <c:pt idx="860">
                  <c:v>46386</c:v>
                </c:pt>
                <c:pt idx="861">
                  <c:v>46387</c:v>
                </c:pt>
                <c:pt idx="862">
                  <c:v>46388</c:v>
                </c:pt>
                <c:pt idx="863">
                  <c:v>46391</c:v>
                </c:pt>
                <c:pt idx="864">
                  <c:v>46392</c:v>
                </c:pt>
                <c:pt idx="865">
                  <c:v>46393</c:v>
                </c:pt>
                <c:pt idx="866">
                  <c:v>46394</c:v>
                </c:pt>
                <c:pt idx="867">
                  <c:v>46395</c:v>
                </c:pt>
                <c:pt idx="868">
                  <c:v>46398</c:v>
                </c:pt>
                <c:pt idx="869">
                  <c:v>46399</c:v>
                </c:pt>
                <c:pt idx="870">
                  <c:v>46400</c:v>
                </c:pt>
                <c:pt idx="871">
                  <c:v>46401</c:v>
                </c:pt>
                <c:pt idx="872">
                  <c:v>46402</c:v>
                </c:pt>
                <c:pt idx="873">
                  <c:v>46405</c:v>
                </c:pt>
                <c:pt idx="874">
                  <c:v>46406</c:v>
                </c:pt>
                <c:pt idx="875">
                  <c:v>46407</c:v>
                </c:pt>
                <c:pt idx="876">
                  <c:v>46408</c:v>
                </c:pt>
                <c:pt idx="877">
                  <c:v>46409</c:v>
                </c:pt>
                <c:pt idx="878">
                  <c:v>46412</c:v>
                </c:pt>
                <c:pt idx="879">
                  <c:v>46413</c:v>
                </c:pt>
                <c:pt idx="880">
                  <c:v>46414</c:v>
                </c:pt>
                <c:pt idx="881">
                  <c:v>46415</c:v>
                </c:pt>
                <c:pt idx="882">
                  <c:v>46416</c:v>
                </c:pt>
                <c:pt idx="883">
                  <c:v>46419</c:v>
                </c:pt>
                <c:pt idx="884">
                  <c:v>46420</c:v>
                </c:pt>
                <c:pt idx="885">
                  <c:v>46421</c:v>
                </c:pt>
                <c:pt idx="886">
                  <c:v>46422</c:v>
                </c:pt>
                <c:pt idx="887">
                  <c:v>46423</c:v>
                </c:pt>
                <c:pt idx="888">
                  <c:v>46426</c:v>
                </c:pt>
                <c:pt idx="889">
                  <c:v>46427</c:v>
                </c:pt>
                <c:pt idx="890">
                  <c:v>46428</c:v>
                </c:pt>
                <c:pt idx="891">
                  <c:v>46429</c:v>
                </c:pt>
                <c:pt idx="892">
                  <c:v>46430</c:v>
                </c:pt>
                <c:pt idx="893">
                  <c:v>46433</c:v>
                </c:pt>
                <c:pt idx="894">
                  <c:v>46434</c:v>
                </c:pt>
                <c:pt idx="895">
                  <c:v>46435</c:v>
                </c:pt>
                <c:pt idx="896">
                  <c:v>46436</c:v>
                </c:pt>
                <c:pt idx="897">
                  <c:v>46437</c:v>
                </c:pt>
                <c:pt idx="898">
                  <c:v>46440</c:v>
                </c:pt>
                <c:pt idx="899">
                  <c:v>46441</c:v>
                </c:pt>
                <c:pt idx="900">
                  <c:v>46442</c:v>
                </c:pt>
                <c:pt idx="901">
                  <c:v>46443</c:v>
                </c:pt>
                <c:pt idx="902">
                  <c:v>46444</c:v>
                </c:pt>
                <c:pt idx="903">
                  <c:v>46447</c:v>
                </c:pt>
                <c:pt idx="904">
                  <c:v>46448</c:v>
                </c:pt>
                <c:pt idx="905">
                  <c:v>46449</c:v>
                </c:pt>
                <c:pt idx="906">
                  <c:v>46450</c:v>
                </c:pt>
                <c:pt idx="907">
                  <c:v>46451</c:v>
                </c:pt>
                <c:pt idx="908">
                  <c:v>46454</c:v>
                </c:pt>
                <c:pt idx="909">
                  <c:v>46455</c:v>
                </c:pt>
                <c:pt idx="910">
                  <c:v>46456</c:v>
                </c:pt>
                <c:pt idx="911">
                  <c:v>46457</c:v>
                </c:pt>
                <c:pt idx="912">
                  <c:v>46458</c:v>
                </c:pt>
                <c:pt idx="913">
                  <c:v>46461</c:v>
                </c:pt>
                <c:pt idx="914">
                  <c:v>46462</c:v>
                </c:pt>
                <c:pt idx="915">
                  <c:v>46463</c:v>
                </c:pt>
                <c:pt idx="916">
                  <c:v>46464</c:v>
                </c:pt>
                <c:pt idx="917">
                  <c:v>46465</c:v>
                </c:pt>
                <c:pt idx="918">
                  <c:v>46468</c:v>
                </c:pt>
                <c:pt idx="919">
                  <c:v>46469</c:v>
                </c:pt>
                <c:pt idx="920">
                  <c:v>46470</c:v>
                </c:pt>
                <c:pt idx="921">
                  <c:v>46471</c:v>
                </c:pt>
                <c:pt idx="922">
                  <c:v>46472</c:v>
                </c:pt>
                <c:pt idx="923">
                  <c:v>46475</c:v>
                </c:pt>
                <c:pt idx="924">
                  <c:v>46476</c:v>
                </c:pt>
                <c:pt idx="925">
                  <c:v>46477</c:v>
                </c:pt>
                <c:pt idx="926">
                  <c:v>46478</c:v>
                </c:pt>
                <c:pt idx="927">
                  <c:v>46479</c:v>
                </c:pt>
                <c:pt idx="928">
                  <c:v>46482</c:v>
                </c:pt>
                <c:pt idx="929">
                  <c:v>46483</c:v>
                </c:pt>
                <c:pt idx="930">
                  <c:v>46484</c:v>
                </c:pt>
                <c:pt idx="931">
                  <c:v>46485</c:v>
                </c:pt>
                <c:pt idx="932">
                  <c:v>46486</c:v>
                </c:pt>
                <c:pt idx="933">
                  <c:v>46489</c:v>
                </c:pt>
                <c:pt idx="934">
                  <c:v>46490</c:v>
                </c:pt>
                <c:pt idx="935">
                  <c:v>46491</c:v>
                </c:pt>
                <c:pt idx="936">
                  <c:v>46492</c:v>
                </c:pt>
                <c:pt idx="937">
                  <c:v>46493</c:v>
                </c:pt>
                <c:pt idx="938">
                  <c:v>46496</c:v>
                </c:pt>
                <c:pt idx="939">
                  <c:v>46497</c:v>
                </c:pt>
                <c:pt idx="940">
                  <c:v>46498</c:v>
                </c:pt>
                <c:pt idx="941">
                  <c:v>46499</c:v>
                </c:pt>
                <c:pt idx="942">
                  <c:v>46500</c:v>
                </c:pt>
                <c:pt idx="943">
                  <c:v>46503</c:v>
                </c:pt>
                <c:pt idx="944">
                  <c:v>46504</c:v>
                </c:pt>
                <c:pt idx="945">
                  <c:v>46505</c:v>
                </c:pt>
                <c:pt idx="946">
                  <c:v>46506</c:v>
                </c:pt>
                <c:pt idx="947">
                  <c:v>46507</c:v>
                </c:pt>
                <c:pt idx="948">
                  <c:v>46510</c:v>
                </c:pt>
                <c:pt idx="949">
                  <c:v>46511</c:v>
                </c:pt>
                <c:pt idx="950">
                  <c:v>46512</c:v>
                </c:pt>
                <c:pt idx="951">
                  <c:v>46513</c:v>
                </c:pt>
                <c:pt idx="952">
                  <c:v>46514</c:v>
                </c:pt>
                <c:pt idx="953">
                  <c:v>46517</c:v>
                </c:pt>
                <c:pt idx="954">
                  <c:v>46518</c:v>
                </c:pt>
                <c:pt idx="955">
                  <c:v>46519</c:v>
                </c:pt>
                <c:pt idx="956">
                  <c:v>46520</c:v>
                </c:pt>
                <c:pt idx="957">
                  <c:v>46521</c:v>
                </c:pt>
                <c:pt idx="958">
                  <c:v>46524</c:v>
                </c:pt>
                <c:pt idx="959">
                  <c:v>46525</c:v>
                </c:pt>
                <c:pt idx="960">
                  <c:v>46526</c:v>
                </c:pt>
                <c:pt idx="961">
                  <c:v>46527</c:v>
                </c:pt>
                <c:pt idx="962">
                  <c:v>46528</c:v>
                </c:pt>
                <c:pt idx="963">
                  <c:v>46531</c:v>
                </c:pt>
                <c:pt idx="964">
                  <c:v>46532</c:v>
                </c:pt>
                <c:pt idx="965">
                  <c:v>46533</c:v>
                </c:pt>
                <c:pt idx="966">
                  <c:v>46534</c:v>
                </c:pt>
                <c:pt idx="967">
                  <c:v>46535</c:v>
                </c:pt>
                <c:pt idx="968">
                  <c:v>46538</c:v>
                </c:pt>
                <c:pt idx="969">
                  <c:v>46539</c:v>
                </c:pt>
                <c:pt idx="970">
                  <c:v>46540</c:v>
                </c:pt>
                <c:pt idx="971">
                  <c:v>46541</c:v>
                </c:pt>
                <c:pt idx="972">
                  <c:v>46542</c:v>
                </c:pt>
                <c:pt idx="973">
                  <c:v>46545</c:v>
                </c:pt>
                <c:pt idx="974">
                  <c:v>46546</c:v>
                </c:pt>
                <c:pt idx="975">
                  <c:v>46547</c:v>
                </c:pt>
                <c:pt idx="976">
                  <c:v>46548</c:v>
                </c:pt>
                <c:pt idx="977">
                  <c:v>46549</c:v>
                </c:pt>
                <c:pt idx="978">
                  <c:v>46552</c:v>
                </c:pt>
                <c:pt idx="979">
                  <c:v>46553</c:v>
                </c:pt>
                <c:pt idx="980">
                  <c:v>46554</c:v>
                </c:pt>
                <c:pt idx="981">
                  <c:v>46555</c:v>
                </c:pt>
                <c:pt idx="982">
                  <c:v>46556</c:v>
                </c:pt>
                <c:pt idx="983">
                  <c:v>46559</c:v>
                </c:pt>
                <c:pt idx="984">
                  <c:v>46560</c:v>
                </c:pt>
                <c:pt idx="985">
                  <c:v>46561</c:v>
                </c:pt>
                <c:pt idx="986">
                  <c:v>46562</c:v>
                </c:pt>
                <c:pt idx="987">
                  <c:v>46563</c:v>
                </c:pt>
                <c:pt idx="988">
                  <c:v>46566</c:v>
                </c:pt>
                <c:pt idx="989">
                  <c:v>46567</c:v>
                </c:pt>
                <c:pt idx="990">
                  <c:v>46568</c:v>
                </c:pt>
                <c:pt idx="991">
                  <c:v>46569</c:v>
                </c:pt>
                <c:pt idx="992">
                  <c:v>46570</c:v>
                </c:pt>
                <c:pt idx="993">
                  <c:v>46573</c:v>
                </c:pt>
                <c:pt idx="994">
                  <c:v>46574</c:v>
                </c:pt>
                <c:pt idx="995">
                  <c:v>46575</c:v>
                </c:pt>
                <c:pt idx="996">
                  <c:v>46576</c:v>
                </c:pt>
                <c:pt idx="997">
                  <c:v>46577</c:v>
                </c:pt>
                <c:pt idx="998">
                  <c:v>46580</c:v>
                </c:pt>
              </c:numCache>
            </c:numRef>
          </c:cat>
          <c:val>
            <c:numRef>
              <c:f>Daily!$T$2:$T$1057</c:f>
            </c:numRef>
          </c:val>
          <c:smooth val="0"/>
          <c:extLst>
            <c:ext xmlns:c16="http://schemas.microsoft.com/office/drawing/2014/chart" uri="{C3380CC4-5D6E-409C-BE32-E72D297353CC}">
              <c16:uniqueId val="{00000015-094D-4E29-B010-D717A2A1A293}"/>
            </c:ext>
          </c:extLst>
        </c:ser>
        <c:ser>
          <c:idx val="16"/>
          <c:order val="16"/>
          <c:tx>
            <c:strRef>
              <c:f>Daily!$U$1</c:f>
              <c:strCache>
                <c:ptCount val="1"/>
                <c:pt idx="0">
                  <c:v>M+3</c:v>
                </c:pt>
              </c:strCache>
            </c:strRef>
          </c:tx>
          <c:spPr>
            <a:ln w="28575" cap="rnd" cmpd="sng" algn="ctr">
              <a:solidFill>
                <a:schemeClr val="accent5">
                  <a:lumMod val="80000"/>
                  <a:lumOff val="20000"/>
                  <a:shade val="95000"/>
                  <a:satMod val="105000"/>
                </a:schemeClr>
              </a:solidFill>
              <a:prstDash val="solid"/>
              <a:round/>
            </a:ln>
            <a:effectLst/>
          </c:spPr>
          <c:marker>
            <c:symbol val="none"/>
          </c:marker>
          <c:cat>
            <c:numRef>
              <c:f>Daily!$A$2:$A$1000</c:f>
              <c:numCache>
                <c:formatCode>d\-mmm\-yy</c:formatCode>
                <c:ptCount val="999"/>
                <c:pt idx="0">
                  <c:v>45128</c:v>
                </c:pt>
                <c:pt idx="1">
                  <c:v>45131</c:v>
                </c:pt>
                <c:pt idx="2">
                  <c:v>45132</c:v>
                </c:pt>
                <c:pt idx="3">
                  <c:v>45133</c:v>
                </c:pt>
                <c:pt idx="4">
                  <c:v>45134</c:v>
                </c:pt>
                <c:pt idx="5">
                  <c:v>45135</c:v>
                </c:pt>
                <c:pt idx="6">
                  <c:v>45138</c:v>
                </c:pt>
                <c:pt idx="7">
                  <c:v>45139</c:v>
                </c:pt>
                <c:pt idx="8">
                  <c:v>45140</c:v>
                </c:pt>
                <c:pt idx="9">
                  <c:v>45141</c:v>
                </c:pt>
                <c:pt idx="10">
                  <c:v>45142</c:v>
                </c:pt>
                <c:pt idx="11">
                  <c:v>45145</c:v>
                </c:pt>
                <c:pt idx="12">
                  <c:v>45146</c:v>
                </c:pt>
                <c:pt idx="13">
                  <c:v>45147</c:v>
                </c:pt>
                <c:pt idx="14">
                  <c:v>45148</c:v>
                </c:pt>
                <c:pt idx="15">
                  <c:v>45149</c:v>
                </c:pt>
                <c:pt idx="16">
                  <c:v>45152</c:v>
                </c:pt>
                <c:pt idx="17">
                  <c:v>45153</c:v>
                </c:pt>
                <c:pt idx="18">
                  <c:v>45154</c:v>
                </c:pt>
                <c:pt idx="19">
                  <c:v>45155</c:v>
                </c:pt>
                <c:pt idx="20">
                  <c:v>45156</c:v>
                </c:pt>
                <c:pt idx="21">
                  <c:v>45159</c:v>
                </c:pt>
                <c:pt idx="22">
                  <c:v>45160</c:v>
                </c:pt>
                <c:pt idx="23">
                  <c:v>45161</c:v>
                </c:pt>
                <c:pt idx="24">
                  <c:v>45162</c:v>
                </c:pt>
                <c:pt idx="25">
                  <c:v>45163</c:v>
                </c:pt>
                <c:pt idx="26">
                  <c:v>45166</c:v>
                </c:pt>
                <c:pt idx="27">
                  <c:v>45167</c:v>
                </c:pt>
                <c:pt idx="28">
                  <c:v>45168</c:v>
                </c:pt>
                <c:pt idx="29">
                  <c:v>45169</c:v>
                </c:pt>
                <c:pt idx="30">
                  <c:v>45170</c:v>
                </c:pt>
                <c:pt idx="31">
                  <c:v>45173</c:v>
                </c:pt>
                <c:pt idx="32">
                  <c:v>45174</c:v>
                </c:pt>
                <c:pt idx="33">
                  <c:v>45175</c:v>
                </c:pt>
                <c:pt idx="34">
                  <c:v>45176</c:v>
                </c:pt>
                <c:pt idx="35">
                  <c:v>45177</c:v>
                </c:pt>
                <c:pt idx="36">
                  <c:v>45180</c:v>
                </c:pt>
                <c:pt idx="37">
                  <c:v>45181</c:v>
                </c:pt>
                <c:pt idx="38">
                  <c:v>45182</c:v>
                </c:pt>
                <c:pt idx="39">
                  <c:v>45183</c:v>
                </c:pt>
                <c:pt idx="40">
                  <c:v>45184</c:v>
                </c:pt>
                <c:pt idx="41">
                  <c:v>45187</c:v>
                </c:pt>
                <c:pt idx="42">
                  <c:v>45188</c:v>
                </c:pt>
                <c:pt idx="43">
                  <c:v>45189</c:v>
                </c:pt>
                <c:pt idx="44">
                  <c:v>45190</c:v>
                </c:pt>
                <c:pt idx="45">
                  <c:v>45191</c:v>
                </c:pt>
                <c:pt idx="46">
                  <c:v>45194</c:v>
                </c:pt>
                <c:pt idx="47">
                  <c:v>45195</c:v>
                </c:pt>
                <c:pt idx="48">
                  <c:v>45196</c:v>
                </c:pt>
                <c:pt idx="49">
                  <c:v>45197</c:v>
                </c:pt>
                <c:pt idx="50">
                  <c:v>45208</c:v>
                </c:pt>
                <c:pt idx="51">
                  <c:v>45209</c:v>
                </c:pt>
                <c:pt idx="52">
                  <c:v>45210</c:v>
                </c:pt>
                <c:pt idx="53">
                  <c:v>45211</c:v>
                </c:pt>
                <c:pt idx="54">
                  <c:v>45212</c:v>
                </c:pt>
                <c:pt idx="55">
                  <c:v>45215</c:v>
                </c:pt>
                <c:pt idx="56">
                  <c:v>45216</c:v>
                </c:pt>
                <c:pt idx="57">
                  <c:v>45217</c:v>
                </c:pt>
                <c:pt idx="58">
                  <c:v>45218</c:v>
                </c:pt>
                <c:pt idx="59">
                  <c:v>45219</c:v>
                </c:pt>
                <c:pt idx="60">
                  <c:v>45222</c:v>
                </c:pt>
                <c:pt idx="61">
                  <c:v>45223</c:v>
                </c:pt>
                <c:pt idx="62">
                  <c:v>45224</c:v>
                </c:pt>
                <c:pt idx="63">
                  <c:v>45225</c:v>
                </c:pt>
                <c:pt idx="64">
                  <c:v>45226</c:v>
                </c:pt>
                <c:pt idx="65">
                  <c:v>45229</c:v>
                </c:pt>
                <c:pt idx="66">
                  <c:v>45230</c:v>
                </c:pt>
                <c:pt idx="67">
                  <c:v>45231</c:v>
                </c:pt>
                <c:pt idx="68">
                  <c:v>45232</c:v>
                </c:pt>
                <c:pt idx="69">
                  <c:v>45233</c:v>
                </c:pt>
                <c:pt idx="70">
                  <c:v>45236</c:v>
                </c:pt>
                <c:pt idx="71">
                  <c:v>45237</c:v>
                </c:pt>
                <c:pt idx="72">
                  <c:v>45238</c:v>
                </c:pt>
                <c:pt idx="73">
                  <c:v>45239</c:v>
                </c:pt>
                <c:pt idx="74">
                  <c:v>45240</c:v>
                </c:pt>
                <c:pt idx="75">
                  <c:v>45243</c:v>
                </c:pt>
                <c:pt idx="76">
                  <c:v>45244</c:v>
                </c:pt>
                <c:pt idx="77">
                  <c:v>45245</c:v>
                </c:pt>
                <c:pt idx="78">
                  <c:v>45246</c:v>
                </c:pt>
                <c:pt idx="79">
                  <c:v>45247</c:v>
                </c:pt>
                <c:pt idx="80">
                  <c:v>45250</c:v>
                </c:pt>
                <c:pt idx="81">
                  <c:v>45251</c:v>
                </c:pt>
                <c:pt idx="82">
                  <c:v>45252</c:v>
                </c:pt>
                <c:pt idx="83">
                  <c:v>45253</c:v>
                </c:pt>
                <c:pt idx="84">
                  <c:v>45254</c:v>
                </c:pt>
                <c:pt idx="85">
                  <c:v>45257</c:v>
                </c:pt>
                <c:pt idx="86">
                  <c:v>45258</c:v>
                </c:pt>
                <c:pt idx="87">
                  <c:v>45259</c:v>
                </c:pt>
                <c:pt idx="88">
                  <c:v>45260</c:v>
                </c:pt>
                <c:pt idx="89">
                  <c:v>45261</c:v>
                </c:pt>
                <c:pt idx="90">
                  <c:v>45264</c:v>
                </c:pt>
                <c:pt idx="91">
                  <c:v>45265</c:v>
                </c:pt>
                <c:pt idx="92">
                  <c:v>45266</c:v>
                </c:pt>
                <c:pt idx="93">
                  <c:v>45267</c:v>
                </c:pt>
                <c:pt idx="94">
                  <c:v>45268</c:v>
                </c:pt>
                <c:pt idx="95">
                  <c:v>45271</c:v>
                </c:pt>
                <c:pt idx="96">
                  <c:v>45272</c:v>
                </c:pt>
                <c:pt idx="97">
                  <c:v>45273</c:v>
                </c:pt>
                <c:pt idx="98">
                  <c:v>45274</c:v>
                </c:pt>
                <c:pt idx="99">
                  <c:v>45275</c:v>
                </c:pt>
                <c:pt idx="100">
                  <c:v>45278</c:v>
                </c:pt>
                <c:pt idx="101">
                  <c:v>45279</c:v>
                </c:pt>
                <c:pt idx="102">
                  <c:v>45280</c:v>
                </c:pt>
                <c:pt idx="103">
                  <c:v>45281</c:v>
                </c:pt>
                <c:pt idx="104">
                  <c:v>45282</c:v>
                </c:pt>
                <c:pt idx="105">
                  <c:v>45285</c:v>
                </c:pt>
                <c:pt idx="106">
                  <c:v>45286</c:v>
                </c:pt>
                <c:pt idx="107">
                  <c:v>45287</c:v>
                </c:pt>
                <c:pt idx="108">
                  <c:v>45288</c:v>
                </c:pt>
                <c:pt idx="109">
                  <c:v>45289</c:v>
                </c:pt>
                <c:pt idx="110">
                  <c:v>45293</c:v>
                </c:pt>
                <c:pt idx="111">
                  <c:v>45294</c:v>
                </c:pt>
                <c:pt idx="112">
                  <c:v>45295</c:v>
                </c:pt>
                <c:pt idx="113">
                  <c:v>45296</c:v>
                </c:pt>
                <c:pt idx="114">
                  <c:v>45299</c:v>
                </c:pt>
                <c:pt idx="115">
                  <c:v>45300</c:v>
                </c:pt>
                <c:pt idx="116">
                  <c:v>45301</c:v>
                </c:pt>
                <c:pt idx="117">
                  <c:v>45302</c:v>
                </c:pt>
                <c:pt idx="118">
                  <c:v>45303</c:v>
                </c:pt>
                <c:pt idx="119">
                  <c:v>45306</c:v>
                </c:pt>
                <c:pt idx="120">
                  <c:v>45307</c:v>
                </c:pt>
                <c:pt idx="121">
                  <c:v>45308</c:v>
                </c:pt>
                <c:pt idx="122">
                  <c:v>45309</c:v>
                </c:pt>
                <c:pt idx="123">
                  <c:v>45310</c:v>
                </c:pt>
                <c:pt idx="124">
                  <c:v>45313</c:v>
                </c:pt>
                <c:pt idx="125">
                  <c:v>45314</c:v>
                </c:pt>
                <c:pt idx="126">
                  <c:v>45315</c:v>
                </c:pt>
                <c:pt idx="127">
                  <c:v>45316</c:v>
                </c:pt>
                <c:pt idx="128">
                  <c:v>45317</c:v>
                </c:pt>
                <c:pt idx="129">
                  <c:v>45320</c:v>
                </c:pt>
                <c:pt idx="130">
                  <c:v>45321</c:v>
                </c:pt>
                <c:pt idx="131">
                  <c:v>45322</c:v>
                </c:pt>
                <c:pt idx="132">
                  <c:v>45323</c:v>
                </c:pt>
                <c:pt idx="133">
                  <c:v>45324</c:v>
                </c:pt>
                <c:pt idx="134">
                  <c:v>45327</c:v>
                </c:pt>
                <c:pt idx="135">
                  <c:v>45328</c:v>
                </c:pt>
                <c:pt idx="136">
                  <c:v>45329</c:v>
                </c:pt>
                <c:pt idx="137">
                  <c:v>45330</c:v>
                </c:pt>
                <c:pt idx="138">
                  <c:v>45341</c:v>
                </c:pt>
                <c:pt idx="139">
                  <c:v>45342</c:v>
                </c:pt>
                <c:pt idx="140">
                  <c:v>45343</c:v>
                </c:pt>
                <c:pt idx="141">
                  <c:v>45344</c:v>
                </c:pt>
                <c:pt idx="142">
                  <c:v>45345</c:v>
                </c:pt>
                <c:pt idx="143">
                  <c:v>45348</c:v>
                </c:pt>
                <c:pt idx="144">
                  <c:v>45349</c:v>
                </c:pt>
                <c:pt idx="145">
                  <c:v>45350</c:v>
                </c:pt>
                <c:pt idx="146">
                  <c:v>45351</c:v>
                </c:pt>
                <c:pt idx="147">
                  <c:v>45352</c:v>
                </c:pt>
                <c:pt idx="148">
                  <c:v>45355</c:v>
                </c:pt>
                <c:pt idx="149">
                  <c:v>45356</c:v>
                </c:pt>
                <c:pt idx="150">
                  <c:v>45357</c:v>
                </c:pt>
                <c:pt idx="151">
                  <c:v>45358</c:v>
                </c:pt>
                <c:pt idx="152">
                  <c:v>45359</c:v>
                </c:pt>
                <c:pt idx="153">
                  <c:v>45362</c:v>
                </c:pt>
                <c:pt idx="154">
                  <c:v>45363</c:v>
                </c:pt>
                <c:pt idx="155">
                  <c:v>45364</c:v>
                </c:pt>
                <c:pt idx="156">
                  <c:v>45365</c:v>
                </c:pt>
                <c:pt idx="157">
                  <c:v>45366</c:v>
                </c:pt>
                <c:pt idx="158">
                  <c:v>45369</c:v>
                </c:pt>
                <c:pt idx="159">
                  <c:v>45370</c:v>
                </c:pt>
                <c:pt idx="160">
                  <c:v>45371</c:v>
                </c:pt>
                <c:pt idx="161">
                  <c:v>45372</c:v>
                </c:pt>
                <c:pt idx="162">
                  <c:v>45373</c:v>
                </c:pt>
                <c:pt idx="163">
                  <c:v>45376</c:v>
                </c:pt>
                <c:pt idx="164">
                  <c:v>45377</c:v>
                </c:pt>
                <c:pt idx="165">
                  <c:v>45378</c:v>
                </c:pt>
                <c:pt idx="166">
                  <c:v>45379</c:v>
                </c:pt>
                <c:pt idx="167">
                  <c:v>45380</c:v>
                </c:pt>
                <c:pt idx="168">
                  <c:v>45383</c:v>
                </c:pt>
                <c:pt idx="169">
                  <c:v>45384</c:v>
                </c:pt>
                <c:pt idx="170">
                  <c:v>45385</c:v>
                </c:pt>
                <c:pt idx="171">
                  <c:v>45390</c:v>
                </c:pt>
                <c:pt idx="172">
                  <c:v>45391</c:v>
                </c:pt>
                <c:pt idx="173">
                  <c:v>45392</c:v>
                </c:pt>
                <c:pt idx="174">
                  <c:v>45393</c:v>
                </c:pt>
                <c:pt idx="175">
                  <c:v>45394</c:v>
                </c:pt>
                <c:pt idx="176">
                  <c:v>45397</c:v>
                </c:pt>
                <c:pt idx="177">
                  <c:v>45398</c:v>
                </c:pt>
                <c:pt idx="178">
                  <c:v>45399</c:v>
                </c:pt>
                <c:pt idx="179">
                  <c:v>45400</c:v>
                </c:pt>
                <c:pt idx="180">
                  <c:v>45401</c:v>
                </c:pt>
                <c:pt idx="181">
                  <c:v>45404</c:v>
                </c:pt>
                <c:pt idx="182">
                  <c:v>45405</c:v>
                </c:pt>
                <c:pt idx="183">
                  <c:v>45406</c:v>
                </c:pt>
                <c:pt idx="184">
                  <c:v>45407</c:v>
                </c:pt>
                <c:pt idx="185">
                  <c:v>45408</c:v>
                </c:pt>
                <c:pt idx="186">
                  <c:v>45411</c:v>
                </c:pt>
                <c:pt idx="187">
                  <c:v>45412</c:v>
                </c:pt>
                <c:pt idx="188">
                  <c:v>45418</c:v>
                </c:pt>
                <c:pt idx="189">
                  <c:v>45419</c:v>
                </c:pt>
                <c:pt idx="190">
                  <c:v>45420</c:v>
                </c:pt>
                <c:pt idx="191">
                  <c:v>45421</c:v>
                </c:pt>
                <c:pt idx="192">
                  <c:v>45422</c:v>
                </c:pt>
                <c:pt idx="193">
                  <c:v>45425</c:v>
                </c:pt>
                <c:pt idx="194">
                  <c:v>45426</c:v>
                </c:pt>
                <c:pt idx="195">
                  <c:v>45427</c:v>
                </c:pt>
                <c:pt idx="196">
                  <c:v>45428</c:v>
                </c:pt>
                <c:pt idx="197">
                  <c:v>45429</c:v>
                </c:pt>
                <c:pt idx="198">
                  <c:v>45432</c:v>
                </c:pt>
                <c:pt idx="199">
                  <c:v>45433</c:v>
                </c:pt>
                <c:pt idx="200">
                  <c:v>45434</c:v>
                </c:pt>
                <c:pt idx="201">
                  <c:v>45435</c:v>
                </c:pt>
                <c:pt idx="202">
                  <c:v>45436</c:v>
                </c:pt>
                <c:pt idx="203">
                  <c:v>45439</c:v>
                </c:pt>
                <c:pt idx="204">
                  <c:v>45440</c:v>
                </c:pt>
                <c:pt idx="205">
                  <c:v>45441</c:v>
                </c:pt>
                <c:pt idx="206">
                  <c:v>45442</c:v>
                </c:pt>
                <c:pt idx="207">
                  <c:v>45443</c:v>
                </c:pt>
                <c:pt idx="208">
                  <c:v>45446</c:v>
                </c:pt>
                <c:pt idx="209">
                  <c:v>45447</c:v>
                </c:pt>
                <c:pt idx="210">
                  <c:v>45448</c:v>
                </c:pt>
                <c:pt idx="211">
                  <c:v>45449</c:v>
                </c:pt>
                <c:pt idx="212">
                  <c:v>45450</c:v>
                </c:pt>
                <c:pt idx="213">
                  <c:v>45454</c:v>
                </c:pt>
                <c:pt idx="214">
                  <c:v>45455</c:v>
                </c:pt>
                <c:pt idx="215">
                  <c:v>45456</c:v>
                </c:pt>
                <c:pt idx="216">
                  <c:v>45457</c:v>
                </c:pt>
                <c:pt idx="217">
                  <c:v>45460</c:v>
                </c:pt>
                <c:pt idx="218">
                  <c:v>45461</c:v>
                </c:pt>
                <c:pt idx="219">
                  <c:v>45462</c:v>
                </c:pt>
                <c:pt idx="220">
                  <c:v>45463</c:v>
                </c:pt>
                <c:pt idx="221">
                  <c:v>45464</c:v>
                </c:pt>
                <c:pt idx="222">
                  <c:v>45467</c:v>
                </c:pt>
                <c:pt idx="223">
                  <c:v>45468</c:v>
                </c:pt>
                <c:pt idx="224">
                  <c:v>45469</c:v>
                </c:pt>
                <c:pt idx="225">
                  <c:v>45470</c:v>
                </c:pt>
                <c:pt idx="226">
                  <c:v>45471</c:v>
                </c:pt>
                <c:pt idx="227">
                  <c:v>45474</c:v>
                </c:pt>
                <c:pt idx="228">
                  <c:v>45475</c:v>
                </c:pt>
                <c:pt idx="229">
                  <c:v>45476</c:v>
                </c:pt>
                <c:pt idx="230">
                  <c:v>45477</c:v>
                </c:pt>
                <c:pt idx="231">
                  <c:v>45478</c:v>
                </c:pt>
                <c:pt idx="232">
                  <c:v>45481</c:v>
                </c:pt>
                <c:pt idx="233">
                  <c:v>45482</c:v>
                </c:pt>
                <c:pt idx="234">
                  <c:v>45483</c:v>
                </c:pt>
                <c:pt idx="235">
                  <c:v>45484</c:v>
                </c:pt>
                <c:pt idx="236">
                  <c:v>45485</c:v>
                </c:pt>
                <c:pt idx="237">
                  <c:v>45488</c:v>
                </c:pt>
                <c:pt idx="238">
                  <c:v>45489</c:v>
                </c:pt>
                <c:pt idx="239">
                  <c:v>45490</c:v>
                </c:pt>
                <c:pt idx="240">
                  <c:v>45491</c:v>
                </c:pt>
                <c:pt idx="241">
                  <c:v>45492</c:v>
                </c:pt>
                <c:pt idx="242">
                  <c:v>45495</c:v>
                </c:pt>
                <c:pt idx="243">
                  <c:v>45496</c:v>
                </c:pt>
                <c:pt idx="244">
                  <c:v>45497</c:v>
                </c:pt>
                <c:pt idx="245">
                  <c:v>45498</c:v>
                </c:pt>
                <c:pt idx="246">
                  <c:v>45499</c:v>
                </c:pt>
                <c:pt idx="247">
                  <c:v>45502</c:v>
                </c:pt>
                <c:pt idx="248">
                  <c:v>45503</c:v>
                </c:pt>
                <c:pt idx="249">
                  <c:v>45504</c:v>
                </c:pt>
                <c:pt idx="250">
                  <c:v>45505</c:v>
                </c:pt>
                <c:pt idx="251">
                  <c:v>45506</c:v>
                </c:pt>
                <c:pt idx="252">
                  <c:v>45509</c:v>
                </c:pt>
                <c:pt idx="253">
                  <c:v>45510</c:v>
                </c:pt>
                <c:pt idx="254">
                  <c:v>45511</c:v>
                </c:pt>
                <c:pt idx="255">
                  <c:v>45512</c:v>
                </c:pt>
                <c:pt idx="256">
                  <c:v>45513</c:v>
                </c:pt>
                <c:pt idx="257">
                  <c:v>45516</c:v>
                </c:pt>
                <c:pt idx="258">
                  <c:v>45517</c:v>
                </c:pt>
                <c:pt idx="259">
                  <c:v>45518</c:v>
                </c:pt>
                <c:pt idx="260">
                  <c:v>45519</c:v>
                </c:pt>
                <c:pt idx="261">
                  <c:v>45520</c:v>
                </c:pt>
                <c:pt idx="262">
                  <c:v>45523</c:v>
                </c:pt>
                <c:pt idx="263">
                  <c:v>45524</c:v>
                </c:pt>
                <c:pt idx="264">
                  <c:v>45525</c:v>
                </c:pt>
                <c:pt idx="265">
                  <c:v>45526</c:v>
                </c:pt>
                <c:pt idx="266">
                  <c:v>45527</c:v>
                </c:pt>
                <c:pt idx="267">
                  <c:v>45530</c:v>
                </c:pt>
                <c:pt idx="268">
                  <c:v>45531</c:v>
                </c:pt>
                <c:pt idx="269">
                  <c:v>45532</c:v>
                </c:pt>
                <c:pt idx="270">
                  <c:v>45533</c:v>
                </c:pt>
                <c:pt idx="271">
                  <c:v>45534</c:v>
                </c:pt>
                <c:pt idx="272">
                  <c:v>45537</c:v>
                </c:pt>
                <c:pt idx="273">
                  <c:v>45538</c:v>
                </c:pt>
                <c:pt idx="274">
                  <c:v>45539</c:v>
                </c:pt>
                <c:pt idx="275">
                  <c:v>45540</c:v>
                </c:pt>
                <c:pt idx="276">
                  <c:v>45541</c:v>
                </c:pt>
                <c:pt idx="277">
                  <c:v>45544</c:v>
                </c:pt>
                <c:pt idx="278">
                  <c:v>45545</c:v>
                </c:pt>
                <c:pt idx="279">
                  <c:v>45546</c:v>
                </c:pt>
                <c:pt idx="280">
                  <c:v>45547</c:v>
                </c:pt>
                <c:pt idx="281">
                  <c:v>45548</c:v>
                </c:pt>
                <c:pt idx="282">
                  <c:v>45553</c:v>
                </c:pt>
                <c:pt idx="283">
                  <c:v>45554</c:v>
                </c:pt>
                <c:pt idx="284">
                  <c:v>45555</c:v>
                </c:pt>
                <c:pt idx="285">
                  <c:v>45558</c:v>
                </c:pt>
                <c:pt idx="286">
                  <c:v>45559</c:v>
                </c:pt>
                <c:pt idx="287">
                  <c:v>45560</c:v>
                </c:pt>
                <c:pt idx="288">
                  <c:v>45561</c:v>
                </c:pt>
                <c:pt idx="289">
                  <c:v>45562</c:v>
                </c:pt>
                <c:pt idx="290">
                  <c:v>45565</c:v>
                </c:pt>
                <c:pt idx="291">
                  <c:v>45573</c:v>
                </c:pt>
                <c:pt idx="292">
                  <c:v>45574</c:v>
                </c:pt>
                <c:pt idx="293">
                  <c:v>45575</c:v>
                </c:pt>
                <c:pt idx="294">
                  <c:v>45576</c:v>
                </c:pt>
                <c:pt idx="295">
                  <c:v>45579</c:v>
                </c:pt>
                <c:pt idx="296">
                  <c:v>45580</c:v>
                </c:pt>
                <c:pt idx="297">
                  <c:v>45581</c:v>
                </c:pt>
                <c:pt idx="298">
                  <c:v>45582</c:v>
                </c:pt>
                <c:pt idx="299">
                  <c:v>45583</c:v>
                </c:pt>
                <c:pt idx="300">
                  <c:v>45586</c:v>
                </c:pt>
                <c:pt idx="301">
                  <c:v>45587</c:v>
                </c:pt>
                <c:pt idx="302">
                  <c:v>45588</c:v>
                </c:pt>
                <c:pt idx="303">
                  <c:v>45589</c:v>
                </c:pt>
                <c:pt idx="304">
                  <c:v>45590</c:v>
                </c:pt>
                <c:pt idx="305">
                  <c:v>45593</c:v>
                </c:pt>
                <c:pt idx="306">
                  <c:v>45594</c:v>
                </c:pt>
                <c:pt idx="307">
                  <c:v>45595</c:v>
                </c:pt>
                <c:pt idx="308">
                  <c:v>45596</c:v>
                </c:pt>
                <c:pt idx="309">
                  <c:v>45597</c:v>
                </c:pt>
                <c:pt idx="310">
                  <c:v>45600</c:v>
                </c:pt>
                <c:pt idx="311">
                  <c:v>45601</c:v>
                </c:pt>
                <c:pt idx="312">
                  <c:v>45602</c:v>
                </c:pt>
                <c:pt idx="313">
                  <c:v>45603</c:v>
                </c:pt>
                <c:pt idx="314">
                  <c:v>45604</c:v>
                </c:pt>
                <c:pt idx="315">
                  <c:v>45607</c:v>
                </c:pt>
                <c:pt idx="316">
                  <c:v>45608</c:v>
                </c:pt>
                <c:pt idx="317">
                  <c:v>45609</c:v>
                </c:pt>
                <c:pt idx="318">
                  <c:v>45610</c:v>
                </c:pt>
                <c:pt idx="319">
                  <c:v>45611</c:v>
                </c:pt>
                <c:pt idx="320">
                  <c:v>45614</c:v>
                </c:pt>
                <c:pt idx="321">
                  <c:v>45615</c:v>
                </c:pt>
                <c:pt idx="322">
                  <c:v>45616</c:v>
                </c:pt>
                <c:pt idx="323">
                  <c:v>45617</c:v>
                </c:pt>
                <c:pt idx="324">
                  <c:v>45618</c:v>
                </c:pt>
                <c:pt idx="325">
                  <c:v>45621</c:v>
                </c:pt>
                <c:pt idx="326">
                  <c:v>45622</c:v>
                </c:pt>
                <c:pt idx="327">
                  <c:v>45623</c:v>
                </c:pt>
                <c:pt idx="328">
                  <c:v>45624</c:v>
                </c:pt>
                <c:pt idx="329">
                  <c:v>45625</c:v>
                </c:pt>
                <c:pt idx="330">
                  <c:v>45628</c:v>
                </c:pt>
                <c:pt idx="331">
                  <c:v>45629</c:v>
                </c:pt>
                <c:pt idx="332">
                  <c:v>45630</c:v>
                </c:pt>
                <c:pt idx="333">
                  <c:v>45631</c:v>
                </c:pt>
                <c:pt idx="334">
                  <c:v>45632</c:v>
                </c:pt>
                <c:pt idx="335">
                  <c:v>45635</c:v>
                </c:pt>
                <c:pt idx="336">
                  <c:v>45636</c:v>
                </c:pt>
                <c:pt idx="337">
                  <c:v>45637</c:v>
                </c:pt>
                <c:pt idx="338">
                  <c:v>45638</c:v>
                </c:pt>
                <c:pt idx="339">
                  <c:v>45639</c:v>
                </c:pt>
                <c:pt idx="340">
                  <c:v>45642</c:v>
                </c:pt>
                <c:pt idx="341">
                  <c:v>45643</c:v>
                </c:pt>
                <c:pt idx="342">
                  <c:v>45644</c:v>
                </c:pt>
                <c:pt idx="343">
                  <c:v>45645</c:v>
                </c:pt>
                <c:pt idx="344">
                  <c:v>45646</c:v>
                </c:pt>
                <c:pt idx="345">
                  <c:v>45649</c:v>
                </c:pt>
                <c:pt idx="346">
                  <c:v>45650</c:v>
                </c:pt>
                <c:pt idx="347">
                  <c:v>45651</c:v>
                </c:pt>
                <c:pt idx="348">
                  <c:v>45652</c:v>
                </c:pt>
                <c:pt idx="349">
                  <c:v>45653</c:v>
                </c:pt>
                <c:pt idx="350">
                  <c:v>45656</c:v>
                </c:pt>
                <c:pt idx="351">
                  <c:v>45657</c:v>
                </c:pt>
                <c:pt idx="352">
                  <c:v>45659</c:v>
                </c:pt>
                <c:pt idx="353">
                  <c:v>45660</c:v>
                </c:pt>
                <c:pt idx="354">
                  <c:v>45663</c:v>
                </c:pt>
                <c:pt idx="355">
                  <c:v>45664</c:v>
                </c:pt>
                <c:pt idx="356">
                  <c:v>45665</c:v>
                </c:pt>
                <c:pt idx="357">
                  <c:v>45666</c:v>
                </c:pt>
                <c:pt idx="358">
                  <c:v>45667</c:v>
                </c:pt>
                <c:pt idx="359">
                  <c:v>45670</c:v>
                </c:pt>
                <c:pt idx="360">
                  <c:v>45671</c:v>
                </c:pt>
                <c:pt idx="361">
                  <c:v>45672</c:v>
                </c:pt>
                <c:pt idx="362">
                  <c:v>45673</c:v>
                </c:pt>
                <c:pt idx="363">
                  <c:v>45674</c:v>
                </c:pt>
                <c:pt idx="364">
                  <c:v>45677</c:v>
                </c:pt>
                <c:pt idx="365">
                  <c:v>45678</c:v>
                </c:pt>
                <c:pt idx="366">
                  <c:v>45679</c:v>
                </c:pt>
                <c:pt idx="367">
                  <c:v>45680</c:v>
                </c:pt>
                <c:pt idx="368">
                  <c:v>45681</c:v>
                </c:pt>
                <c:pt idx="369">
                  <c:v>45684</c:v>
                </c:pt>
                <c:pt idx="370">
                  <c:v>45693</c:v>
                </c:pt>
                <c:pt idx="371">
                  <c:v>45694</c:v>
                </c:pt>
                <c:pt idx="372">
                  <c:v>45695</c:v>
                </c:pt>
                <c:pt idx="373">
                  <c:v>45698</c:v>
                </c:pt>
                <c:pt idx="374">
                  <c:v>45699</c:v>
                </c:pt>
                <c:pt idx="375">
                  <c:v>45700</c:v>
                </c:pt>
                <c:pt idx="376">
                  <c:v>45701</c:v>
                </c:pt>
                <c:pt idx="377">
                  <c:v>45702</c:v>
                </c:pt>
                <c:pt idx="378">
                  <c:v>45705</c:v>
                </c:pt>
                <c:pt idx="379">
                  <c:v>45706</c:v>
                </c:pt>
                <c:pt idx="380">
                  <c:v>45707</c:v>
                </c:pt>
                <c:pt idx="381">
                  <c:v>45708</c:v>
                </c:pt>
                <c:pt idx="382">
                  <c:v>45709</c:v>
                </c:pt>
                <c:pt idx="383">
                  <c:v>45712</c:v>
                </c:pt>
                <c:pt idx="384">
                  <c:v>45713</c:v>
                </c:pt>
                <c:pt idx="385">
                  <c:v>45714</c:v>
                </c:pt>
                <c:pt idx="386">
                  <c:v>45715</c:v>
                </c:pt>
                <c:pt idx="387">
                  <c:v>45716</c:v>
                </c:pt>
                <c:pt idx="388">
                  <c:v>45719</c:v>
                </c:pt>
                <c:pt idx="389">
                  <c:v>45720</c:v>
                </c:pt>
                <c:pt idx="390">
                  <c:v>45721</c:v>
                </c:pt>
                <c:pt idx="391">
                  <c:v>45722</c:v>
                </c:pt>
                <c:pt idx="392">
                  <c:v>45723</c:v>
                </c:pt>
                <c:pt idx="393">
                  <c:v>45726</c:v>
                </c:pt>
                <c:pt idx="394">
                  <c:v>45727</c:v>
                </c:pt>
                <c:pt idx="395">
                  <c:v>45728</c:v>
                </c:pt>
                <c:pt idx="396">
                  <c:v>45729</c:v>
                </c:pt>
                <c:pt idx="397">
                  <c:v>45730</c:v>
                </c:pt>
                <c:pt idx="398">
                  <c:v>45733</c:v>
                </c:pt>
                <c:pt idx="399">
                  <c:v>45734</c:v>
                </c:pt>
                <c:pt idx="400">
                  <c:v>45735</c:v>
                </c:pt>
                <c:pt idx="401">
                  <c:v>45736</c:v>
                </c:pt>
                <c:pt idx="402">
                  <c:v>45737</c:v>
                </c:pt>
                <c:pt idx="403">
                  <c:v>45740</c:v>
                </c:pt>
                <c:pt idx="404">
                  <c:v>45741</c:v>
                </c:pt>
                <c:pt idx="405">
                  <c:v>45742</c:v>
                </c:pt>
                <c:pt idx="406">
                  <c:v>45743</c:v>
                </c:pt>
                <c:pt idx="407">
                  <c:v>45744</c:v>
                </c:pt>
                <c:pt idx="408">
                  <c:v>45747</c:v>
                </c:pt>
                <c:pt idx="409">
                  <c:v>45748</c:v>
                </c:pt>
                <c:pt idx="410">
                  <c:v>45749</c:v>
                </c:pt>
                <c:pt idx="411">
                  <c:v>45750</c:v>
                </c:pt>
                <c:pt idx="412">
                  <c:v>45754</c:v>
                </c:pt>
                <c:pt idx="413">
                  <c:v>45755</c:v>
                </c:pt>
                <c:pt idx="414">
                  <c:v>45756</c:v>
                </c:pt>
                <c:pt idx="415">
                  <c:v>45757</c:v>
                </c:pt>
                <c:pt idx="416">
                  <c:v>45758</c:v>
                </c:pt>
                <c:pt idx="417">
                  <c:v>45761</c:v>
                </c:pt>
                <c:pt idx="418">
                  <c:v>45762</c:v>
                </c:pt>
                <c:pt idx="419">
                  <c:v>45763</c:v>
                </c:pt>
                <c:pt idx="420">
                  <c:v>45764</c:v>
                </c:pt>
                <c:pt idx="421">
                  <c:v>45765</c:v>
                </c:pt>
                <c:pt idx="422">
                  <c:v>45768</c:v>
                </c:pt>
                <c:pt idx="423">
                  <c:v>45769</c:v>
                </c:pt>
                <c:pt idx="424">
                  <c:v>45770</c:v>
                </c:pt>
                <c:pt idx="425">
                  <c:v>45771</c:v>
                </c:pt>
                <c:pt idx="426">
                  <c:v>45772</c:v>
                </c:pt>
                <c:pt idx="427">
                  <c:v>45775</c:v>
                </c:pt>
                <c:pt idx="428">
                  <c:v>45776</c:v>
                </c:pt>
                <c:pt idx="429">
                  <c:v>45777</c:v>
                </c:pt>
                <c:pt idx="430">
                  <c:v>45783</c:v>
                </c:pt>
                <c:pt idx="431">
                  <c:v>45784</c:v>
                </c:pt>
                <c:pt idx="432">
                  <c:v>45785</c:v>
                </c:pt>
                <c:pt idx="433">
                  <c:v>45786</c:v>
                </c:pt>
                <c:pt idx="434">
                  <c:v>45789</c:v>
                </c:pt>
                <c:pt idx="435">
                  <c:v>45790</c:v>
                </c:pt>
                <c:pt idx="436">
                  <c:v>45791</c:v>
                </c:pt>
                <c:pt idx="437">
                  <c:v>45792</c:v>
                </c:pt>
                <c:pt idx="438">
                  <c:v>45793</c:v>
                </c:pt>
                <c:pt idx="439">
                  <c:v>45796</c:v>
                </c:pt>
                <c:pt idx="440">
                  <c:v>45797</c:v>
                </c:pt>
                <c:pt idx="441">
                  <c:v>45798</c:v>
                </c:pt>
                <c:pt idx="442">
                  <c:v>45799</c:v>
                </c:pt>
                <c:pt idx="443">
                  <c:v>45800</c:v>
                </c:pt>
                <c:pt idx="444">
                  <c:v>45803</c:v>
                </c:pt>
                <c:pt idx="445">
                  <c:v>45804</c:v>
                </c:pt>
                <c:pt idx="446">
                  <c:v>45805</c:v>
                </c:pt>
                <c:pt idx="447">
                  <c:v>45806</c:v>
                </c:pt>
                <c:pt idx="448">
                  <c:v>45807</c:v>
                </c:pt>
                <c:pt idx="449">
                  <c:v>45811</c:v>
                </c:pt>
                <c:pt idx="450">
                  <c:v>45812</c:v>
                </c:pt>
                <c:pt idx="451">
                  <c:v>45813</c:v>
                </c:pt>
                <c:pt idx="452">
                  <c:v>45814</c:v>
                </c:pt>
                <c:pt idx="453">
                  <c:v>45817</c:v>
                </c:pt>
                <c:pt idx="454">
                  <c:v>45818</c:v>
                </c:pt>
                <c:pt idx="455">
                  <c:v>45819</c:v>
                </c:pt>
                <c:pt idx="456">
                  <c:v>45820</c:v>
                </c:pt>
                <c:pt idx="457">
                  <c:v>45821</c:v>
                </c:pt>
                <c:pt idx="458">
                  <c:v>45824</c:v>
                </c:pt>
                <c:pt idx="459">
                  <c:v>45825</c:v>
                </c:pt>
                <c:pt idx="460">
                  <c:v>45826</c:v>
                </c:pt>
                <c:pt idx="461">
                  <c:v>45827</c:v>
                </c:pt>
                <c:pt idx="462">
                  <c:v>45828</c:v>
                </c:pt>
                <c:pt idx="463">
                  <c:v>45831</c:v>
                </c:pt>
                <c:pt idx="464">
                  <c:v>45832</c:v>
                </c:pt>
                <c:pt idx="465">
                  <c:v>45833</c:v>
                </c:pt>
                <c:pt idx="466">
                  <c:v>45834</c:v>
                </c:pt>
                <c:pt idx="467">
                  <c:v>45835</c:v>
                </c:pt>
                <c:pt idx="468">
                  <c:v>45838</c:v>
                </c:pt>
                <c:pt idx="469">
                  <c:v>45839</c:v>
                </c:pt>
                <c:pt idx="470">
                  <c:v>45840</c:v>
                </c:pt>
                <c:pt idx="471">
                  <c:v>45841</c:v>
                </c:pt>
                <c:pt idx="472">
                  <c:v>45842</c:v>
                </c:pt>
                <c:pt idx="473">
                  <c:v>45845</c:v>
                </c:pt>
                <c:pt idx="474">
                  <c:v>45846</c:v>
                </c:pt>
                <c:pt idx="475">
                  <c:v>45847</c:v>
                </c:pt>
                <c:pt idx="476">
                  <c:v>45848</c:v>
                </c:pt>
                <c:pt idx="477">
                  <c:v>45849</c:v>
                </c:pt>
                <c:pt idx="478">
                  <c:v>45852</c:v>
                </c:pt>
                <c:pt idx="479">
                  <c:v>45853</c:v>
                </c:pt>
                <c:pt idx="480">
                  <c:v>45854</c:v>
                </c:pt>
                <c:pt idx="481">
                  <c:v>45855</c:v>
                </c:pt>
                <c:pt idx="482">
                  <c:v>45856</c:v>
                </c:pt>
                <c:pt idx="483">
                  <c:v>45859</c:v>
                </c:pt>
                <c:pt idx="484">
                  <c:v>45860</c:v>
                </c:pt>
                <c:pt idx="485">
                  <c:v>45861</c:v>
                </c:pt>
                <c:pt idx="486">
                  <c:v>45862</c:v>
                </c:pt>
                <c:pt idx="487">
                  <c:v>45863</c:v>
                </c:pt>
                <c:pt idx="488">
                  <c:v>45866</c:v>
                </c:pt>
                <c:pt idx="489">
                  <c:v>45867</c:v>
                </c:pt>
                <c:pt idx="490">
                  <c:v>45868</c:v>
                </c:pt>
                <c:pt idx="491">
                  <c:v>45869</c:v>
                </c:pt>
                <c:pt idx="492">
                  <c:v>45870</c:v>
                </c:pt>
                <c:pt idx="493">
                  <c:v>45873</c:v>
                </c:pt>
                <c:pt idx="494">
                  <c:v>45874</c:v>
                </c:pt>
                <c:pt idx="495">
                  <c:v>45875</c:v>
                </c:pt>
                <c:pt idx="496">
                  <c:v>45876</c:v>
                </c:pt>
                <c:pt idx="497">
                  <c:v>45877</c:v>
                </c:pt>
                <c:pt idx="498">
                  <c:v>45880</c:v>
                </c:pt>
                <c:pt idx="499">
                  <c:v>45881</c:v>
                </c:pt>
                <c:pt idx="500">
                  <c:v>45882</c:v>
                </c:pt>
                <c:pt idx="501">
                  <c:v>45883</c:v>
                </c:pt>
                <c:pt idx="502">
                  <c:v>45884</c:v>
                </c:pt>
                <c:pt idx="503">
                  <c:v>45887</c:v>
                </c:pt>
                <c:pt idx="504">
                  <c:v>45888</c:v>
                </c:pt>
                <c:pt idx="505">
                  <c:v>45889</c:v>
                </c:pt>
                <c:pt idx="506">
                  <c:v>45890</c:v>
                </c:pt>
                <c:pt idx="507">
                  <c:v>45891</c:v>
                </c:pt>
                <c:pt idx="508">
                  <c:v>45894</c:v>
                </c:pt>
                <c:pt idx="509">
                  <c:v>45895</c:v>
                </c:pt>
                <c:pt idx="510">
                  <c:v>45896</c:v>
                </c:pt>
                <c:pt idx="511">
                  <c:v>45897</c:v>
                </c:pt>
                <c:pt idx="512">
                  <c:v>45898</c:v>
                </c:pt>
                <c:pt idx="513">
                  <c:v>45901</c:v>
                </c:pt>
                <c:pt idx="514">
                  <c:v>45902</c:v>
                </c:pt>
                <c:pt idx="515">
                  <c:v>45903</c:v>
                </c:pt>
                <c:pt idx="516">
                  <c:v>45904</c:v>
                </c:pt>
                <c:pt idx="517">
                  <c:v>45905</c:v>
                </c:pt>
                <c:pt idx="518">
                  <c:v>45908</c:v>
                </c:pt>
                <c:pt idx="519">
                  <c:v>45909</c:v>
                </c:pt>
                <c:pt idx="520">
                  <c:v>45910</c:v>
                </c:pt>
                <c:pt idx="521">
                  <c:v>45911</c:v>
                </c:pt>
                <c:pt idx="522">
                  <c:v>45912</c:v>
                </c:pt>
                <c:pt idx="523">
                  <c:v>45915</c:v>
                </c:pt>
                <c:pt idx="524">
                  <c:v>45916</c:v>
                </c:pt>
                <c:pt idx="525">
                  <c:v>45917</c:v>
                </c:pt>
                <c:pt idx="526">
                  <c:v>45918</c:v>
                </c:pt>
                <c:pt idx="527">
                  <c:v>45919</c:v>
                </c:pt>
                <c:pt idx="528">
                  <c:v>45922</c:v>
                </c:pt>
                <c:pt idx="529">
                  <c:v>45923</c:v>
                </c:pt>
                <c:pt idx="530">
                  <c:v>45924</c:v>
                </c:pt>
                <c:pt idx="531">
                  <c:v>45925</c:v>
                </c:pt>
                <c:pt idx="532">
                  <c:v>45926</c:v>
                </c:pt>
                <c:pt idx="533">
                  <c:v>45929</c:v>
                </c:pt>
                <c:pt idx="534">
                  <c:v>45930</c:v>
                </c:pt>
                <c:pt idx="535">
                  <c:v>45931</c:v>
                </c:pt>
                <c:pt idx="536">
                  <c:v>45932</c:v>
                </c:pt>
                <c:pt idx="537">
                  <c:v>45933</c:v>
                </c:pt>
                <c:pt idx="538">
                  <c:v>45936</c:v>
                </c:pt>
                <c:pt idx="539">
                  <c:v>45937</c:v>
                </c:pt>
                <c:pt idx="540">
                  <c:v>45938</c:v>
                </c:pt>
                <c:pt idx="541">
                  <c:v>45939</c:v>
                </c:pt>
                <c:pt idx="542">
                  <c:v>45940</c:v>
                </c:pt>
                <c:pt idx="543">
                  <c:v>45943</c:v>
                </c:pt>
                <c:pt idx="544">
                  <c:v>45944</c:v>
                </c:pt>
                <c:pt idx="545">
                  <c:v>45945</c:v>
                </c:pt>
                <c:pt idx="546">
                  <c:v>45946</c:v>
                </c:pt>
                <c:pt idx="547">
                  <c:v>45947</c:v>
                </c:pt>
                <c:pt idx="548">
                  <c:v>45950</c:v>
                </c:pt>
                <c:pt idx="549">
                  <c:v>45951</c:v>
                </c:pt>
                <c:pt idx="550">
                  <c:v>45952</c:v>
                </c:pt>
                <c:pt idx="551">
                  <c:v>45953</c:v>
                </c:pt>
                <c:pt idx="552">
                  <c:v>45954</c:v>
                </c:pt>
                <c:pt idx="553">
                  <c:v>45957</c:v>
                </c:pt>
                <c:pt idx="554">
                  <c:v>45958</c:v>
                </c:pt>
                <c:pt idx="555">
                  <c:v>45959</c:v>
                </c:pt>
                <c:pt idx="556">
                  <c:v>45960</c:v>
                </c:pt>
                <c:pt idx="557">
                  <c:v>45961</c:v>
                </c:pt>
                <c:pt idx="558">
                  <c:v>45964</c:v>
                </c:pt>
                <c:pt idx="559">
                  <c:v>45965</c:v>
                </c:pt>
                <c:pt idx="560">
                  <c:v>45966</c:v>
                </c:pt>
                <c:pt idx="561">
                  <c:v>45967</c:v>
                </c:pt>
                <c:pt idx="562">
                  <c:v>45968</c:v>
                </c:pt>
                <c:pt idx="563">
                  <c:v>45971</c:v>
                </c:pt>
                <c:pt idx="564">
                  <c:v>45972</c:v>
                </c:pt>
                <c:pt idx="565">
                  <c:v>45973</c:v>
                </c:pt>
                <c:pt idx="566">
                  <c:v>45974</c:v>
                </c:pt>
                <c:pt idx="567">
                  <c:v>45975</c:v>
                </c:pt>
                <c:pt idx="568">
                  <c:v>45978</c:v>
                </c:pt>
                <c:pt idx="569">
                  <c:v>45979</c:v>
                </c:pt>
                <c:pt idx="570">
                  <c:v>45980</c:v>
                </c:pt>
                <c:pt idx="571">
                  <c:v>45981</c:v>
                </c:pt>
                <c:pt idx="572">
                  <c:v>45982</c:v>
                </c:pt>
                <c:pt idx="573">
                  <c:v>45985</c:v>
                </c:pt>
                <c:pt idx="574">
                  <c:v>45986</c:v>
                </c:pt>
                <c:pt idx="575">
                  <c:v>45987</c:v>
                </c:pt>
                <c:pt idx="576">
                  <c:v>45988</c:v>
                </c:pt>
                <c:pt idx="577">
                  <c:v>45989</c:v>
                </c:pt>
                <c:pt idx="578">
                  <c:v>45992</c:v>
                </c:pt>
                <c:pt idx="579">
                  <c:v>45993</c:v>
                </c:pt>
                <c:pt idx="580">
                  <c:v>45994</c:v>
                </c:pt>
                <c:pt idx="581">
                  <c:v>45995</c:v>
                </c:pt>
                <c:pt idx="582">
                  <c:v>45996</c:v>
                </c:pt>
                <c:pt idx="583">
                  <c:v>45999</c:v>
                </c:pt>
                <c:pt idx="584">
                  <c:v>46000</c:v>
                </c:pt>
                <c:pt idx="585">
                  <c:v>46001</c:v>
                </c:pt>
                <c:pt idx="586">
                  <c:v>46002</c:v>
                </c:pt>
                <c:pt idx="587">
                  <c:v>46003</c:v>
                </c:pt>
                <c:pt idx="588">
                  <c:v>46006</c:v>
                </c:pt>
                <c:pt idx="589">
                  <c:v>46007</c:v>
                </c:pt>
                <c:pt idx="590">
                  <c:v>46008</c:v>
                </c:pt>
                <c:pt idx="591">
                  <c:v>46009</c:v>
                </c:pt>
                <c:pt idx="592">
                  <c:v>46010</c:v>
                </c:pt>
                <c:pt idx="593">
                  <c:v>46013</c:v>
                </c:pt>
                <c:pt idx="594">
                  <c:v>46014</c:v>
                </c:pt>
                <c:pt idx="595">
                  <c:v>46015</c:v>
                </c:pt>
                <c:pt idx="596">
                  <c:v>46016</c:v>
                </c:pt>
                <c:pt idx="597">
                  <c:v>46017</c:v>
                </c:pt>
                <c:pt idx="598">
                  <c:v>46020</c:v>
                </c:pt>
                <c:pt idx="599">
                  <c:v>46021</c:v>
                </c:pt>
                <c:pt idx="600">
                  <c:v>46022</c:v>
                </c:pt>
                <c:pt idx="601">
                  <c:v>46023</c:v>
                </c:pt>
                <c:pt idx="602">
                  <c:v>46024</c:v>
                </c:pt>
                <c:pt idx="603">
                  <c:v>46027</c:v>
                </c:pt>
                <c:pt idx="604">
                  <c:v>46028</c:v>
                </c:pt>
                <c:pt idx="605">
                  <c:v>46029</c:v>
                </c:pt>
                <c:pt idx="606">
                  <c:v>46030</c:v>
                </c:pt>
                <c:pt idx="607">
                  <c:v>46031</c:v>
                </c:pt>
                <c:pt idx="608">
                  <c:v>46034</c:v>
                </c:pt>
                <c:pt idx="609">
                  <c:v>46035</c:v>
                </c:pt>
                <c:pt idx="610">
                  <c:v>46036</c:v>
                </c:pt>
                <c:pt idx="611">
                  <c:v>46037</c:v>
                </c:pt>
                <c:pt idx="612">
                  <c:v>46038</c:v>
                </c:pt>
                <c:pt idx="613">
                  <c:v>46041</c:v>
                </c:pt>
                <c:pt idx="614">
                  <c:v>46042</c:v>
                </c:pt>
                <c:pt idx="615">
                  <c:v>46043</c:v>
                </c:pt>
                <c:pt idx="616">
                  <c:v>46044</c:v>
                </c:pt>
                <c:pt idx="617">
                  <c:v>46045</c:v>
                </c:pt>
                <c:pt idx="618">
                  <c:v>46048</c:v>
                </c:pt>
                <c:pt idx="619">
                  <c:v>46049</c:v>
                </c:pt>
                <c:pt idx="620">
                  <c:v>46050</c:v>
                </c:pt>
                <c:pt idx="621">
                  <c:v>46051</c:v>
                </c:pt>
                <c:pt idx="622">
                  <c:v>46052</c:v>
                </c:pt>
                <c:pt idx="623">
                  <c:v>46055</c:v>
                </c:pt>
                <c:pt idx="624">
                  <c:v>46056</c:v>
                </c:pt>
                <c:pt idx="625">
                  <c:v>46057</c:v>
                </c:pt>
                <c:pt idx="626">
                  <c:v>46058</c:v>
                </c:pt>
                <c:pt idx="627">
                  <c:v>46059</c:v>
                </c:pt>
                <c:pt idx="628">
                  <c:v>46062</c:v>
                </c:pt>
                <c:pt idx="629">
                  <c:v>46063</c:v>
                </c:pt>
                <c:pt idx="630">
                  <c:v>46064</c:v>
                </c:pt>
                <c:pt idx="631">
                  <c:v>46065</c:v>
                </c:pt>
                <c:pt idx="632">
                  <c:v>46066</c:v>
                </c:pt>
                <c:pt idx="633">
                  <c:v>46069</c:v>
                </c:pt>
                <c:pt idx="634">
                  <c:v>46070</c:v>
                </c:pt>
                <c:pt idx="635">
                  <c:v>46071</c:v>
                </c:pt>
                <c:pt idx="636">
                  <c:v>46072</c:v>
                </c:pt>
                <c:pt idx="637">
                  <c:v>46073</c:v>
                </c:pt>
                <c:pt idx="638">
                  <c:v>46076</c:v>
                </c:pt>
                <c:pt idx="639">
                  <c:v>46077</c:v>
                </c:pt>
                <c:pt idx="640">
                  <c:v>46078</c:v>
                </c:pt>
                <c:pt idx="641">
                  <c:v>46079</c:v>
                </c:pt>
                <c:pt idx="642">
                  <c:v>46080</c:v>
                </c:pt>
                <c:pt idx="643">
                  <c:v>46083</c:v>
                </c:pt>
                <c:pt idx="644">
                  <c:v>46084</c:v>
                </c:pt>
                <c:pt idx="645">
                  <c:v>46085</c:v>
                </c:pt>
                <c:pt idx="646">
                  <c:v>46086</c:v>
                </c:pt>
                <c:pt idx="647">
                  <c:v>46087</c:v>
                </c:pt>
                <c:pt idx="648">
                  <c:v>46090</c:v>
                </c:pt>
                <c:pt idx="649">
                  <c:v>46091</c:v>
                </c:pt>
                <c:pt idx="650">
                  <c:v>46092</c:v>
                </c:pt>
                <c:pt idx="651">
                  <c:v>46093</c:v>
                </c:pt>
                <c:pt idx="652">
                  <c:v>46094</c:v>
                </c:pt>
                <c:pt idx="653">
                  <c:v>46097</c:v>
                </c:pt>
                <c:pt idx="654">
                  <c:v>46098</c:v>
                </c:pt>
                <c:pt idx="655">
                  <c:v>46099</c:v>
                </c:pt>
                <c:pt idx="656">
                  <c:v>46100</c:v>
                </c:pt>
                <c:pt idx="657">
                  <c:v>46101</c:v>
                </c:pt>
                <c:pt idx="658">
                  <c:v>46104</c:v>
                </c:pt>
                <c:pt idx="659">
                  <c:v>46105</c:v>
                </c:pt>
                <c:pt idx="660">
                  <c:v>46106</c:v>
                </c:pt>
                <c:pt idx="661">
                  <c:v>46107</c:v>
                </c:pt>
                <c:pt idx="662">
                  <c:v>46108</c:v>
                </c:pt>
                <c:pt idx="663">
                  <c:v>46111</c:v>
                </c:pt>
                <c:pt idx="664">
                  <c:v>46112</c:v>
                </c:pt>
                <c:pt idx="665">
                  <c:v>46113</c:v>
                </c:pt>
                <c:pt idx="666">
                  <c:v>46114</c:v>
                </c:pt>
                <c:pt idx="667">
                  <c:v>46115</c:v>
                </c:pt>
                <c:pt idx="668">
                  <c:v>46118</c:v>
                </c:pt>
                <c:pt idx="669">
                  <c:v>46119</c:v>
                </c:pt>
                <c:pt idx="670">
                  <c:v>46120</c:v>
                </c:pt>
                <c:pt idx="671">
                  <c:v>46121</c:v>
                </c:pt>
                <c:pt idx="672">
                  <c:v>46122</c:v>
                </c:pt>
                <c:pt idx="673">
                  <c:v>46125</c:v>
                </c:pt>
                <c:pt idx="674">
                  <c:v>46126</c:v>
                </c:pt>
                <c:pt idx="675">
                  <c:v>46127</c:v>
                </c:pt>
                <c:pt idx="676">
                  <c:v>46128</c:v>
                </c:pt>
                <c:pt idx="677">
                  <c:v>46129</c:v>
                </c:pt>
                <c:pt idx="678">
                  <c:v>46132</c:v>
                </c:pt>
                <c:pt idx="679">
                  <c:v>46133</c:v>
                </c:pt>
                <c:pt idx="680">
                  <c:v>46134</c:v>
                </c:pt>
                <c:pt idx="681">
                  <c:v>46135</c:v>
                </c:pt>
                <c:pt idx="682">
                  <c:v>46136</c:v>
                </c:pt>
                <c:pt idx="683">
                  <c:v>46139</c:v>
                </c:pt>
                <c:pt idx="684">
                  <c:v>46140</c:v>
                </c:pt>
                <c:pt idx="685">
                  <c:v>46141</c:v>
                </c:pt>
                <c:pt idx="686">
                  <c:v>46142</c:v>
                </c:pt>
                <c:pt idx="687">
                  <c:v>46143</c:v>
                </c:pt>
                <c:pt idx="688">
                  <c:v>46146</c:v>
                </c:pt>
                <c:pt idx="689">
                  <c:v>46147</c:v>
                </c:pt>
                <c:pt idx="690">
                  <c:v>46148</c:v>
                </c:pt>
                <c:pt idx="691">
                  <c:v>46149</c:v>
                </c:pt>
                <c:pt idx="692">
                  <c:v>46150</c:v>
                </c:pt>
                <c:pt idx="693">
                  <c:v>46153</c:v>
                </c:pt>
                <c:pt idx="694">
                  <c:v>46154</c:v>
                </c:pt>
                <c:pt idx="695">
                  <c:v>46155</c:v>
                </c:pt>
                <c:pt idx="696">
                  <c:v>46156</c:v>
                </c:pt>
                <c:pt idx="697">
                  <c:v>46157</c:v>
                </c:pt>
                <c:pt idx="698">
                  <c:v>46160</c:v>
                </c:pt>
                <c:pt idx="699">
                  <c:v>46161</c:v>
                </c:pt>
                <c:pt idx="700">
                  <c:v>46162</c:v>
                </c:pt>
                <c:pt idx="701">
                  <c:v>46163</c:v>
                </c:pt>
                <c:pt idx="702">
                  <c:v>46164</c:v>
                </c:pt>
                <c:pt idx="703">
                  <c:v>46167</c:v>
                </c:pt>
                <c:pt idx="704">
                  <c:v>46168</c:v>
                </c:pt>
                <c:pt idx="705">
                  <c:v>46169</c:v>
                </c:pt>
                <c:pt idx="706">
                  <c:v>46170</c:v>
                </c:pt>
                <c:pt idx="707">
                  <c:v>46171</c:v>
                </c:pt>
                <c:pt idx="708">
                  <c:v>46174</c:v>
                </c:pt>
                <c:pt idx="709">
                  <c:v>46175</c:v>
                </c:pt>
                <c:pt idx="710">
                  <c:v>46176</c:v>
                </c:pt>
                <c:pt idx="711">
                  <c:v>46177</c:v>
                </c:pt>
                <c:pt idx="712">
                  <c:v>46178</c:v>
                </c:pt>
                <c:pt idx="713">
                  <c:v>46181</c:v>
                </c:pt>
                <c:pt idx="714">
                  <c:v>46182</c:v>
                </c:pt>
                <c:pt idx="715">
                  <c:v>46183</c:v>
                </c:pt>
                <c:pt idx="716">
                  <c:v>46184</c:v>
                </c:pt>
                <c:pt idx="717">
                  <c:v>46185</c:v>
                </c:pt>
                <c:pt idx="718">
                  <c:v>46188</c:v>
                </c:pt>
                <c:pt idx="719">
                  <c:v>46189</c:v>
                </c:pt>
                <c:pt idx="720">
                  <c:v>46190</c:v>
                </c:pt>
                <c:pt idx="721">
                  <c:v>46191</c:v>
                </c:pt>
                <c:pt idx="722">
                  <c:v>46192</c:v>
                </c:pt>
                <c:pt idx="723">
                  <c:v>46195</c:v>
                </c:pt>
                <c:pt idx="724">
                  <c:v>46196</c:v>
                </c:pt>
                <c:pt idx="725">
                  <c:v>46197</c:v>
                </c:pt>
                <c:pt idx="726">
                  <c:v>46198</c:v>
                </c:pt>
                <c:pt idx="727">
                  <c:v>46199</c:v>
                </c:pt>
                <c:pt idx="728">
                  <c:v>46202</c:v>
                </c:pt>
                <c:pt idx="729">
                  <c:v>46203</c:v>
                </c:pt>
                <c:pt idx="730">
                  <c:v>46204</c:v>
                </c:pt>
                <c:pt idx="731">
                  <c:v>46205</c:v>
                </c:pt>
                <c:pt idx="732">
                  <c:v>46206</c:v>
                </c:pt>
                <c:pt idx="733">
                  <c:v>46209</c:v>
                </c:pt>
                <c:pt idx="734">
                  <c:v>46210</c:v>
                </c:pt>
                <c:pt idx="735">
                  <c:v>46211</c:v>
                </c:pt>
                <c:pt idx="736">
                  <c:v>46212</c:v>
                </c:pt>
                <c:pt idx="737">
                  <c:v>46213</c:v>
                </c:pt>
                <c:pt idx="738">
                  <c:v>46216</c:v>
                </c:pt>
                <c:pt idx="739">
                  <c:v>46217</c:v>
                </c:pt>
                <c:pt idx="740">
                  <c:v>46218</c:v>
                </c:pt>
                <c:pt idx="741">
                  <c:v>46219</c:v>
                </c:pt>
                <c:pt idx="742">
                  <c:v>46220</c:v>
                </c:pt>
                <c:pt idx="743">
                  <c:v>46223</c:v>
                </c:pt>
                <c:pt idx="744">
                  <c:v>46224</c:v>
                </c:pt>
                <c:pt idx="745">
                  <c:v>46225</c:v>
                </c:pt>
                <c:pt idx="746">
                  <c:v>46226</c:v>
                </c:pt>
                <c:pt idx="747">
                  <c:v>46227</c:v>
                </c:pt>
                <c:pt idx="748">
                  <c:v>46230</c:v>
                </c:pt>
                <c:pt idx="749">
                  <c:v>46231</c:v>
                </c:pt>
                <c:pt idx="750">
                  <c:v>46232</c:v>
                </c:pt>
                <c:pt idx="751">
                  <c:v>46233</c:v>
                </c:pt>
                <c:pt idx="752">
                  <c:v>46234</c:v>
                </c:pt>
                <c:pt idx="753">
                  <c:v>46237</c:v>
                </c:pt>
                <c:pt idx="754">
                  <c:v>46238</c:v>
                </c:pt>
                <c:pt idx="755">
                  <c:v>46239</c:v>
                </c:pt>
                <c:pt idx="756">
                  <c:v>46240</c:v>
                </c:pt>
                <c:pt idx="757">
                  <c:v>46241</c:v>
                </c:pt>
                <c:pt idx="758">
                  <c:v>46244</c:v>
                </c:pt>
                <c:pt idx="759">
                  <c:v>46245</c:v>
                </c:pt>
                <c:pt idx="760">
                  <c:v>46246</c:v>
                </c:pt>
                <c:pt idx="761">
                  <c:v>46247</c:v>
                </c:pt>
                <c:pt idx="762">
                  <c:v>46248</c:v>
                </c:pt>
                <c:pt idx="763">
                  <c:v>46251</c:v>
                </c:pt>
                <c:pt idx="764">
                  <c:v>46252</c:v>
                </c:pt>
                <c:pt idx="765">
                  <c:v>46253</c:v>
                </c:pt>
                <c:pt idx="766">
                  <c:v>46254</c:v>
                </c:pt>
                <c:pt idx="767">
                  <c:v>46255</c:v>
                </c:pt>
                <c:pt idx="768">
                  <c:v>46258</c:v>
                </c:pt>
                <c:pt idx="769">
                  <c:v>46259</c:v>
                </c:pt>
                <c:pt idx="770">
                  <c:v>46260</c:v>
                </c:pt>
                <c:pt idx="771">
                  <c:v>46261</c:v>
                </c:pt>
                <c:pt idx="772">
                  <c:v>46262</c:v>
                </c:pt>
                <c:pt idx="773">
                  <c:v>46265</c:v>
                </c:pt>
                <c:pt idx="774">
                  <c:v>46266</c:v>
                </c:pt>
                <c:pt idx="775">
                  <c:v>46267</c:v>
                </c:pt>
                <c:pt idx="776">
                  <c:v>46268</c:v>
                </c:pt>
                <c:pt idx="777">
                  <c:v>46269</c:v>
                </c:pt>
                <c:pt idx="778">
                  <c:v>46272</c:v>
                </c:pt>
                <c:pt idx="779">
                  <c:v>46273</c:v>
                </c:pt>
                <c:pt idx="780">
                  <c:v>46274</c:v>
                </c:pt>
                <c:pt idx="781">
                  <c:v>46275</c:v>
                </c:pt>
                <c:pt idx="782">
                  <c:v>46276</c:v>
                </c:pt>
                <c:pt idx="783">
                  <c:v>46279</c:v>
                </c:pt>
                <c:pt idx="784">
                  <c:v>46280</c:v>
                </c:pt>
                <c:pt idx="785">
                  <c:v>46281</c:v>
                </c:pt>
                <c:pt idx="786">
                  <c:v>46282</c:v>
                </c:pt>
                <c:pt idx="787">
                  <c:v>46283</c:v>
                </c:pt>
                <c:pt idx="788">
                  <c:v>46286</c:v>
                </c:pt>
                <c:pt idx="789">
                  <c:v>46287</c:v>
                </c:pt>
                <c:pt idx="790">
                  <c:v>46288</c:v>
                </c:pt>
                <c:pt idx="791">
                  <c:v>46289</c:v>
                </c:pt>
                <c:pt idx="792">
                  <c:v>46290</c:v>
                </c:pt>
                <c:pt idx="793">
                  <c:v>46293</c:v>
                </c:pt>
                <c:pt idx="794">
                  <c:v>46294</c:v>
                </c:pt>
                <c:pt idx="795">
                  <c:v>46295</c:v>
                </c:pt>
                <c:pt idx="796">
                  <c:v>46296</c:v>
                </c:pt>
                <c:pt idx="797">
                  <c:v>46297</c:v>
                </c:pt>
                <c:pt idx="798">
                  <c:v>46300</c:v>
                </c:pt>
                <c:pt idx="799">
                  <c:v>46301</c:v>
                </c:pt>
                <c:pt idx="800">
                  <c:v>46302</c:v>
                </c:pt>
                <c:pt idx="801">
                  <c:v>46303</c:v>
                </c:pt>
                <c:pt idx="802">
                  <c:v>46304</c:v>
                </c:pt>
                <c:pt idx="803">
                  <c:v>46307</c:v>
                </c:pt>
                <c:pt idx="804">
                  <c:v>46308</c:v>
                </c:pt>
                <c:pt idx="805">
                  <c:v>46309</c:v>
                </c:pt>
                <c:pt idx="806">
                  <c:v>46310</c:v>
                </c:pt>
                <c:pt idx="807">
                  <c:v>46311</c:v>
                </c:pt>
                <c:pt idx="808">
                  <c:v>46314</c:v>
                </c:pt>
                <c:pt idx="809">
                  <c:v>46315</c:v>
                </c:pt>
                <c:pt idx="810">
                  <c:v>46316</c:v>
                </c:pt>
                <c:pt idx="811">
                  <c:v>46317</c:v>
                </c:pt>
                <c:pt idx="812">
                  <c:v>46318</c:v>
                </c:pt>
                <c:pt idx="813">
                  <c:v>46321</c:v>
                </c:pt>
                <c:pt idx="814">
                  <c:v>46322</c:v>
                </c:pt>
                <c:pt idx="815">
                  <c:v>46323</c:v>
                </c:pt>
                <c:pt idx="816">
                  <c:v>46324</c:v>
                </c:pt>
                <c:pt idx="817">
                  <c:v>46325</c:v>
                </c:pt>
                <c:pt idx="818">
                  <c:v>46328</c:v>
                </c:pt>
                <c:pt idx="819">
                  <c:v>46329</c:v>
                </c:pt>
                <c:pt idx="820">
                  <c:v>46330</c:v>
                </c:pt>
                <c:pt idx="821">
                  <c:v>46331</c:v>
                </c:pt>
                <c:pt idx="822">
                  <c:v>46332</c:v>
                </c:pt>
                <c:pt idx="823">
                  <c:v>46335</c:v>
                </c:pt>
                <c:pt idx="824">
                  <c:v>46336</c:v>
                </c:pt>
                <c:pt idx="825">
                  <c:v>46337</c:v>
                </c:pt>
                <c:pt idx="826">
                  <c:v>46338</c:v>
                </c:pt>
                <c:pt idx="827">
                  <c:v>46339</c:v>
                </c:pt>
                <c:pt idx="828">
                  <c:v>46342</c:v>
                </c:pt>
                <c:pt idx="829">
                  <c:v>46343</c:v>
                </c:pt>
                <c:pt idx="830">
                  <c:v>46344</c:v>
                </c:pt>
                <c:pt idx="831">
                  <c:v>46345</c:v>
                </c:pt>
                <c:pt idx="832">
                  <c:v>46346</c:v>
                </c:pt>
                <c:pt idx="833">
                  <c:v>46349</c:v>
                </c:pt>
                <c:pt idx="834">
                  <c:v>46350</c:v>
                </c:pt>
                <c:pt idx="835">
                  <c:v>46351</c:v>
                </c:pt>
                <c:pt idx="836">
                  <c:v>46352</c:v>
                </c:pt>
                <c:pt idx="837">
                  <c:v>46353</c:v>
                </c:pt>
                <c:pt idx="838">
                  <c:v>46356</c:v>
                </c:pt>
                <c:pt idx="839">
                  <c:v>46357</c:v>
                </c:pt>
                <c:pt idx="840">
                  <c:v>46358</c:v>
                </c:pt>
                <c:pt idx="841">
                  <c:v>46359</c:v>
                </c:pt>
                <c:pt idx="842">
                  <c:v>46360</c:v>
                </c:pt>
                <c:pt idx="843">
                  <c:v>46363</c:v>
                </c:pt>
                <c:pt idx="844">
                  <c:v>46364</c:v>
                </c:pt>
                <c:pt idx="845">
                  <c:v>46365</c:v>
                </c:pt>
                <c:pt idx="846">
                  <c:v>46366</c:v>
                </c:pt>
                <c:pt idx="847">
                  <c:v>46367</c:v>
                </c:pt>
                <c:pt idx="848">
                  <c:v>46370</c:v>
                </c:pt>
                <c:pt idx="849">
                  <c:v>46371</c:v>
                </c:pt>
                <c:pt idx="850">
                  <c:v>46372</c:v>
                </c:pt>
                <c:pt idx="851">
                  <c:v>46373</c:v>
                </c:pt>
                <c:pt idx="852">
                  <c:v>46374</c:v>
                </c:pt>
                <c:pt idx="853">
                  <c:v>46377</c:v>
                </c:pt>
                <c:pt idx="854">
                  <c:v>46378</c:v>
                </c:pt>
                <c:pt idx="855">
                  <c:v>46379</c:v>
                </c:pt>
                <c:pt idx="856">
                  <c:v>46380</c:v>
                </c:pt>
                <c:pt idx="857">
                  <c:v>46381</c:v>
                </c:pt>
                <c:pt idx="858">
                  <c:v>46384</c:v>
                </c:pt>
                <c:pt idx="859">
                  <c:v>46385</c:v>
                </c:pt>
                <c:pt idx="860">
                  <c:v>46386</c:v>
                </c:pt>
                <c:pt idx="861">
                  <c:v>46387</c:v>
                </c:pt>
                <c:pt idx="862">
                  <c:v>46388</c:v>
                </c:pt>
                <c:pt idx="863">
                  <c:v>46391</c:v>
                </c:pt>
                <c:pt idx="864">
                  <c:v>46392</c:v>
                </c:pt>
                <c:pt idx="865">
                  <c:v>46393</c:v>
                </c:pt>
                <c:pt idx="866">
                  <c:v>46394</c:v>
                </c:pt>
                <c:pt idx="867">
                  <c:v>46395</c:v>
                </c:pt>
                <c:pt idx="868">
                  <c:v>46398</c:v>
                </c:pt>
                <c:pt idx="869">
                  <c:v>46399</c:v>
                </c:pt>
                <c:pt idx="870">
                  <c:v>46400</c:v>
                </c:pt>
                <c:pt idx="871">
                  <c:v>46401</c:v>
                </c:pt>
                <c:pt idx="872">
                  <c:v>46402</c:v>
                </c:pt>
                <c:pt idx="873">
                  <c:v>46405</c:v>
                </c:pt>
                <c:pt idx="874">
                  <c:v>46406</c:v>
                </c:pt>
                <c:pt idx="875">
                  <c:v>46407</c:v>
                </c:pt>
                <c:pt idx="876">
                  <c:v>46408</c:v>
                </c:pt>
                <c:pt idx="877">
                  <c:v>46409</c:v>
                </c:pt>
                <c:pt idx="878">
                  <c:v>46412</c:v>
                </c:pt>
                <c:pt idx="879">
                  <c:v>46413</c:v>
                </c:pt>
                <c:pt idx="880">
                  <c:v>46414</c:v>
                </c:pt>
                <c:pt idx="881">
                  <c:v>46415</c:v>
                </c:pt>
                <c:pt idx="882">
                  <c:v>46416</c:v>
                </c:pt>
                <c:pt idx="883">
                  <c:v>46419</c:v>
                </c:pt>
                <c:pt idx="884">
                  <c:v>46420</c:v>
                </c:pt>
                <c:pt idx="885">
                  <c:v>46421</c:v>
                </c:pt>
                <c:pt idx="886">
                  <c:v>46422</c:v>
                </c:pt>
                <c:pt idx="887">
                  <c:v>46423</c:v>
                </c:pt>
                <c:pt idx="888">
                  <c:v>46426</c:v>
                </c:pt>
                <c:pt idx="889">
                  <c:v>46427</c:v>
                </c:pt>
                <c:pt idx="890">
                  <c:v>46428</c:v>
                </c:pt>
                <c:pt idx="891">
                  <c:v>46429</c:v>
                </c:pt>
                <c:pt idx="892">
                  <c:v>46430</c:v>
                </c:pt>
                <c:pt idx="893">
                  <c:v>46433</c:v>
                </c:pt>
                <c:pt idx="894">
                  <c:v>46434</c:v>
                </c:pt>
                <c:pt idx="895">
                  <c:v>46435</c:v>
                </c:pt>
                <c:pt idx="896">
                  <c:v>46436</c:v>
                </c:pt>
                <c:pt idx="897">
                  <c:v>46437</c:v>
                </c:pt>
                <c:pt idx="898">
                  <c:v>46440</c:v>
                </c:pt>
                <c:pt idx="899">
                  <c:v>46441</c:v>
                </c:pt>
                <c:pt idx="900">
                  <c:v>46442</c:v>
                </c:pt>
                <c:pt idx="901">
                  <c:v>46443</c:v>
                </c:pt>
                <c:pt idx="902">
                  <c:v>46444</c:v>
                </c:pt>
                <c:pt idx="903">
                  <c:v>46447</c:v>
                </c:pt>
                <c:pt idx="904">
                  <c:v>46448</c:v>
                </c:pt>
                <c:pt idx="905">
                  <c:v>46449</c:v>
                </c:pt>
                <c:pt idx="906">
                  <c:v>46450</c:v>
                </c:pt>
                <c:pt idx="907">
                  <c:v>46451</c:v>
                </c:pt>
                <c:pt idx="908">
                  <c:v>46454</c:v>
                </c:pt>
                <c:pt idx="909">
                  <c:v>46455</c:v>
                </c:pt>
                <c:pt idx="910">
                  <c:v>46456</c:v>
                </c:pt>
                <c:pt idx="911">
                  <c:v>46457</c:v>
                </c:pt>
                <c:pt idx="912">
                  <c:v>46458</c:v>
                </c:pt>
                <c:pt idx="913">
                  <c:v>46461</c:v>
                </c:pt>
                <c:pt idx="914">
                  <c:v>46462</c:v>
                </c:pt>
                <c:pt idx="915">
                  <c:v>46463</c:v>
                </c:pt>
                <c:pt idx="916">
                  <c:v>46464</c:v>
                </c:pt>
                <c:pt idx="917">
                  <c:v>46465</c:v>
                </c:pt>
                <c:pt idx="918">
                  <c:v>46468</c:v>
                </c:pt>
                <c:pt idx="919">
                  <c:v>46469</c:v>
                </c:pt>
                <c:pt idx="920">
                  <c:v>46470</c:v>
                </c:pt>
                <c:pt idx="921">
                  <c:v>46471</c:v>
                </c:pt>
                <c:pt idx="922">
                  <c:v>46472</c:v>
                </c:pt>
                <c:pt idx="923">
                  <c:v>46475</c:v>
                </c:pt>
                <c:pt idx="924">
                  <c:v>46476</c:v>
                </c:pt>
                <c:pt idx="925">
                  <c:v>46477</c:v>
                </c:pt>
                <c:pt idx="926">
                  <c:v>46478</c:v>
                </c:pt>
                <c:pt idx="927">
                  <c:v>46479</c:v>
                </c:pt>
                <c:pt idx="928">
                  <c:v>46482</c:v>
                </c:pt>
                <c:pt idx="929">
                  <c:v>46483</c:v>
                </c:pt>
                <c:pt idx="930">
                  <c:v>46484</c:v>
                </c:pt>
                <c:pt idx="931">
                  <c:v>46485</c:v>
                </c:pt>
                <c:pt idx="932">
                  <c:v>46486</c:v>
                </c:pt>
                <c:pt idx="933">
                  <c:v>46489</c:v>
                </c:pt>
                <c:pt idx="934">
                  <c:v>46490</c:v>
                </c:pt>
                <c:pt idx="935">
                  <c:v>46491</c:v>
                </c:pt>
                <c:pt idx="936">
                  <c:v>46492</c:v>
                </c:pt>
                <c:pt idx="937">
                  <c:v>46493</c:v>
                </c:pt>
                <c:pt idx="938">
                  <c:v>46496</c:v>
                </c:pt>
                <c:pt idx="939">
                  <c:v>46497</c:v>
                </c:pt>
                <c:pt idx="940">
                  <c:v>46498</c:v>
                </c:pt>
                <c:pt idx="941">
                  <c:v>46499</c:v>
                </c:pt>
                <c:pt idx="942">
                  <c:v>46500</c:v>
                </c:pt>
                <c:pt idx="943">
                  <c:v>46503</c:v>
                </c:pt>
                <c:pt idx="944">
                  <c:v>46504</c:v>
                </c:pt>
                <c:pt idx="945">
                  <c:v>46505</c:v>
                </c:pt>
                <c:pt idx="946">
                  <c:v>46506</c:v>
                </c:pt>
                <c:pt idx="947">
                  <c:v>46507</c:v>
                </c:pt>
                <c:pt idx="948">
                  <c:v>46510</c:v>
                </c:pt>
                <c:pt idx="949">
                  <c:v>46511</c:v>
                </c:pt>
                <c:pt idx="950">
                  <c:v>46512</c:v>
                </c:pt>
                <c:pt idx="951">
                  <c:v>46513</c:v>
                </c:pt>
                <c:pt idx="952">
                  <c:v>46514</c:v>
                </c:pt>
                <c:pt idx="953">
                  <c:v>46517</c:v>
                </c:pt>
                <c:pt idx="954">
                  <c:v>46518</c:v>
                </c:pt>
                <c:pt idx="955">
                  <c:v>46519</c:v>
                </c:pt>
                <c:pt idx="956">
                  <c:v>46520</c:v>
                </c:pt>
                <c:pt idx="957">
                  <c:v>46521</c:v>
                </c:pt>
                <c:pt idx="958">
                  <c:v>46524</c:v>
                </c:pt>
                <c:pt idx="959">
                  <c:v>46525</c:v>
                </c:pt>
                <c:pt idx="960">
                  <c:v>46526</c:v>
                </c:pt>
                <c:pt idx="961">
                  <c:v>46527</c:v>
                </c:pt>
                <c:pt idx="962">
                  <c:v>46528</c:v>
                </c:pt>
                <c:pt idx="963">
                  <c:v>46531</c:v>
                </c:pt>
                <c:pt idx="964">
                  <c:v>46532</c:v>
                </c:pt>
                <c:pt idx="965">
                  <c:v>46533</c:v>
                </c:pt>
                <c:pt idx="966">
                  <c:v>46534</c:v>
                </c:pt>
                <c:pt idx="967">
                  <c:v>46535</c:v>
                </c:pt>
                <c:pt idx="968">
                  <c:v>46538</c:v>
                </c:pt>
                <c:pt idx="969">
                  <c:v>46539</c:v>
                </c:pt>
                <c:pt idx="970">
                  <c:v>46540</c:v>
                </c:pt>
                <c:pt idx="971">
                  <c:v>46541</c:v>
                </c:pt>
                <c:pt idx="972">
                  <c:v>46542</c:v>
                </c:pt>
                <c:pt idx="973">
                  <c:v>46545</c:v>
                </c:pt>
                <c:pt idx="974">
                  <c:v>46546</c:v>
                </c:pt>
                <c:pt idx="975">
                  <c:v>46547</c:v>
                </c:pt>
                <c:pt idx="976">
                  <c:v>46548</c:v>
                </c:pt>
                <c:pt idx="977">
                  <c:v>46549</c:v>
                </c:pt>
                <c:pt idx="978">
                  <c:v>46552</c:v>
                </c:pt>
                <c:pt idx="979">
                  <c:v>46553</c:v>
                </c:pt>
                <c:pt idx="980">
                  <c:v>46554</c:v>
                </c:pt>
                <c:pt idx="981">
                  <c:v>46555</c:v>
                </c:pt>
                <c:pt idx="982">
                  <c:v>46556</c:v>
                </c:pt>
                <c:pt idx="983">
                  <c:v>46559</c:v>
                </c:pt>
                <c:pt idx="984">
                  <c:v>46560</c:v>
                </c:pt>
                <c:pt idx="985">
                  <c:v>46561</c:v>
                </c:pt>
                <c:pt idx="986">
                  <c:v>46562</c:v>
                </c:pt>
                <c:pt idx="987">
                  <c:v>46563</c:v>
                </c:pt>
                <c:pt idx="988">
                  <c:v>46566</c:v>
                </c:pt>
                <c:pt idx="989">
                  <c:v>46567</c:v>
                </c:pt>
                <c:pt idx="990">
                  <c:v>46568</c:v>
                </c:pt>
                <c:pt idx="991">
                  <c:v>46569</c:v>
                </c:pt>
                <c:pt idx="992">
                  <c:v>46570</c:v>
                </c:pt>
                <c:pt idx="993">
                  <c:v>46573</c:v>
                </c:pt>
                <c:pt idx="994">
                  <c:v>46574</c:v>
                </c:pt>
                <c:pt idx="995">
                  <c:v>46575</c:v>
                </c:pt>
                <c:pt idx="996">
                  <c:v>46576</c:v>
                </c:pt>
                <c:pt idx="997">
                  <c:v>46577</c:v>
                </c:pt>
                <c:pt idx="998">
                  <c:v>46580</c:v>
                </c:pt>
              </c:numCache>
            </c:numRef>
          </c:cat>
          <c:val>
            <c:numRef>
              <c:f>Daily!$U$2:$U$1057</c:f>
            </c:numRef>
          </c:val>
          <c:smooth val="0"/>
          <c:extLst>
            <c:ext xmlns:c16="http://schemas.microsoft.com/office/drawing/2014/chart" uri="{C3380CC4-5D6E-409C-BE32-E72D297353CC}">
              <c16:uniqueId val="{00000016-094D-4E29-B010-D717A2A1A293}"/>
            </c:ext>
          </c:extLst>
        </c:ser>
        <c:ser>
          <c:idx val="17"/>
          <c:order val="17"/>
          <c:tx>
            <c:strRef>
              <c:f>Daily!$V$1</c:f>
              <c:strCache>
                <c:ptCount val="1"/>
                <c:pt idx="0">
                  <c:v>M+4</c:v>
                </c:pt>
              </c:strCache>
            </c:strRef>
          </c:tx>
          <c:spPr>
            <a:ln w="28575" cap="rnd" cmpd="sng" algn="ctr">
              <a:solidFill>
                <a:schemeClr val="accent6">
                  <a:lumMod val="80000"/>
                  <a:lumOff val="20000"/>
                  <a:shade val="95000"/>
                  <a:satMod val="105000"/>
                </a:schemeClr>
              </a:solidFill>
              <a:prstDash val="solid"/>
              <a:round/>
            </a:ln>
            <a:effectLst/>
          </c:spPr>
          <c:marker>
            <c:symbol val="none"/>
          </c:marker>
          <c:cat>
            <c:numRef>
              <c:f>Daily!$A$2:$A$1000</c:f>
              <c:numCache>
                <c:formatCode>d\-mmm\-yy</c:formatCode>
                <c:ptCount val="999"/>
                <c:pt idx="0">
                  <c:v>45128</c:v>
                </c:pt>
                <c:pt idx="1">
                  <c:v>45131</c:v>
                </c:pt>
                <c:pt idx="2">
                  <c:v>45132</c:v>
                </c:pt>
                <c:pt idx="3">
                  <c:v>45133</c:v>
                </c:pt>
                <c:pt idx="4">
                  <c:v>45134</c:v>
                </c:pt>
                <c:pt idx="5">
                  <c:v>45135</c:v>
                </c:pt>
                <c:pt idx="6">
                  <c:v>45138</c:v>
                </c:pt>
                <c:pt idx="7">
                  <c:v>45139</c:v>
                </c:pt>
                <c:pt idx="8">
                  <c:v>45140</c:v>
                </c:pt>
                <c:pt idx="9">
                  <c:v>45141</c:v>
                </c:pt>
                <c:pt idx="10">
                  <c:v>45142</c:v>
                </c:pt>
                <c:pt idx="11">
                  <c:v>45145</c:v>
                </c:pt>
                <c:pt idx="12">
                  <c:v>45146</c:v>
                </c:pt>
                <c:pt idx="13">
                  <c:v>45147</c:v>
                </c:pt>
                <c:pt idx="14">
                  <c:v>45148</c:v>
                </c:pt>
                <c:pt idx="15">
                  <c:v>45149</c:v>
                </c:pt>
                <c:pt idx="16">
                  <c:v>45152</c:v>
                </c:pt>
                <c:pt idx="17">
                  <c:v>45153</c:v>
                </c:pt>
                <c:pt idx="18">
                  <c:v>45154</c:v>
                </c:pt>
                <c:pt idx="19">
                  <c:v>45155</c:v>
                </c:pt>
                <c:pt idx="20">
                  <c:v>45156</c:v>
                </c:pt>
                <c:pt idx="21">
                  <c:v>45159</c:v>
                </c:pt>
                <c:pt idx="22">
                  <c:v>45160</c:v>
                </c:pt>
                <c:pt idx="23">
                  <c:v>45161</c:v>
                </c:pt>
                <c:pt idx="24">
                  <c:v>45162</c:v>
                </c:pt>
                <c:pt idx="25">
                  <c:v>45163</c:v>
                </c:pt>
                <c:pt idx="26">
                  <c:v>45166</c:v>
                </c:pt>
                <c:pt idx="27">
                  <c:v>45167</c:v>
                </c:pt>
                <c:pt idx="28">
                  <c:v>45168</c:v>
                </c:pt>
                <c:pt idx="29">
                  <c:v>45169</c:v>
                </c:pt>
                <c:pt idx="30">
                  <c:v>45170</c:v>
                </c:pt>
                <c:pt idx="31">
                  <c:v>45173</c:v>
                </c:pt>
                <c:pt idx="32">
                  <c:v>45174</c:v>
                </c:pt>
                <c:pt idx="33">
                  <c:v>45175</c:v>
                </c:pt>
                <c:pt idx="34">
                  <c:v>45176</c:v>
                </c:pt>
                <c:pt idx="35">
                  <c:v>45177</c:v>
                </c:pt>
                <c:pt idx="36">
                  <c:v>45180</c:v>
                </c:pt>
                <c:pt idx="37">
                  <c:v>45181</c:v>
                </c:pt>
                <c:pt idx="38">
                  <c:v>45182</c:v>
                </c:pt>
                <c:pt idx="39">
                  <c:v>45183</c:v>
                </c:pt>
                <c:pt idx="40">
                  <c:v>45184</c:v>
                </c:pt>
                <c:pt idx="41">
                  <c:v>45187</c:v>
                </c:pt>
                <c:pt idx="42">
                  <c:v>45188</c:v>
                </c:pt>
                <c:pt idx="43">
                  <c:v>45189</c:v>
                </c:pt>
                <c:pt idx="44">
                  <c:v>45190</c:v>
                </c:pt>
                <c:pt idx="45">
                  <c:v>45191</c:v>
                </c:pt>
                <c:pt idx="46">
                  <c:v>45194</c:v>
                </c:pt>
                <c:pt idx="47">
                  <c:v>45195</c:v>
                </c:pt>
                <c:pt idx="48">
                  <c:v>45196</c:v>
                </c:pt>
                <c:pt idx="49">
                  <c:v>45197</c:v>
                </c:pt>
                <c:pt idx="50">
                  <c:v>45208</c:v>
                </c:pt>
                <c:pt idx="51">
                  <c:v>45209</c:v>
                </c:pt>
                <c:pt idx="52">
                  <c:v>45210</c:v>
                </c:pt>
                <c:pt idx="53">
                  <c:v>45211</c:v>
                </c:pt>
                <c:pt idx="54">
                  <c:v>45212</c:v>
                </c:pt>
                <c:pt idx="55">
                  <c:v>45215</c:v>
                </c:pt>
                <c:pt idx="56">
                  <c:v>45216</c:v>
                </c:pt>
                <c:pt idx="57">
                  <c:v>45217</c:v>
                </c:pt>
                <c:pt idx="58">
                  <c:v>45218</c:v>
                </c:pt>
                <c:pt idx="59">
                  <c:v>45219</c:v>
                </c:pt>
                <c:pt idx="60">
                  <c:v>45222</c:v>
                </c:pt>
                <c:pt idx="61">
                  <c:v>45223</c:v>
                </c:pt>
                <c:pt idx="62">
                  <c:v>45224</c:v>
                </c:pt>
                <c:pt idx="63">
                  <c:v>45225</c:v>
                </c:pt>
                <c:pt idx="64">
                  <c:v>45226</c:v>
                </c:pt>
                <c:pt idx="65">
                  <c:v>45229</c:v>
                </c:pt>
                <c:pt idx="66">
                  <c:v>45230</c:v>
                </c:pt>
                <c:pt idx="67">
                  <c:v>45231</c:v>
                </c:pt>
                <c:pt idx="68">
                  <c:v>45232</c:v>
                </c:pt>
                <c:pt idx="69">
                  <c:v>45233</c:v>
                </c:pt>
                <c:pt idx="70">
                  <c:v>45236</c:v>
                </c:pt>
                <c:pt idx="71">
                  <c:v>45237</c:v>
                </c:pt>
                <c:pt idx="72">
                  <c:v>45238</c:v>
                </c:pt>
                <c:pt idx="73">
                  <c:v>45239</c:v>
                </c:pt>
                <c:pt idx="74">
                  <c:v>45240</c:v>
                </c:pt>
                <c:pt idx="75">
                  <c:v>45243</c:v>
                </c:pt>
                <c:pt idx="76">
                  <c:v>45244</c:v>
                </c:pt>
                <c:pt idx="77">
                  <c:v>45245</c:v>
                </c:pt>
                <c:pt idx="78">
                  <c:v>45246</c:v>
                </c:pt>
                <c:pt idx="79">
                  <c:v>45247</c:v>
                </c:pt>
                <c:pt idx="80">
                  <c:v>45250</c:v>
                </c:pt>
                <c:pt idx="81">
                  <c:v>45251</c:v>
                </c:pt>
                <c:pt idx="82">
                  <c:v>45252</c:v>
                </c:pt>
                <c:pt idx="83">
                  <c:v>45253</c:v>
                </c:pt>
                <c:pt idx="84">
                  <c:v>45254</c:v>
                </c:pt>
                <c:pt idx="85">
                  <c:v>45257</c:v>
                </c:pt>
                <c:pt idx="86">
                  <c:v>45258</c:v>
                </c:pt>
                <c:pt idx="87">
                  <c:v>45259</c:v>
                </c:pt>
                <c:pt idx="88">
                  <c:v>45260</c:v>
                </c:pt>
                <c:pt idx="89">
                  <c:v>45261</c:v>
                </c:pt>
                <c:pt idx="90">
                  <c:v>45264</c:v>
                </c:pt>
                <c:pt idx="91">
                  <c:v>45265</c:v>
                </c:pt>
                <c:pt idx="92">
                  <c:v>45266</c:v>
                </c:pt>
                <c:pt idx="93">
                  <c:v>45267</c:v>
                </c:pt>
                <c:pt idx="94">
                  <c:v>45268</c:v>
                </c:pt>
                <c:pt idx="95">
                  <c:v>45271</c:v>
                </c:pt>
                <c:pt idx="96">
                  <c:v>45272</c:v>
                </c:pt>
                <c:pt idx="97">
                  <c:v>45273</c:v>
                </c:pt>
                <c:pt idx="98">
                  <c:v>45274</c:v>
                </c:pt>
                <c:pt idx="99">
                  <c:v>45275</c:v>
                </c:pt>
                <c:pt idx="100">
                  <c:v>45278</c:v>
                </c:pt>
                <c:pt idx="101">
                  <c:v>45279</c:v>
                </c:pt>
                <c:pt idx="102">
                  <c:v>45280</c:v>
                </c:pt>
                <c:pt idx="103">
                  <c:v>45281</c:v>
                </c:pt>
                <c:pt idx="104">
                  <c:v>45282</c:v>
                </c:pt>
                <c:pt idx="105">
                  <c:v>45285</c:v>
                </c:pt>
                <c:pt idx="106">
                  <c:v>45286</c:v>
                </c:pt>
                <c:pt idx="107">
                  <c:v>45287</c:v>
                </c:pt>
                <c:pt idx="108">
                  <c:v>45288</c:v>
                </c:pt>
                <c:pt idx="109">
                  <c:v>45289</c:v>
                </c:pt>
                <c:pt idx="110">
                  <c:v>45293</c:v>
                </c:pt>
                <c:pt idx="111">
                  <c:v>45294</c:v>
                </c:pt>
                <c:pt idx="112">
                  <c:v>45295</c:v>
                </c:pt>
                <c:pt idx="113">
                  <c:v>45296</c:v>
                </c:pt>
                <c:pt idx="114">
                  <c:v>45299</c:v>
                </c:pt>
                <c:pt idx="115">
                  <c:v>45300</c:v>
                </c:pt>
                <c:pt idx="116">
                  <c:v>45301</c:v>
                </c:pt>
                <c:pt idx="117">
                  <c:v>45302</c:v>
                </c:pt>
                <c:pt idx="118">
                  <c:v>45303</c:v>
                </c:pt>
                <c:pt idx="119">
                  <c:v>45306</c:v>
                </c:pt>
                <c:pt idx="120">
                  <c:v>45307</c:v>
                </c:pt>
                <c:pt idx="121">
                  <c:v>45308</c:v>
                </c:pt>
                <c:pt idx="122">
                  <c:v>45309</c:v>
                </c:pt>
                <c:pt idx="123">
                  <c:v>45310</c:v>
                </c:pt>
                <c:pt idx="124">
                  <c:v>45313</c:v>
                </c:pt>
                <c:pt idx="125">
                  <c:v>45314</c:v>
                </c:pt>
                <c:pt idx="126">
                  <c:v>45315</c:v>
                </c:pt>
                <c:pt idx="127">
                  <c:v>45316</c:v>
                </c:pt>
                <c:pt idx="128">
                  <c:v>45317</c:v>
                </c:pt>
                <c:pt idx="129">
                  <c:v>45320</c:v>
                </c:pt>
                <c:pt idx="130">
                  <c:v>45321</c:v>
                </c:pt>
                <c:pt idx="131">
                  <c:v>45322</c:v>
                </c:pt>
                <c:pt idx="132">
                  <c:v>45323</c:v>
                </c:pt>
                <c:pt idx="133">
                  <c:v>45324</c:v>
                </c:pt>
                <c:pt idx="134">
                  <c:v>45327</c:v>
                </c:pt>
                <c:pt idx="135">
                  <c:v>45328</c:v>
                </c:pt>
                <c:pt idx="136">
                  <c:v>45329</c:v>
                </c:pt>
                <c:pt idx="137">
                  <c:v>45330</c:v>
                </c:pt>
                <c:pt idx="138">
                  <c:v>45341</c:v>
                </c:pt>
                <c:pt idx="139">
                  <c:v>45342</c:v>
                </c:pt>
                <c:pt idx="140">
                  <c:v>45343</c:v>
                </c:pt>
                <c:pt idx="141">
                  <c:v>45344</c:v>
                </c:pt>
                <c:pt idx="142">
                  <c:v>45345</c:v>
                </c:pt>
                <c:pt idx="143">
                  <c:v>45348</c:v>
                </c:pt>
                <c:pt idx="144">
                  <c:v>45349</c:v>
                </c:pt>
                <c:pt idx="145">
                  <c:v>45350</c:v>
                </c:pt>
                <c:pt idx="146">
                  <c:v>45351</c:v>
                </c:pt>
                <c:pt idx="147">
                  <c:v>45352</c:v>
                </c:pt>
                <c:pt idx="148">
                  <c:v>45355</c:v>
                </c:pt>
                <c:pt idx="149">
                  <c:v>45356</c:v>
                </c:pt>
                <c:pt idx="150">
                  <c:v>45357</c:v>
                </c:pt>
                <c:pt idx="151">
                  <c:v>45358</c:v>
                </c:pt>
                <c:pt idx="152">
                  <c:v>45359</c:v>
                </c:pt>
                <c:pt idx="153">
                  <c:v>45362</c:v>
                </c:pt>
                <c:pt idx="154">
                  <c:v>45363</c:v>
                </c:pt>
                <c:pt idx="155">
                  <c:v>45364</c:v>
                </c:pt>
                <c:pt idx="156">
                  <c:v>45365</c:v>
                </c:pt>
                <c:pt idx="157">
                  <c:v>45366</c:v>
                </c:pt>
                <c:pt idx="158">
                  <c:v>45369</c:v>
                </c:pt>
                <c:pt idx="159">
                  <c:v>45370</c:v>
                </c:pt>
                <c:pt idx="160">
                  <c:v>45371</c:v>
                </c:pt>
                <c:pt idx="161">
                  <c:v>45372</c:v>
                </c:pt>
                <c:pt idx="162">
                  <c:v>45373</c:v>
                </c:pt>
                <c:pt idx="163">
                  <c:v>45376</c:v>
                </c:pt>
                <c:pt idx="164">
                  <c:v>45377</c:v>
                </c:pt>
                <c:pt idx="165">
                  <c:v>45378</c:v>
                </c:pt>
                <c:pt idx="166">
                  <c:v>45379</c:v>
                </c:pt>
                <c:pt idx="167">
                  <c:v>45380</c:v>
                </c:pt>
                <c:pt idx="168">
                  <c:v>45383</c:v>
                </c:pt>
                <c:pt idx="169">
                  <c:v>45384</c:v>
                </c:pt>
                <c:pt idx="170">
                  <c:v>45385</c:v>
                </c:pt>
                <c:pt idx="171">
                  <c:v>45390</c:v>
                </c:pt>
                <c:pt idx="172">
                  <c:v>45391</c:v>
                </c:pt>
                <c:pt idx="173">
                  <c:v>45392</c:v>
                </c:pt>
                <c:pt idx="174">
                  <c:v>45393</c:v>
                </c:pt>
                <c:pt idx="175">
                  <c:v>45394</c:v>
                </c:pt>
                <c:pt idx="176">
                  <c:v>45397</c:v>
                </c:pt>
                <c:pt idx="177">
                  <c:v>45398</c:v>
                </c:pt>
                <c:pt idx="178">
                  <c:v>45399</c:v>
                </c:pt>
                <c:pt idx="179">
                  <c:v>45400</c:v>
                </c:pt>
                <c:pt idx="180">
                  <c:v>45401</c:v>
                </c:pt>
                <c:pt idx="181">
                  <c:v>45404</c:v>
                </c:pt>
                <c:pt idx="182">
                  <c:v>45405</c:v>
                </c:pt>
                <c:pt idx="183">
                  <c:v>45406</c:v>
                </c:pt>
                <c:pt idx="184">
                  <c:v>45407</c:v>
                </c:pt>
                <c:pt idx="185">
                  <c:v>45408</c:v>
                </c:pt>
                <c:pt idx="186">
                  <c:v>45411</c:v>
                </c:pt>
                <c:pt idx="187">
                  <c:v>45412</c:v>
                </c:pt>
                <c:pt idx="188">
                  <c:v>45418</c:v>
                </c:pt>
                <c:pt idx="189">
                  <c:v>45419</c:v>
                </c:pt>
                <c:pt idx="190">
                  <c:v>45420</c:v>
                </c:pt>
                <c:pt idx="191">
                  <c:v>45421</c:v>
                </c:pt>
                <c:pt idx="192">
                  <c:v>45422</c:v>
                </c:pt>
                <c:pt idx="193">
                  <c:v>45425</c:v>
                </c:pt>
                <c:pt idx="194">
                  <c:v>45426</c:v>
                </c:pt>
                <c:pt idx="195">
                  <c:v>45427</c:v>
                </c:pt>
                <c:pt idx="196">
                  <c:v>45428</c:v>
                </c:pt>
                <c:pt idx="197">
                  <c:v>45429</c:v>
                </c:pt>
                <c:pt idx="198">
                  <c:v>45432</c:v>
                </c:pt>
                <c:pt idx="199">
                  <c:v>45433</c:v>
                </c:pt>
                <c:pt idx="200">
                  <c:v>45434</c:v>
                </c:pt>
                <c:pt idx="201">
                  <c:v>45435</c:v>
                </c:pt>
                <c:pt idx="202">
                  <c:v>45436</c:v>
                </c:pt>
                <c:pt idx="203">
                  <c:v>45439</c:v>
                </c:pt>
                <c:pt idx="204">
                  <c:v>45440</c:v>
                </c:pt>
                <c:pt idx="205">
                  <c:v>45441</c:v>
                </c:pt>
                <c:pt idx="206">
                  <c:v>45442</c:v>
                </c:pt>
                <c:pt idx="207">
                  <c:v>45443</c:v>
                </c:pt>
                <c:pt idx="208">
                  <c:v>45446</c:v>
                </c:pt>
                <c:pt idx="209">
                  <c:v>45447</c:v>
                </c:pt>
                <c:pt idx="210">
                  <c:v>45448</c:v>
                </c:pt>
                <c:pt idx="211">
                  <c:v>45449</c:v>
                </c:pt>
                <c:pt idx="212">
                  <c:v>45450</c:v>
                </c:pt>
                <c:pt idx="213">
                  <c:v>45454</c:v>
                </c:pt>
                <c:pt idx="214">
                  <c:v>45455</c:v>
                </c:pt>
                <c:pt idx="215">
                  <c:v>45456</c:v>
                </c:pt>
                <c:pt idx="216">
                  <c:v>45457</c:v>
                </c:pt>
                <c:pt idx="217">
                  <c:v>45460</c:v>
                </c:pt>
                <c:pt idx="218">
                  <c:v>45461</c:v>
                </c:pt>
                <c:pt idx="219">
                  <c:v>45462</c:v>
                </c:pt>
                <c:pt idx="220">
                  <c:v>45463</c:v>
                </c:pt>
                <c:pt idx="221">
                  <c:v>45464</c:v>
                </c:pt>
                <c:pt idx="222">
                  <c:v>45467</c:v>
                </c:pt>
                <c:pt idx="223">
                  <c:v>45468</c:v>
                </c:pt>
                <c:pt idx="224">
                  <c:v>45469</c:v>
                </c:pt>
                <c:pt idx="225">
                  <c:v>45470</c:v>
                </c:pt>
                <c:pt idx="226">
                  <c:v>45471</c:v>
                </c:pt>
                <c:pt idx="227">
                  <c:v>45474</c:v>
                </c:pt>
                <c:pt idx="228">
                  <c:v>45475</c:v>
                </c:pt>
                <c:pt idx="229">
                  <c:v>45476</c:v>
                </c:pt>
                <c:pt idx="230">
                  <c:v>45477</c:v>
                </c:pt>
                <c:pt idx="231">
                  <c:v>45478</c:v>
                </c:pt>
                <c:pt idx="232">
                  <c:v>45481</c:v>
                </c:pt>
                <c:pt idx="233">
                  <c:v>45482</c:v>
                </c:pt>
                <c:pt idx="234">
                  <c:v>45483</c:v>
                </c:pt>
                <c:pt idx="235">
                  <c:v>45484</c:v>
                </c:pt>
                <c:pt idx="236">
                  <c:v>45485</c:v>
                </c:pt>
                <c:pt idx="237">
                  <c:v>45488</c:v>
                </c:pt>
                <c:pt idx="238">
                  <c:v>45489</c:v>
                </c:pt>
                <c:pt idx="239">
                  <c:v>45490</c:v>
                </c:pt>
                <c:pt idx="240">
                  <c:v>45491</c:v>
                </c:pt>
                <c:pt idx="241">
                  <c:v>45492</c:v>
                </c:pt>
                <c:pt idx="242">
                  <c:v>45495</c:v>
                </c:pt>
                <c:pt idx="243">
                  <c:v>45496</c:v>
                </c:pt>
                <c:pt idx="244">
                  <c:v>45497</c:v>
                </c:pt>
                <c:pt idx="245">
                  <c:v>45498</c:v>
                </c:pt>
                <c:pt idx="246">
                  <c:v>45499</c:v>
                </c:pt>
                <c:pt idx="247">
                  <c:v>45502</c:v>
                </c:pt>
                <c:pt idx="248">
                  <c:v>45503</c:v>
                </c:pt>
                <c:pt idx="249">
                  <c:v>45504</c:v>
                </c:pt>
                <c:pt idx="250">
                  <c:v>45505</c:v>
                </c:pt>
                <c:pt idx="251">
                  <c:v>45506</c:v>
                </c:pt>
                <c:pt idx="252">
                  <c:v>45509</c:v>
                </c:pt>
                <c:pt idx="253">
                  <c:v>45510</c:v>
                </c:pt>
                <c:pt idx="254">
                  <c:v>45511</c:v>
                </c:pt>
                <c:pt idx="255">
                  <c:v>45512</c:v>
                </c:pt>
                <c:pt idx="256">
                  <c:v>45513</c:v>
                </c:pt>
                <c:pt idx="257">
                  <c:v>45516</c:v>
                </c:pt>
                <c:pt idx="258">
                  <c:v>45517</c:v>
                </c:pt>
                <c:pt idx="259">
                  <c:v>45518</c:v>
                </c:pt>
                <c:pt idx="260">
                  <c:v>45519</c:v>
                </c:pt>
                <c:pt idx="261">
                  <c:v>45520</c:v>
                </c:pt>
                <c:pt idx="262">
                  <c:v>45523</c:v>
                </c:pt>
                <c:pt idx="263">
                  <c:v>45524</c:v>
                </c:pt>
                <c:pt idx="264">
                  <c:v>45525</c:v>
                </c:pt>
                <c:pt idx="265">
                  <c:v>45526</c:v>
                </c:pt>
                <c:pt idx="266">
                  <c:v>45527</c:v>
                </c:pt>
                <c:pt idx="267">
                  <c:v>45530</c:v>
                </c:pt>
                <c:pt idx="268">
                  <c:v>45531</c:v>
                </c:pt>
                <c:pt idx="269">
                  <c:v>45532</c:v>
                </c:pt>
                <c:pt idx="270">
                  <c:v>45533</c:v>
                </c:pt>
                <c:pt idx="271">
                  <c:v>45534</c:v>
                </c:pt>
                <c:pt idx="272">
                  <c:v>45537</c:v>
                </c:pt>
                <c:pt idx="273">
                  <c:v>45538</c:v>
                </c:pt>
                <c:pt idx="274">
                  <c:v>45539</c:v>
                </c:pt>
                <c:pt idx="275">
                  <c:v>45540</c:v>
                </c:pt>
                <c:pt idx="276">
                  <c:v>45541</c:v>
                </c:pt>
                <c:pt idx="277">
                  <c:v>45544</c:v>
                </c:pt>
                <c:pt idx="278">
                  <c:v>45545</c:v>
                </c:pt>
                <c:pt idx="279">
                  <c:v>45546</c:v>
                </c:pt>
                <c:pt idx="280">
                  <c:v>45547</c:v>
                </c:pt>
                <c:pt idx="281">
                  <c:v>45548</c:v>
                </c:pt>
                <c:pt idx="282">
                  <c:v>45553</c:v>
                </c:pt>
                <c:pt idx="283">
                  <c:v>45554</c:v>
                </c:pt>
                <c:pt idx="284">
                  <c:v>45555</c:v>
                </c:pt>
                <c:pt idx="285">
                  <c:v>45558</c:v>
                </c:pt>
                <c:pt idx="286">
                  <c:v>45559</c:v>
                </c:pt>
                <c:pt idx="287">
                  <c:v>45560</c:v>
                </c:pt>
                <c:pt idx="288">
                  <c:v>45561</c:v>
                </c:pt>
                <c:pt idx="289">
                  <c:v>45562</c:v>
                </c:pt>
                <c:pt idx="290">
                  <c:v>45565</c:v>
                </c:pt>
                <c:pt idx="291">
                  <c:v>45573</c:v>
                </c:pt>
                <c:pt idx="292">
                  <c:v>45574</c:v>
                </c:pt>
                <c:pt idx="293">
                  <c:v>45575</c:v>
                </c:pt>
                <c:pt idx="294">
                  <c:v>45576</c:v>
                </c:pt>
                <c:pt idx="295">
                  <c:v>45579</c:v>
                </c:pt>
                <c:pt idx="296">
                  <c:v>45580</c:v>
                </c:pt>
                <c:pt idx="297">
                  <c:v>45581</c:v>
                </c:pt>
                <c:pt idx="298">
                  <c:v>45582</c:v>
                </c:pt>
                <c:pt idx="299">
                  <c:v>45583</c:v>
                </c:pt>
                <c:pt idx="300">
                  <c:v>45586</c:v>
                </c:pt>
                <c:pt idx="301">
                  <c:v>45587</c:v>
                </c:pt>
                <c:pt idx="302">
                  <c:v>45588</c:v>
                </c:pt>
                <c:pt idx="303">
                  <c:v>45589</c:v>
                </c:pt>
                <c:pt idx="304">
                  <c:v>45590</c:v>
                </c:pt>
                <c:pt idx="305">
                  <c:v>45593</c:v>
                </c:pt>
                <c:pt idx="306">
                  <c:v>45594</c:v>
                </c:pt>
                <c:pt idx="307">
                  <c:v>45595</c:v>
                </c:pt>
                <c:pt idx="308">
                  <c:v>45596</c:v>
                </c:pt>
                <c:pt idx="309">
                  <c:v>45597</c:v>
                </c:pt>
                <c:pt idx="310">
                  <c:v>45600</c:v>
                </c:pt>
                <c:pt idx="311">
                  <c:v>45601</c:v>
                </c:pt>
                <c:pt idx="312">
                  <c:v>45602</c:v>
                </c:pt>
                <c:pt idx="313">
                  <c:v>45603</c:v>
                </c:pt>
                <c:pt idx="314">
                  <c:v>45604</c:v>
                </c:pt>
                <c:pt idx="315">
                  <c:v>45607</c:v>
                </c:pt>
                <c:pt idx="316">
                  <c:v>45608</c:v>
                </c:pt>
                <c:pt idx="317">
                  <c:v>45609</c:v>
                </c:pt>
                <c:pt idx="318">
                  <c:v>45610</c:v>
                </c:pt>
                <c:pt idx="319">
                  <c:v>45611</c:v>
                </c:pt>
                <c:pt idx="320">
                  <c:v>45614</c:v>
                </c:pt>
                <c:pt idx="321">
                  <c:v>45615</c:v>
                </c:pt>
                <c:pt idx="322">
                  <c:v>45616</c:v>
                </c:pt>
                <c:pt idx="323">
                  <c:v>45617</c:v>
                </c:pt>
                <c:pt idx="324">
                  <c:v>45618</c:v>
                </c:pt>
                <c:pt idx="325">
                  <c:v>45621</c:v>
                </c:pt>
                <c:pt idx="326">
                  <c:v>45622</c:v>
                </c:pt>
                <c:pt idx="327">
                  <c:v>45623</c:v>
                </c:pt>
                <c:pt idx="328">
                  <c:v>45624</c:v>
                </c:pt>
                <c:pt idx="329">
                  <c:v>45625</c:v>
                </c:pt>
                <c:pt idx="330">
                  <c:v>45628</c:v>
                </c:pt>
                <c:pt idx="331">
                  <c:v>45629</c:v>
                </c:pt>
                <c:pt idx="332">
                  <c:v>45630</c:v>
                </c:pt>
                <c:pt idx="333">
                  <c:v>45631</c:v>
                </c:pt>
                <c:pt idx="334">
                  <c:v>45632</c:v>
                </c:pt>
                <c:pt idx="335">
                  <c:v>45635</c:v>
                </c:pt>
                <c:pt idx="336">
                  <c:v>45636</c:v>
                </c:pt>
                <c:pt idx="337">
                  <c:v>45637</c:v>
                </c:pt>
                <c:pt idx="338">
                  <c:v>45638</c:v>
                </c:pt>
                <c:pt idx="339">
                  <c:v>45639</c:v>
                </c:pt>
                <c:pt idx="340">
                  <c:v>45642</c:v>
                </c:pt>
                <c:pt idx="341">
                  <c:v>45643</c:v>
                </c:pt>
                <c:pt idx="342">
                  <c:v>45644</c:v>
                </c:pt>
                <c:pt idx="343">
                  <c:v>45645</c:v>
                </c:pt>
                <c:pt idx="344">
                  <c:v>45646</c:v>
                </c:pt>
                <c:pt idx="345">
                  <c:v>45649</c:v>
                </c:pt>
                <c:pt idx="346">
                  <c:v>45650</c:v>
                </c:pt>
                <c:pt idx="347">
                  <c:v>45651</c:v>
                </c:pt>
                <c:pt idx="348">
                  <c:v>45652</c:v>
                </c:pt>
                <c:pt idx="349">
                  <c:v>45653</c:v>
                </c:pt>
                <c:pt idx="350">
                  <c:v>45656</c:v>
                </c:pt>
                <c:pt idx="351">
                  <c:v>45657</c:v>
                </c:pt>
                <c:pt idx="352">
                  <c:v>45659</c:v>
                </c:pt>
                <c:pt idx="353">
                  <c:v>45660</c:v>
                </c:pt>
                <c:pt idx="354">
                  <c:v>45663</c:v>
                </c:pt>
                <c:pt idx="355">
                  <c:v>45664</c:v>
                </c:pt>
                <c:pt idx="356">
                  <c:v>45665</c:v>
                </c:pt>
                <c:pt idx="357">
                  <c:v>45666</c:v>
                </c:pt>
                <c:pt idx="358">
                  <c:v>45667</c:v>
                </c:pt>
                <c:pt idx="359">
                  <c:v>45670</c:v>
                </c:pt>
                <c:pt idx="360">
                  <c:v>45671</c:v>
                </c:pt>
                <c:pt idx="361">
                  <c:v>45672</c:v>
                </c:pt>
                <c:pt idx="362">
                  <c:v>45673</c:v>
                </c:pt>
                <c:pt idx="363">
                  <c:v>45674</c:v>
                </c:pt>
                <c:pt idx="364">
                  <c:v>45677</c:v>
                </c:pt>
                <c:pt idx="365">
                  <c:v>45678</c:v>
                </c:pt>
                <c:pt idx="366">
                  <c:v>45679</c:v>
                </c:pt>
                <c:pt idx="367">
                  <c:v>45680</c:v>
                </c:pt>
                <c:pt idx="368">
                  <c:v>45681</c:v>
                </c:pt>
                <c:pt idx="369">
                  <c:v>45684</c:v>
                </c:pt>
                <c:pt idx="370">
                  <c:v>45693</c:v>
                </c:pt>
                <c:pt idx="371">
                  <c:v>45694</c:v>
                </c:pt>
                <c:pt idx="372">
                  <c:v>45695</c:v>
                </c:pt>
                <c:pt idx="373">
                  <c:v>45698</c:v>
                </c:pt>
                <c:pt idx="374">
                  <c:v>45699</c:v>
                </c:pt>
                <c:pt idx="375">
                  <c:v>45700</c:v>
                </c:pt>
                <c:pt idx="376">
                  <c:v>45701</c:v>
                </c:pt>
                <c:pt idx="377">
                  <c:v>45702</c:v>
                </c:pt>
                <c:pt idx="378">
                  <c:v>45705</c:v>
                </c:pt>
                <c:pt idx="379">
                  <c:v>45706</c:v>
                </c:pt>
                <c:pt idx="380">
                  <c:v>45707</c:v>
                </c:pt>
                <c:pt idx="381">
                  <c:v>45708</c:v>
                </c:pt>
                <c:pt idx="382">
                  <c:v>45709</c:v>
                </c:pt>
                <c:pt idx="383">
                  <c:v>45712</c:v>
                </c:pt>
                <c:pt idx="384">
                  <c:v>45713</c:v>
                </c:pt>
                <c:pt idx="385">
                  <c:v>45714</c:v>
                </c:pt>
                <c:pt idx="386">
                  <c:v>45715</c:v>
                </c:pt>
                <c:pt idx="387">
                  <c:v>45716</c:v>
                </c:pt>
                <c:pt idx="388">
                  <c:v>45719</c:v>
                </c:pt>
                <c:pt idx="389">
                  <c:v>45720</c:v>
                </c:pt>
                <c:pt idx="390">
                  <c:v>45721</c:v>
                </c:pt>
                <c:pt idx="391">
                  <c:v>45722</c:v>
                </c:pt>
                <c:pt idx="392">
                  <c:v>45723</c:v>
                </c:pt>
                <c:pt idx="393">
                  <c:v>45726</c:v>
                </c:pt>
                <c:pt idx="394">
                  <c:v>45727</c:v>
                </c:pt>
                <c:pt idx="395">
                  <c:v>45728</c:v>
                </c:pt>
                <c:pt idx="396">
                  <c:v>45729</c:v>
                </c:pt>
                <c:pt idx="397">
                  <c:v>45730</c:v>
                </c:pt>
                <c:pt idx="398">
                  <c:v>45733</c:v>
                </c:pt>
                <c:pt idx="399">
                  <c:v>45734</c:v>
                </c:pt>
                <c:pt idx="400">
                  <c:v>45735</c:v>
                </c:pt>
                <c:pt idx="401">
                  <c:v>45736</c:v>
                </c:pt>
                <c:pt idx="402">
                  <c:v>45737</c:v>
                </c:pt>
                <c:pt idx="403">
                  <c:v>45740</c:v>
                </c:pt>
                <c:pt idx="404">
                  <c:v>45741</c:v>
                </c:pt>
                <c:pt idx="405">
                  <c:v>45742</c:v>
                </c:pt>
                <c:pt idx="406">
                  <c:v>45743</c:v>
                </c:pt>
                <c:pt idx="407">
                  <c:v>45744</c:v>
                </c:pt>
                <c:pt idx="408">
                  <c:v>45747</c:v>
                </c:pt>
                <c:pt idx="409">
                  <c:v>45748</c:v>
                </c:pt>
                <c:pt idx="410">
                  <c:v>45749</c:v>
                </c:pt>
                <c:pt idx="411">
                  <c:v>45750</c:v>
                </c:pt>
                <c:pt idx="412">
                  <c:v>45754</c:v>
                </c:pt>
                <c:pt idx="413">
                  <c:v>45755</c:v>
                </c:pt>
                <c:pt idx="414">
                  <c:v>45756</c:v>
                </c:pt>
                <c:pt idx="415">
                  <c:v>45757</c:v>
                </c:pt>
                <c:pt idx="416">
                  <c:v>45758</c:v>
                </c:pt>
                <c:pt idx="417">
                  <c:v>45761</c:v>
                </c:pt>
                <c:pt idx="418">
                  <c:v>45762</c:v>
                </c:pt>
                <c:pt idx="419">
                  <c:v>45763</c:v>
                </c:pt>
                <c:pt idx="420">
                  <c:v>45764</c:v>
                </c:pt>
                <c:pt idx="421">
                  <c:v>45765</c:v>
                </c:pt>
                <c:pt idx="422">
                  <c:v>45768</c:v>
                </c:pt>
                <c:pt idx="423">
                  <c:v>45769</c:v>
                </c:pt>
                <c:pt idx="424">
                  <c:v>45770</c:v>
                </c:pt>
                <c:pt idx="425">
                  <c:v>45771</c:v>
                </c:pt>
                <c:pt idx="426">
                  <c:v>45772</c:v>
                </c:pt>
                <c:pt idx="427">
                  <c:v>45775</c:v>
                </c:pt>
                <c:pt idx="428">
                  <c:v>45776</c:v>
                </c:pt>
                <c:pt idx="429">
                  <c:v>45777</c:v>
                </c:pt>
                <c:pt idx="430">
                  <c:v>45783</c:v>
                </c:pt>
                <c:pt idx="431">
                  <c:v>45784</c:v>
                </c:pt>
                <c:pt idx="432">
                  <c:v>45785</c:v>
                </c:pt>
                <c:pt idx="433">
                  <c:v>45786</c:v>
                </c:pt>
                <c:pt idx="434">
                  <c:v>45789</c:v>
                </c:pt>
                <c:pt idx="435">
                  <c:v>45790</c:v>
                </c:pt>
                <c:pt idx="436">
                  <c:v>45791</c:v>
                </c:pt>
                <c:pt idx="437">
                  <c:v>45792</c:v>
                </c:pt>
                <c:pt idx="438">
                  <c:v>45793</c:v>
                </c:pt>
                <c:pt idx="439">
                  <c:v>45796</c:v>
                </c:pt>
                <c:pt idx="440">
                  <c:v>45797</c:v>
                </c:pt>
                <c:pt idx="441">
                  <c:v>45798</c:v>
                </c:pt>
                <c:pt idx="442">
                  <c:v>45799</c:v>
                </c:pt>
                <c:pt idx="443">
                  <c:v>45800</c:v>
                </c:pt>
                <c:pt idx="444">
                  <c:v>45803</c:v>
                </c:pt>
                <c:pt idx="445">
                  <c:v>45804</c:v>
                </c:pt>
                <c:pt idx="446">
                  <c:v>45805</c:v>
                </c:pt>
                <c:pt idx="447">
                  <c:v>45806</c:v>
                </c:pt>
                <c:pt idx="448">
                  <c:v>45807</c:v>
                </c:pt>
                <c:pt idx="449">
                  <c:v>45811</c:v>
                </c:pt>
                <c:pt idx="450">
                  <c:v>45812</c:v>
                </c:pt>
                <c:pt idx="451">
                  <c:v>45813</c:v>
                </c:pt>
                <c:pt idx="452">
                  <c:v>45814</c:v>
                </c:pt>
                <c:pt idx="453">
                  <c:v>45817</c:v>
                </c:pt>
                <c:pt idx="454">
                  <c:v>45818</c:v>
                </c:pt>
                <c:pt idx="455">
                  <c:v>45819</c:v>
                </c:pt>
                <c:pt idx="456">
                  <c:v>45820</c:v>
                </c:pt>
                <c:pt idx="457">
                  <c:v>45821</c:v>
                </c:pt>
                <c:pt idx="458">
                  <c:v>45824</c:v>
                </c:pt>
                <c:pt idx="459">
                  <c:v>45825</c:v>
                </c:pt>
                <c:pt idx="460">
                  <c:v>45826</c:v>
                </c:pt>
                <c:pt idx="461">
                  <c:v>45827</c:v>
                </c:pt>
                <c:pt idx="462">
                  <c:v>45828</c:v>
                </c:pt>
                <c:pt idx="463">
                  <c:v>45831</c:v>
                </c:pt>
                <c:pt idx="464">
                  <c:v>45832</c:v>
                </c:pt>
                <c:pt idx="465">
                  <c:v>45833</c:v>
                </c:pt>
                <c:pt idx="466">
                  <c:v>45834</c:v>
                </c:pt>
                <c:pt idx="467">
                  <c:v>45835</c:v>
                </c:pt>
                <c:pt idx="468">
                  <c:v>45838</c:v>
                </c:pt>
                <c:pt idx="469">
                  <c:v>45839</c:v>
                </c:pt>
                <c:pt idx="470">
                  <c:v>45840</c:v>
                </c:pt>
                <c:pt idx="471">
                  <c:v>45841</c:v>
                </c:pt>
                <c:pt idx="472">
                  <c:v>45842</c:v>
                </c:pt>
                <c:pt idx="473">
                  <c:v>45845</c:v>
                </c:pt>
                <c:pt idx="474">
                  <c:v>45846</c:v>
                </c:pt>
                <c:pt idx="475">
                  <c:v>45847</c:v>
                </c:pt>
                <c:pt idx="476">
                  <c:v>45848</c:v>
                </c:pt>
                <c:pt idx="477">
                  <c:v>45849</c:v>
                </c:pt>
                <c:pt idx="478">
                  <c:v>45852</c:v>
                </c:pt>
                <c:pt idx="479">
                  <c:v>45853</c:v>
                </c:pt>
                <c:pt idx="480">
                  <c:v>45854</c:v>
                </c:pt>
                <c:pt idx="481">
                  <c:v>45855</c:v>
                </c:pt>
                <c:pt idx="482">
                  <c:v>45856</c:v>
                </c:pt>
                <c:pt idx="483">
                  <c:v>45859</c:v>
                </c:pt>
                <c:pt idx="484">
                  <c:v>45860</c:v>
                </c:pt>
                <c:pt idx="485">
                  <c:v>45861</c:v>
                </c:pt>
                <c:pt idx="486">
                  <c:v>45862</c:v>
                </c:pt>
                <c:pt idx="487">
                  <c:v>45863</c:v>
                </c:pt>
                <c:pt idx="488">
                  <c:v>45866</c:v>
                </c:pt>
                <c:pt idx="489">
                  <c:v>45867</c:v>
                </c:pt>
                <c:pt idx="490">
                  <c:v>45868</c:v>
                </c:pt>
                <c:pt idx="491">
                  <c:v>45869</c:v>
                </c:pt>
                <c:pt idx="492">
                  <c:v>45870</c:v>
                </c:pt>
                <c:pt idx="493">
                  <c:v>45873</c:v>
                </c:pt>
                <c:pt idx="494">
                  <c:v>45874</c:v>
                </c:pt>
                <c:pt idx="495">
                  <c:v>45875</c:v>
                </c:pt>
                <c:pt idx="496">
                  <c:v>45876</c:v>
                </c:pt>
                <c:pt idx="497">
                  <c:v>45877</c:v>
                </c:pt>
                <c:pt idx="498">
                  <c:v>45880</c:v>
                </c:pt>
                <c:pt idx="499">
                  <c:v>45881</c:v>
                </c:pt>
                <c:pt idx="500">
                  <c:v>45882</c:v>
                </c:pt>
                <c:pt idx="501">
                  <c:v>45883</c:v>
                </c:pt>
                <c:pt idx="502">
                  <c:v>45884</c:v>
                </c:pt>
                <c:pt idx="503">
                  <c:v>45887</c:v>
                </c:pt>
                <c:pt idx="504">
                  <c:v>45888</c:v>
                </c:pt>
                <c:pt idx="505">
                  <c:v>45889</c:v>
                </c:pt>
                <c:pt idx="506">
                  <c:v>45890</c:v>
                </c:pt>
                <c:pt idx="507">
                  <c:v>45891</c:v>
                </c:pt>
                <c:pt idx="508">
                  <c:v>45894</c:v>
                </c:pt>
                <c:pt idx="509">
                  <c:v>45895</c:v>
                </c:pt>
                <c:pt idx="510">
                  <c:v>45896</c:v>
                </c:pt>
                <c:pt idx="511">
                  <c:v>45897</c:v>
                </c:pt>
                <c:pt idx="512">
                  <c:v>45898</c:v>
                </c:pt>
                <c:pt idx="513">
                  <c:v>45901</c:v>
                </c:pt>
                <c:pt idx="514">
                  <c:v>45902</c:v>
                </c:pt>
                <c:pt idx="515">
                  <c:v>45903</c:v>
                </c:pt>
                <c:pt idx="516">
                  <c:v>45904</c:v>
                </c:pt>
                <c:pt idx="517">
                  <c:v>45905</c:v>
                </c:pt>
                <c:pt idx="518">
                  <c:v>45908</c:v>
                </c:pt>
                <c:pt idx="519">
                  <c:v>45909</c:v>
                </c:pt>
                <c:pt idx="520">
                  <c:v>45910</c:v>
                </c:pt>
                <c:pt idx="521">
                  <c:v>45911</c:v>
                </c:pt>
                <c:pt idx="522">
                  <c:v>45912</c:v>
                </c:pt>
                <c:pt idx="523">
                  <c:v>45915</c:v>
                </c:pt>
                <c:pt idx="524">
                  <c:v>45916</c:v>
                </c:pt>
                <c:pt idx="525">
                  <c:v>45917</c:v>
                </c:pt>
                <c:pt idx="526">
                  <c:v>45918</c:v>
                </c:pt>
                <c:pt idx="527">
                  <c:v>45919</c:v>
                </c:pt>
                <c:pt idx="528">
                  <c:v>45922</c:v>
                </c:pt>
                <c:pt idx="529">
                  <c:v>45923</c:v>
                </c:pt>
                <c:pt idx="530">
                  <c:v>45924</c:v>
                </c:pt>
                <c:pt idx="531">
                  <c:v>45925</c:v>
                </c:pt>
                <c:pt idx="532">
                  <c:v>45926</c:v>
                </c:pt>
                <c:pt idx="533">
                  <c:v>45929</c:v>
                </c:pt>
                <c:pt idx="534">
                  <c:v>45930</c:v>
                </c:pt>
                <c:pt idx="535">
                  <c:v>45931</c:v>
                </c:pt>
                <c:pt idx="536">
                  <c:v>45932</c:v>
                </c:pt>
                <c:pt idx="537">
                  <c:v>45933</c:v>
                </c:pt>
                <c:pt idx="538">
                  <c:v>45936</c:v>
                </c:pt>
                <c:pt idx="539">
                  <c:v>45937</c:v>
                </c:pt>
                <c:pt idx="540">
                  <c:v>45938</c:v>
                </c:pt>
                <c:pt idx="541">
                  <c:v>45939</c:v>
                </c:pt>
                <c:pt idx="542">
                  <c:v>45940</c:v>
                </c:pt>
                <c:pt idx="543">
                  <c:v>45943</c:v>
                </c:pt>
                <c:pt idx="544">
                  <c:v>45944</c:v>
                </c:pt>
                <c:pt idx="545">
                  <c:v>45945</c:v>
                </c:pt>
                <c:pt idx="546">
                  <c:v>45946</c:v>
                </c:pt>
                <c:pt idx="547">
                  <c:v>45947</c:v>
                </c:pt>
                <c:pt idx="548">
                  <c:v>45950</c:v>
                </c:pt>
                <c:pt idx="549">
                  <c:v>45951</c:v>
                </c:pt>
                <c:pt idx="550">
                  <c:v>45952</c:v>
                </c:pt>
                <c:pt idx="551">
                  <c:v>45953</c:v>
                </c:pt>
                <c:pt idx="552">
                  <c:v>45954</c:v>
                </c:pt>
                <c:pt idx="553">
                  <c:v>45957</c:v>
                </c:pt>
                <c:pt idx="554">
                  <c:v>45958</c:v>
                </c:pt>
                <c:pt idx="555">
                  <c:v>45959</c:v>
                </c:pt>
                <c:pt idx="556">
                  <c:v>45960</c:v>
                </c:pt>
                <c:pt idx="557">
                  <c:v>45961</c:v>
                </c:pt>
                <c:pt idx="558">
                  <c:v>45964</c:v>
                </c:pt>
                <c:pt idx="559">
                  <c:v>45965</c:v>
                </c:pt>
                <c:pt idx="560">
                  <c:v>45966</c:v>
                </c:pt>
                <c:pt idx="561">
                  <c:v>45967</c:v>
                </c:pt>
                <c:pt idx="562">
                  <c:v>45968</c:v>
                </c:pt>
                <c:pt idx="563">
                  <c:v>45971</c:v>
                </c:pt>
                <c:pt idx="564">
                  <c:v>45972</c:v>
                </c:pt>
                <c:pt idx="565">
                  <c:v>45973</c:v>
                </c:pt>
                <c:pt idx="566">
                  <c:v>45974</c:v>
                </c:pt>
                <c:pt idx="567">
                  <c:v>45975</c:v>
                </c:pt>
                <c:pt idx="568">
                  <c:v>45978</c:v>
                </c:pt>
                <c:pt idx="569">
                  <c:v>45979</c:v>
                </c:pt>
                <c:pt idx="570">
                  <c:v>45980</c:v>
                </c:pt>
                <c:pt idx="571">
                  <c:v>45981</c:v>
                </c:pt>
                <c:pt idx="572">
                  <c:v>45982</c:v>
                </c:pt>
                <c:pt idx="573">
                  <c:v>45985</c:v>
                </c:pt>
                <c:pt idx="574">
                  <c:v>45986</c:v>
                </c:pt>
                <c:pt idx="575">
                  <c:v>45987</c:v>
                </c:pt>
                <c:pt idx="576">
                  <c:v>45988</c:v>
                </c:pt>
                <c:pt idx="577">
                  <c:v>45989</c:v>
                </c:pt>
                <c:pt idx="578">
                  <c:v>45992</c:v>
                </c:pt>
                <c:pt idx="579">
                  <c:v>45993</c:v>
                </c:pt>
                <c:pt idx="580">
                  <c:v>45994</c:v>
                </c:pt>
                <c:pt idx="581">
                  <c:v>45995</c:v>
                </c:pt>
                <c:pt idx="582">
                  <c:v>45996</c:v>
                </c:pt>
                <c:pt idx="583">
                  <c:v>45999</c:v>
                </c:pt>
                <c:pt idx="584">
                  <c:v>46000</c:v>
                </c:pt>
                <c:pt idx="585">
                  <c:v>46001</c:v>
                </c:pt>
                <c:pt idx="586">
                  <c:v>46002</c:v>
                </c:pt>
                <c:pt idx="587">
                  <c:v>46003</c:v>
                </c:pt>
                <c:pt idx="588">
                  <c:v>46006</c:v>
                </c:pt>
                <c:pt idx="589">
                  <c:v>46007</c:v>
                </c:pt>
                <c:pt idx="590">
                  <c:v>46008</c:v>
                </c:pt>
                <c:pt idx="591">
                  <c:v>46009</c:v>
                </c:pt>
                <c:pt idx="592">
                  <c:v>46010</c:v>
                </c:pt>
                <c:pt idx="593">
                  <c:v>46013</c:v>
                </c:pt>
                <c:pt idx="594">
                  <c:v>46014</c:v>
                </c:pt>
                <c:pt idx="595">
                  <c:v>46015</c:v>
                </c:pt>
                <c:pt idx="596">
                  <c:v>46016</c:v>
                </c:pt>
                <c:pt idx="597">
                  <c:v>46017</c:v>
                </c:pt>
                <c:pt idx="598">
                  <c:v>46020</c:v>
                </c:pt>
                <c:pt idx="599">
                  <c:v>46021</c:v>
                </c:pt>
                <c:pt idx="600">
                  <c:v>46022</c:v>
                </c:pt>
                <c:pt idx="601">
                  <c:v>46023</c:v>
                </c:pt>
                <c:pt idx="602">
                  <c:v>46024</c:v>
                </c:pt>
                <c:pt idx="603">
                  <c:v>46027</c:v>
                </c:pt>
                <c:pt idx="604">
                  <c:v>46028</c:v>
                </c:pt>
                <c:pt idx="605">
                  <c:v>46029</c:v>
                </c:pt>
                <c:pt idx="606">
                  <c:v>46030</c:v>
                </c:pt>
                <c:pt idx="607">
                  <c:v>46031</c:v>
                </c:pt>
                <c:pt idx="608">
                  <c:v>46034</c:v>
                </c:pt>
                <c:pt idx="609">
                  <c:v>46035</c:v>
                </c:pt>
                <c:pt idx="610">
                  <c:v>46036</c:v>
                </c:pt>
                <c:pt idx="611">
                  <c:v>46037</c:v>
                </c:pt>
                <c:pt idx="612">
                  <c:v>46038</c:v>
                </c:pt>
                <c:pt idx="613">
                  <c:v>46041</c:v>
                </c:pt>
                <c:pt idx="614">
                  <c:v>46042</c:v>
                </c:pt>
                <c:pt idx="615">
                  <c:v>46043</c:v>
                </c:pt>
                <c:pt idx="616">
                  <c:v>46044</c:v>
                </c:pt>
                <c:pt idx="617">
                  <c:v>46045</c:v>
                </c:pt>
                <c:pt idx="618">
                  <c:v>46048</c:v>
                </c:pt>
                <c:pt idx="619">
                  <c:v>46049</c:v>
                </c:pt>
                <c:pt idx="620">
                  <c:v>46050</c:v>
                </c:pt>
                <c:pt idx="621">
                  <c:v>46051</c:v>
                </c:pt>
                <c:pt idx="622">
                  <c:v>46052</c:v>
                </c:pt>
                <c:pt idx="623">
                  <c:v>46055</c:v>
                </c:pt>
                <c:pt idx="624">
                  <c:v>46056</c:v>
                </c:pt>
                <c:pt idx="625">
                  <c:v>46057</c:v>
                </c:pt>
                <c:pt idx="626">
                  <c:v>46058</c:v>
                </c:pt>
                <c:pt idx="627">
                  <c:v>46059</c:v>
                </c:pt>
                <c:pt idx="628">
                  <c:v>46062</c:v>
                </c:pt>
                <c:pt idx="629">
                  <c:v>46063</c:v>
                </c:pt>
                <c:pt idx="630">
                  <c:v>46064</c:v>
                </c:pt>
                <c:pt idx="631">
                  <c:v>46065</c:v>
                </c:pt>
                <c:pt idx="632">
                  <c:v>46066</c:v>
                </c:pt>
                <c:pt idx="633">
                  <c:v>46069</c:v>
                </c:pt>
                <c:pt idx="634">
                  <c:v>46070</c:v>
                </c:pt>
                <c:pt idx="635">
                  <c:v>46071</c:v>
                </c:pt>
                <c:pt idx="636">
                  <c:v>46072</c:v>
                </c:pt>
                <c:pt idx="637">
                  <c:v>46073</c:v>
                </c:pt>
                <c:pt idx="638">
                  <c:v>46076</c:v>
                </c:pt>
                <c:pt idx="639">
                  <c:v>46077</c:v>
                </c:pt>
                <c:pt idx="640">
                  <c:v>46078</c:v>
                </c:pt>
                <c:pt idx="641">
                  <c:v>46079</c:v>
                </c:pt>
                <c:pt idx="642">
                  <c:v>46080</c:v>
                </c:pt>
                <c:pt idx="643">
                  <c:v>46083</c:v>
                </c:pt>
                <c:pt idx="644">
                  <c:v>46084</c:v>
                </c:pt>
                <c:pt idx="645">
                  <c:v>46085</c:v>
                </c:pt>
                <c:pt idx="646">
                  <c:v>46086</c:v>
                </c:pt>
                <c:pt idx="647">
                  <c:v>46087</c:v>
                </c:pt>
                <c:pt idx="648">
                  <c:v>46090</c:v>
                </c:pt>
                <c:pt idx="649">
                  <c:v>46091</c:v>
                </c:pt>
                <c:pt idx="650">
                  <c:v>46092</c:v>
                </c:pt>
                <c:pt idx="651">
                  <c:v>46093</c:v>
                </c:pt>
                <c:pt idx="652">
                  <c:v>46094</c:v>
                </c:pt>
                <c:pt idx="653">
                  <c:v>46097</c:v>
                </c:pt>
                <c:pt idx="654">
                  <c:v>46098</c:v>
                </c:pt>
                <c:pt idx="655">
                  <c:v>46099</c:v>
                </c:pt>
                <c:pt idx="656">
                  <c:v>46100</c:v>
                </c:pt>
                <c:pt idx="657">
                  <c:v>46101</c:v>
                </c:pt>
                <c:pt idx="658">
                  <c:v>46104</c:v>
                </c:pt>
                <c:pt idx="659">
                  <c:v>46105</c:v>
                </c:pt>
                <c:pt idx="660">
                  <c:v>46106</c:v>
                </c:pt>
                <c:pt idx="661">
                  <c:v>46107</c:v>
                </c:pt>
                <c:pt idx="662">
                  <c:v>46108</c:v>
                </c:pt>
                <c:pt idx="663">
                  <c:v>46111</c:v>
                </c:pt>
                <c:pt idx="664">
                  <c:v>46112</c:v>
                </c:pt>
                <c:pt idx="665">
                  <c:v>46113</c:v>
                </c:pt>
                <c:pt idx="666">
                  <c:v>46114</c:v>
                </c:pt>
                <c:pt idx="667">
                  <c:v>46115</c:v>
                </c:pt>
                <c:pt idx="668">
                  <c:v>46118</c:v>
                </c:pt>
                <c:pt idx="669">
                  <c:v>46119</c:v>
                </c:pt>
                <c:pt idx="670">
                  <c:v>46120</c:v>
                </c:pt>
                <c:pt idx="671">
                  <c:v>46121</c:v>
                </c:pt>
                <c:pt idx="672">
                  <c:v>46122</c:v>
                </c:pt>
                <c:pt idx="673">
                  <c:v>46125</c:v>
                </c:pt>
                <c:pt idx="674">
                  <c:v>46126</c:v>
                </c:pt>
                <c:pt idx="675">
                  <c:v>46127</c:v>
                </c:pt>
                <c:pt idx="676">
                  <c:v>46128</c:v>
                </c:pt>
                <c:pt idx="677">
                  <c:v>46129</c:v>
                </c:pt>
                <c:pt idx="678">
                  <c:v>46132</c:v>
                </c:pt>
                <c:pt idx="679">
                  <c:v>46133</c:v>
                </c:pt>
                <c:pt idx="680">
                  <c:v>46134</c:v>
                </c:pt>
                <c:pt idx="681">
                  <c:v>46135</c:v>
                </c:pt>
                <c:pt idx="682">
                  <c:v>46136</c:v>
                </c:pt>
                <c:pt idx="683">
                  <c:v>46139</c:v>
                </c:pt>
                <c:pt idx="684">
                  <c:v>46140</c:v>
                </c:pt>
                <c:pt idx="685">
                  <c:v>46141</c:v>
                </c:pt>
                <c:pt idx="686">
                  <c:v>46142</c:v>
                </c:pt>
                <c:pt idx="687">
                  <c:v>46143</c:v>
                </c:pt>
                <c:pt idx="688">
                  <c:v>46146</c:v>
                </c:pt>
                <c:pt idx="689">
                  <c:v>46147</c:v>
                </c:pt>
                <c:pt idx="690">
                  <c:v>46148</c:v>
                </c:pt>
                <c:pt idx="691">
                  <c:v>46149</c:v>
                </c:pt>
                <c:pt idx="692">
                  <c:v>46150</c:v>
                </c:pt>
                <c:pt idx="693">
                  <c:v>46153</c:v>
                </c:pt>
                <c:pt idx="694">
                  <c:v>46154</c:v>
                </c:pt>
                <c:pt idx="695">
                  <c:v>46155</c:v>
                </c:pt>
                <c:pt idx="696">
                  <c:v>46156</c:v>
                </c:pt>
                <c:pt idx="697">
                  <c:v>46157</c:v>
                </c:pt>
                <c:pt idx="698">
                  <c:v>46160</c:v>
                </c:pt>
                <c:pt idx="699">
                  <c:v>46161</c:v>
                </c:pt>
                <c:pt idx="700">
                  <c:v>46162</c:v>
                </c:pt>
                <c:pt idx="701">
                  <c:v>46163</c:v>
                </c:pt>
                <c:pt idx="702">
                  <c:v>46164</c:v>
                </c:pt>
                <c:pt idx="703">
                  <c:v>46167</c:v>
                </c:pt>
                <c:pt idx="704">
                  <c:v>46168</c:v>
                </c:pt>
                <c:pt idx="705">
                  <c:v>46169</c:v>
                </c:pt>
                <c:pt idx="706">
                  <c:v>46170</c:v>
                </c:pt>
                <c:pt idx="707">
                  <c:v>46171</c:v>
                </c:pt>
                <c:pt idx="708">
                  <c:v>46174</c:v>
                </c:pt>
                <c:pt idx="709">
                  <c:v>46175</c:v>
                </c:pt>
                <c:pt idx="710">
                  <c:v>46176</c:v>
                </c:pt>
                <c:pt idx="711">
                  <c:v>46177</c:v>
                </c:pt>
                <c:pt idx="712">
                  <c:v>46178</c:v>
                </c:pt>
                <c:pt idx="713">
                  <c:v>46181</c:v>
                </c:pt>
                <c:pt idx="714">
                  <c:v>46182</c:v>
                </c:pt>
                <c:pt idx="715">
                  <c:v>46183</c:v>
                </c:pt>
                <c:pt idx="716">
                  <c:v>46184</c:v>
                </c:pt>
                <c:pt idx="717">
                  <c:v>46185</c:v>
                </c:pt>
                <c:pt idx="718">
                  <c:v>46188</c:v>
                </c:pt>
                <c:pt idx="719">
                  <c:v>46189</c:v>
                </c:pt>
                <c:pt idx="720">
                  <c:v>46190</c:v>
                </c:pt>
                <c:pt idx="721">
                  <c:v>46191</c:v>
                </c:pt>
                <c:pt idx="722">
                  <c:v>46192</c:v>
                </c:pt>
                <c:pt idx="723">
                  <c:v>46195</c:v>
                </c:pt>
                <c:pt idx="724">
                  <c:v>46196</c:v>
                </c:pt>
                <c:pt idx="725">
                  <c:v>46197</c:v>
                </c:pt>
                <c:pt idx="726">
                  <c:v>46198</c:v>
                </c:pt>
                <c:pt idx="727">
                  <c:v>46199</c:v>
                </c:pt>
                <c:pt idx="728">
                  <c:v>46202</c:v>
                </c:pt>
                <c:pt idx="729">
                  <c:v>46203</c:v>
                </c:pt>
                <c:pt idx="730">
                  <c:v>46204</c:v>
                </c:pt>
                <c:pt idx="731">
                  <c:v>46205</c:v>
                </c:pt>
                <c:pt idx="732">
                  <c:v>46206</c:v>
                </c:pt>
                <c:pt idx="733">
                  <c:v>46209</c:v>
                </c:pt>
                <c:pt idx="734">
                  <c:v>46210</c:v>
                </c:pt>
                <c:pt idx="735">
                  <c:v>46211</c:v>
                </c:pt>
                <c:pt idx="736">
                  <c:v>46212</c:v>
                </c:pt>
                <c:pt idx="737">
                  <c:v>46213</c:v>
                </c:pt>
                <c:pt idx="738">
                  <c:v>46216</c:v>
                </c:pt>
                <c:pt idx="739">
                  <c:v>46217</c:v>
                </c:pt>
                <c:pt idx="740">
                  <c:v>46218</c:v>
                </c:pt>
                <c:pt idx="741">
                  <c:v>46219</c:v>
                </c:pt>
                <c:pt idx="742">
                  <c:v>46220</c:v>
                </c:pt>
                <c:pt idx="743">
                  <c:v>46223</c:v>
                </c:pt>
                <c:pt idx="744">
                  <c:v>46224</c:v>
                </c:pt>
                <c:pt idx="745">
                  <c:v>46225</c:v>
                </c:pt>
                <c:pt idx="746">
                  <c:v>46226</c:v>
                </c:pt>
                <c:pt idx="747">
                  <c:v>46227</c:v>
                </c:pt>
                <c:pt idx="748">
                  <c:v>46230</c:v>
                </c:pt>
                <c:pt idx="749">
                  <c:v>46231</c:v>
                </c:pt>
                <c:pt idx="750">
                  <c:v>46232</c:v>
                </c:pt>
                <c:pt idx="751">
                  <c:v>46233</c:v>
                </c:pt>
                <c:pt idx="752">
                  <c:v>46234</c:v>
                </c:pt>
                <c:pt idx="753">
                  <c:v>46237</c:v>
                </c:pt>
                <c:pt idx="754">
                  <c:v>46238</c:v>
                </c:pt>
                <c:pt idx="755">
                  <c:v>46239</c:v>
                </c:pt>
                <c:pt idx="756">
                  <c:v>46240</c:v>
                </c:pt>
                <c:pt idx="757">
                  <c:v>46241</c:v>
                </c:pt>
                <c:pt idx="758">
                  <c:v>46244</c:v>
                </c:pt>
                <c:pt idx="759">
                  <c:v>46245</c:v>
                </c:pt>
                <c:pt idx="760">
                  <c:v>46246</c:v>
                </c:pt>
                <c:pt idx="761">
                  <c:v>46247</c:v>
                </c:pt>
                <c:pt idx="762">
                  <c:v>46248</c:v>
                </c:pt>
                <c:pt idx="763">
                  <c:v>46251</c:v>
                </c:pt>
                <c:pt idx="764">
                  <c:v>46252</c:v>
                </c:pt>
                <c:pt idx="765">
                  <c:v>46253</c:v>
                </c:pt>
                <c:pt idx="766">
                  <c:v>46254</c:v>
                </c:pt>
                <c:pt idx="767">
                  <c:v>46255</c:v>
                </c:pt>
                <c:pt idx="768">
                  <c:v>46258</c:v>
                </c:pt>
                <c:pt idx="769">
                  <c:v>46259</c:v>
                </c:pt>
                <c:pt idx="770">
                  <c:v>46260</c:v>
                </c:pt>
                <c:pt idx="771">
                  <c:v>46261</c:v>
                </c:pt>
                <c:pt idx="772">
                  <c:v>46262</c:v>
                </c:pt>
                <c:pt idx="773">
                  <c:v>46265</c:v>
                </c:pt>
                <c:pt idx="774">
                  <c:v>46266</c:v>
                </c:pt>
                <c:pt idx="775">
                  <c:v>46267</c:v>
                </c:pt>
                <c:pt idx="776">
                  <c:v>46268</c:v>
                </c:pt>
                <c:pt idx="777">
                  <c:v>46269</c:v>
                </c:pt>
                <c:pt idx="778">
                  <c:v>46272</c:v>
                </c:pt>
                <c:pt idx="779">
                  <c:v>46273</c:v>
                </c:pt>
                <c:pt idx="780">
                  <c:v>46274</c:v>
                </c:pt>
                <c:pt idx="781">
                  <c:v>46275</c:v>
                </c:pt>
                <c:pt idx="782">
                  <c:v>46276</c:v>
                </c:pt>
                <c:pt idx="783">
                  <c:v>46279</c:v>
                </c:pt>
                <c:pt idx="784">
                  <c:v>46280</c:v>
                </c:pt>
                <c:pt idx="785">
                  <c:v>46281</c:v>
                </c:pt>
                <c:pt idx="786">
                  <c:v>46282</c:v>
                </c:pt>
                <c:pt idx="787">
                  <c:v>46283</c:v>
                </c:pt>
                <c:pt idx="788">
                  <c:v>46286</c:v>
                </c:pt>
                <c:pt idx="789">
                  <c:v>46287</c:v>
                </c:pt>
                <c:pt idx="790">
                  <c:v>46288</c:v>
                </c:pt>
                <c:pt idx="791">
                  <c:v>46289</c:v>
                </c:pt>
                <c:pt idx="792">
                  <c:v>46290</c:v>
                </c:pt>
                <c:pt idx="793">
                  <c:v>46293</c:v>
                </c:pt>
                <c:pt idx="794">
                  <c:v>46294</c:v>
                </c:pt>
                <c:pt idx="795">
                  <c:v>46295</c:v>
                </c:pt>
                <c:pt idx="796">
                  <c:v>46296</c:v>
                </c:pt>
                <c:pt idx="797">
                  <c:v>46297</c:v>
                </c:pt>
                <c:pt idx="798">
                  <c:v>46300</c:v>
                </c:pt>
                <c:pt idx="799">
                  <c:v>46301</c:v>
                </c:pt>
                <c:pt idx="800">
                  <c:v>46302</c:v>
                </c:pt>
                <c:pt idx="801">
                  <c:v>46303</c:v>
                </c:pt>
                <c:pt idx="802">
                  <c:v>46304</c:v>
                </c:pt>
                <c:pt idx="803">
                  <c:v>46307</c:v>
                </c:pt>
                <c:pt idx="804">
                  <c:v>46308</c:v>
                </c:pt>
                <c:pt idx="805">
                  <c:v>46309</c:v>
                </c:pt>
                <c:pt idx="806">
                  <c:v>46310</c:v>
                </c:pt>
                <c:pt idx="807">
                  <c:v>46311</c:v>
                </c:pt>
                <c:pt idx="808">
                  <c:v>46314</c:v>
                </c:pt>
                <c:pt idx="809">
                  <c:v>46315</c:v>
                </c:pt>
                <c:pt idx="810">
                  <c:v>46316</c:v>
                </c:pt>
                <c:pt idx="811">
                  <c:v>46317</c:v>
                </c:pt>
                <c:pt idx="812">
                  <c:v>46318</c:v>
                </c:pt>
                <c:pt idx="813">
                  <c:v>46321</c:v>
                </c:pt>
                <c:pt idx="814">
                  <c:v>46322</c:v>
                </c:pt>
                <c:pt idx="815">
                  <c:v>46323</c:v>
                </c:pt>
                <c:pt idx="816">
                  <c:v>46324</c:v>
                </c:pt>
                <c:pt idx="817">
                  <c:v>46325</c:v>
                </c:pt>
                <c:pt idx="818">
                  <c:v>46328</c:v>
                </c:pt>
                <c:pt idx="819">
                  <c:v>46329</c:v>
                </c:pt>
                <c:pt idx="820">
                  <c:v>46330</c:v>
                </c:pt>
                <c:pt idx="821">
                  <c:v>46331</c:v>
                </c:pt>
                <c:pt idx="822">
                  <c:v>46332</c:v>
                </c:pt>
                <c:pt idx="823">
                  <c:v>46335</c:v>
                </c:pt>
                <c:pt idx="824">
                  <c:v>46336</c:v>
                </c:pt>
                <c:pt idx="825">
                  <c:v>46337</c:v>
                </c:pt>
                <c:pt idx="826">
                  <c:v>46338</c:v>
                </c:pt>
                <c:pt idx="827">
                  <c:v>46339</c:v>
                </c:pt>
                <c:pt idx="828">
                  <c:v>46342</c:v>
                </c:pt>
                <c:pt idx="829">
                  <c:v>46343</c:v>
                </c:pt>
                <c:pt idx="830">
                  <c:v>46344</c:v>
                </c:pt>
                <c:pt idx="831">
                  <c:v>46345</c:v>
                </c:pt>
                <c:pt idx="832">
                  <c:v>46346</c:v>
                </c:pt>
                <c:pt idx="833">
                  <c:v>46349</c:v>
                </c:pt>
                <c:pt idx="834">
                  <c:v>46350</c:v>
                </c:pt>
                <c:pt idx="835">
                  <c:v>46351</c:v>
                </c:pt>
                <c:pt idx="836">
                  <c:v>46352</c:v>
                </c:pt>
                <c:pt idx="837">
                  <c:v>46353</c:v>
                </c:pt>
                <c:pt idx="838">
                  <c:v>46356</c:v>
                </c:pt>
                <c:pt idx="839">
                  <c:v>46357</c:v>
                </c:pt>
                <c:pt idx="840">
                  <c:v>46358</c:v>
                </c:pt>
                <c:pt idx="841">
                  <c:v>46359</c:v>
                </c:pt>
                <c:pt idx="842">
                  <c:v>46360</c:v>
                </c:pt>
                <c:pt idx="843">
                  <c:v>46363</c:v>
                </c:pt>
                <c:pt idx="844">
                  <c:v>46364</c:v>
                </c:pt>
                <c:pt idx="845">
                  <c:v>46365</c:v>
                </c:pt>
                <c:pt idx="846">
                  <c:v>46366</c:v>
                </c:pt>
                <c:pt idx="847">
                  <c:v>46367</c:v>
                </c:pt>
                <c:pt idx="848">
                  <c:v>46370</c:v>
                </c:pt>
                <c:pt idx="849">
                  <c:v>46371</c:v>
                </c:pt>
                <c:pt idx="850">
                  <c:v>46372</c:v>
                </c:pt>
                <c:pt idx="851">
                  <c:v>46373</c:v>
                </c:pt>
                <c:pt idx="852">
                  <c:v>46374</c:v>
                </c:pt>
                <c:pt idx="853">
                  <c:v>46377</c:v>
                </c:pt>
                <c:pt idx="854">
                  <c:v>46378</c:v>
                </c:pt>
                <c:pt idx="855">
                  <c:v>46379</c:v>
                </c:pt>
                <c:pt idx="856">
                  <c:v>46380</c:v>
                </c:pt>
                <c:pt idx="857">
                  <c:v>46381</c:v>
                </c:pt>
                <c:pt idx="858">
                  <c:v>46384</c:v>
                </c:pt>
                <c:pt idx="859">
                  <c:v>46385</c:v>
                </c:pt>
                <c:pt idx="860">
                  <c:v>46386</c:v>
                </c:pt>
                <c:pt idx="861">
                  <c:v>46387</c:v>
                </c:pt>
                <c:pt idx="862">
                  <c:v>46388</c:v>
                </c:pt>
                <c:pt idx="863">
                  <c:v>46391</c:v>
                </c:pt>
                <c:pt idx="864">
                  <c:v>46392</c:v>
                </c:pt>
                <c:pt idx="865">
                  <c:v>46393</c:v>
                </c:pt>
                <c:pt idx="866">
                  <c:v>46394</c:v>
                </c:pt>
                <c:pt idx="867">
                  <c:v>46395</c:v>
                </c:pt>
                <c:pt idx="868">
                  <c:v>46398</c:v>
                </c:pt>
                <c:pt idx="869">
                  <c:v>46399</c:v>
                </c:pt>
                <c:pt idx="870">
                  <c:v>46400</c:v>
                </c:pt>
                <c:pt idx="871">
                  <c:v>46401</c:v>
                </c:pt>
                <c:pt idx="872">
                  <c:v>46402</c:v>
                </c:pt>
                <c:pt idx="873">
                  <c:v>46405</c:v>
                </c:pt>
                <c:pt idx="874">
                  <c:v>46406</c:v>
                </c:pt>
                <c:pt idx="875">
                  <c:v>46407</c:v>
                </c:pt>
                <c:pt idx="876">
                  <c:v>46408</c:v>
                </c:pt>
                <c:pt idx="877">
                  <c:v>46409</c:v>
                </c:pt>
                <c:pt idx="878">
                  <c:v>46412</c:v>
                </c:pt>
                <c:pt idx="879">
                  <c:v>46413</c:v>
                </c:pt>
                <c:pt idx="880">
                  <c:v>46414</c:v>
                </c:pt>
                <c:pt idx="881">
                  <c:v>46415</c:v>
                </c:pt>
                <c:pt idx="882">
                  <c:v>46416</c:v>
                </c:pt>
                <c:pt idx="883">
                  <c:v>46419</c:v>
                </c:pt>
                <c:pt idx="884">
                  <c:v>46420</c:v>
                </c:pt>
                <c:pt idx="885">
                  <c:v>46421</c:v>
                </c:pt>
                <c:pt idx="886">
                  <c:v>46422</c:v>
                </c:pt>
                <c:pt idx="887">
                  <c:v>46423</c:v>
                </c:pt>
                <c:pt idx="888">
                  <c:v>46426</c:v>
                </c:pt>
                <c:pt idx="889">
                  <c:v>46427</c:v>
                </c:pt>
                <c:pt idx="890">
                  <c:v>46428</c:v>
                </c:pt>
                <c:pt idx="891">
                  <c:v>46429</c:v>
                </c:pt>
                <c:pt idx="892">
                  <c:v>46430</c:v>
                </c:pt>
                <c:pt idx="893">
                  <c:v>46433</c:v>
                </c:pt>
                <c:pt idx="894">
                  <c:v>46434</c:v>
                </c:pt>
                <c:pt idx="895">
                  <c:v>46435</c:v>
                </c:pt>
                <c:pt idx="896">
                  <c:v>46436</c:v>
                </c:pt>
                <c:pt idx="897">
                  <c:v>46437</c:v>
                </c:pt>
                <c:pt idx="898">
                  <c:v>46440</c:v>
                </c:pt>
                <c:pt idx="899">
                  <c:v>46441</c:v>
                </c:pt>
                <c:pt idx="900">
                  <c:v>46442</c:v>
                </c:pt>
                <c:pt idx="901">
                  <c:v>46443</c:v>
                </c:pt>
                <c:pt idx="902">
                  <c:v>46444</c:v>
                </c:pt>
                <c:pt idx="903">
                  <c:v>46447</c:v>
                </c:pt>
                <c:pt idx="904">
                  <c:v>46448</c:v>
                </c:pt>
                <c:pt idx="905">
                  <c:v>46449</c:v>
                </c:pt>
                <c:pt idx="906">
                  <c:v>46450</c:v>
                </c:pt>
                <c:pt idx="907">
                  <c:v>46451</c:v>
                </c:pt>
                <c:pt idx="908">
                  <c:v>46454</c:v>
                </c:pt>
                <c:pt idx="909">
                  <c:v>46455</c:v>
                </c:pt>
                <c:pt idx="910">
                  <c:v>46456</c:v>
                </c:pt>
                <c:pt idx="911">
                  <c:v>46457</c:v>
                </c:pt>
                <c:pt idx="912">
                  <c:v>46458</c:v>
                </c:pt>
                <c:pt idx="913">
                  <c:v>46461</c:v>
                </c:pt>
                <c:pt idx="914">
                  <c:v>46462</c:v>
                </c:pt>
                <c:pt idx="915">
                  <c:v>46463</c:v>
                </c:pt>
                <c:pt idx="916">
                  <c:v>46464</c:v>
                </c:pt>
                <c:pt idx="917">
                  <c:v>46465</c:v>
                </c:pt>
                <c:pt idx="918">
                  <c:v>46468</c:v>
                </c:pt>
                <c:pt idx="919">
                  <c:v>46469</c:v>
                </c:pt>
                <c:pt idx="920">
                  <c:v>46470</c:v>
                </c:pt>
                <c:pt idx="921">
                  <c:v>46471</c:v>
                </c:pt>
                <c:pt idx="922">
                  <c:v>46472</c:v>
                </c:pt>
                <c:pt idx="923">
                  <c:v>46475</c:v>
                </c:pt>
                <c:pt idx="924">
                  <c:v>46476</c:v>
                </c:pt>
                <c:pt idx="925">
                  <c:v>46477</c:v>
                </c:pt>
                <c:pt idx="926">
                  <c:v>46478</c:v>
                </c:pt>
                <c:pt idx="927">
                  <c:v>46479</c:v>
                </c:pt>
                <c:pt idx="928">
                  <c:v>46482</c:v>
                </c:pt>
                <c:pt idx="929">
                  <c:v>46483</c:v>
                </c:pt>
                <c:pt idx="930">
                  <c:v>46484</c:v>
                </c:pt>
                <c:pt idx="931">
                  <c:v>46485</c:v>
                </c:pt>
                <c:pt idx="932">
                  <c:v>46486</c:v>
                </c:pt>
                <c:pt idx="933">
                  <c:v>46489</c:v>
                </c:pt>
                <c:pt idx="934">
                  <c:v>46490</c:v>
                </c:pt>
                <c:pt idx="935">
                  <c:v>46491</c:v>
                </c:pt>
                <c:pt idx="936">
                  <c:v>46492</c:v>
                </c:pt>
                <c:pt idx="937">
                  <c:v>46493</c:v>
                </c:pt>
                <c:pt idx="938">
                  <c:v>46496</c:v>
                </c:pt>
                <c:pt idx="939">
                  <c:v>46497</c:v>
                </c:pt>
                <c:pt idx="940">
                  <c:v>46498</c:v>
                </c:pt>
                <c:pt idx="941">
                  <c:v>46499</c:v>
                </c:pt>
                <c:pt idx="942">
                  <c:v>46500</c:v>
                </c:pt>
                <c:pt idx="943">
                  <c:v>46503</c:v>
                </c:pt>
                <c:pt idx="944">
                  <c:v>46504</c:v>
                </c:pt>
                <c:pt idx="945">
                  <c:v>46505</c:v>
                </c:pt>
                <c:pt idx="946">
                  <c:v>46506</c:v>
                </c:pt>
                <c:pt idx="947">
                  <c:v>46507</c:v>
                </c:pt>
                <c:pt idx="948">
                  <c:v>46510</c:v>
                </c:pt>
                <c:pt idx="949">
                  <c:v>46511</c:v>
                </c:pt>
                <c:pt idx="950">
                  <c:v>46512</c:v>
                </c:pt>
                <c:pt idx="951">
                  <c:v>46513</c:v>
                </c:pt>
                <c:pt idx="952">
                  <c:v>46514</c:v>
                </c:pt>
                <c:pt idx="953">
                  <c:v>46517</c:v>
                </c:pt>
                <c:pt idx="954">
                  <c:v>46518</c:v>
                </c:pt>
                <c:pt idx="955">
                  <c:v>46519</c:v>
                </c:pt>
                <c:pt idx="956">
                  <c:v>46520</c:v>
                </c:pt>
                <c:pt idx="957">
                  <c:v>46521</c:v>
                </c:pt>
                <c:pt idx="958">
                  <c:v>46524</c:v>
                </c:pt>
                <c:pt idx="959">
                  <c:v>46525</c:v>
                </c:pt>
                <c:pt idx="960">
                  <c:v>46526</c:v>
                </c:pt>
                <c:pt idx="961">
                  <c:v>46527</c:v>
                </c:pt>
                <c:pt idx="962">
                  <c:v>46528</c:v>
                </c:pt>
                <c:pt idx="963">
                  <c:v>46531</c:v>
                </c:pt>
                <c:pt idx="964">
                  <c:v>46532</c:v>
                </c:pt>
                <c:pt idx="965">
                  <c:v>46533</c:v>
                </c:pt>
                <c:pt idx="966">
                  <c:v>46534</c:v>
                </c:pt>
                <c:pt idx="967">
                  <c:v>46535</c:v>
                </c:pt>
                <c:pt idx="968">
                  <c:v>46538</c:v>
                </c:pt>
                <c:pt idx="969">
                  <c:v>46539</c:v>
                </c:pt>
                <c:pt idx="970">
                  <c:v>46540</c:v>
                </c:pt>
                <c:pt idx="971">
                  <c:v>46541</c:v>
                </c:pt>
                <c:pt idx="972">
                  <c:v>46542</c:v>
                </c:pt>
                <c:pt idx="973">
                  <c:v>46545</c:v>
                </c:pt>
                <c:pt idx="974">
                  <c:v>46546</c:v>
                </c:pt>
                <c:pt idx="975">
                  <c:v>46547</c:v>
                </c:pt>
                <c:pt idx="976">
                  <c:v>46548</c:v>
                </c:pt>
                <c:pt idx="977">
                  <c:v>46549</c:v>
                </c:pt>
                <c:pt idx="978">
                  <c:v>46552</c:v>
                </c:pt>
                <c:pt idx="979">
                  <c:v>46553</c:v>
                </c:pt>
                <c:pt idx="980">
                  <c:v>46554</c:v>
                </c:pt>
                <c:pt idx="981">
                  <c:v>46555</c:v>
                </c:pt>
                <c:pt idx="982">
                  <c:v>46556</c:v>
                </c:pt>
                <c:pt idx="983">
                  <c:v>46559</c:v>
                </c:pt>
                <c:pt idx="984">
                  <c:v>46560</c:v>
                </c:pt>
                <c:pt idx="985">
                  <c:v>46561</c:v>
                </c:pt>
                <c:pt idx="986">
                  <c:v>46562</c:v>
                </c:pt>
                <c:pt idx="987">
                  <c:v>46563</c:v>
                </c:pt>
                <c:pt idx="988">
                  <c:v>46566</c:v>
                </c:pt>
                <c:pt idx="989">
                  <c:v>46567</c:v>
                </c:pt>
                <c:pt idx="990">
                  <c:v>46568</c:v>
                </c:pt>
                <c:pt idx="991">
                  <c:v>46569</c:v>
                </c:pt>
                <c:pt idx="992">
                  <c:v>46570</c:v>
                </c:pt>
                <c:pt idx="993">
                  <c:v>46573</c:v>
                </c:pt>
                <c:pt idx="994">
                  <c:v>46574</c:v>
                </c:pt>
                <c:pt idx="995">
                  <c:v>46575</c:v>
                </c:pt>
                <c:pt idx="996">
                  <c:v>46576</c:v>
                </c:pt>
                <c:pt idx="997">
                  <c:v>46577</c:v>
                </c:pt>
                <c:pt idx="998">
                  <c:v>46580</c:v>
                </c:pt>
              </c:numCache>
            </c:numRef>
          </c:cat>
          <c:val>
            <c:numRef>
              <c:f>Daily!$V$2:$V$1057</c:f>
            </c:numRef>
          </c:val>
          <c:smooth val="0"/>
          <c:extLst>
            <c:ext xmlns:c16="http://schemas.microsoft.com/office/drawing/2014/chart" uri="{C3380CC4-5D6E-409C-BE32-E72D297353CC}">
              <c16:uniqueId val="{00000017-094D-4E29-B010-D717A2A1A293}"/>
            </c:ext>
          </c:extLst>
        </c:ser>
        <c:ser>
          <c:idx val="18"/>
          <c:order val="18"/>
          <c:tx>
            <c:strRef>
              <c:f>Daily!$W$1</c:f>
              <c:strCache>
                <c:ptCount val="1"/>
                <c:pt idx="0">
                  <c:v>M+5</c:v>
                </c:pt>
              </c:strCache>
            </c:strRef>
          </c:tx>
          <c:spPr>
            <a:ln w="28575" cap="rnd" cmpd="sng" algn="ctr">
              <a:solidFill>
                <a:schemeClr val="accent1">
                  <a:lumMod val="80000"/>
                  <a:shade val="95000"/>
                  <a:satMod val="105000"/>
                </a:schemeClr>
              </a:solidFill>
              <a:prstDash val="solid"/>
              <a:round/>
            </a:ln>
            <a:effectLst/>
          </c:spPr>
          <c:marker>
            <c:symbol val="none"/>
          </c:marker>
          <c:cat>
            <c:numRef>
              <c:f>Daily!$A$2:$A$1000</c:f>
              <c:numCache>
                <c:formatCode>d\-mmm\-yy</c:formatCode>
                <c:ptCount val="999"/>
                <c:pt idx="0">
                  <c:v>45128</c:v>
                </c:pt>
                <c:pt idx="1">
                  <c:v>45131</c:v>
                </c:pt>
                <c:pt idx="2">
                  <c:v>45132</c:v>
                </c:pt>
                <c:pt idx="3">
                  <c:v>45133</c:v>
                </c:pt>
                <c:pt idx="4">
                  <c:v>45134</c:v>
                </c:pt>
                <c:pt idx="5">
                  <c:v>45135</c:v>
                </c:pt>
                <c:pt idx="6">
                  <c:v>45138</c:v>
                </c:pt>
                <c:pt idx="7">
                  <c:v>45139</c:v>
                </c:pt>
                <c:pt idx="8">
                  <c:v>45140</c:v>
                </c:pt>
                <c:pt idx="9">
                  <c:v>45141</c:v>
                </c:pt>
                <c:pt idx="10">
                  <c:v>45142</c:v>
                </c:pt>
                <c:pt idx="11">
                  <c:v>45145</c:v>
                </c:pt>
                <c:pt idx="12">
                  <c:v>45146</c:v>
                </c:pt>
                <c:pt idx="13">
                  <c:v>45147</c:v>
                </c:pt>
                <c:pt idx="14">
                  <c:v>45148</c:v>
                </c:pt>
                <c:pt idx="15">
                  <c:v>45149</c:v>
                </c:pt>
                <c:pt idx="16">
                  <c:v>45152</c:v>
                </c:pt>
                <c:pt idx="17">
                  <c:v>45153</c:v>
                </c:pt>
                <c:pt idx="18">
                  <c:v>45154</c:v>
                </c:pt>
                <c:pt idx="19">
                  <c:v>45155</c:v>
                </c:pt>
                <c:pt idx="20">
                  <c:v>45156</c:v>
                </c:pt>
                <c:pt idx="21">
                  <c:v>45159</c:v>
                </c:pt>
                <c:pt idx="22">
                  <c:v>45160</c:v>
                </c:pt>
                <c:pt idx="23">
                  <c:v>45161</c:v>
                </c:pt>
                <c:pt idx="24">
                  <c:v>45162</c:v>
                </c:pt>
                <c:pt idx="25">
                  <c:v>45163</c:v>
                </c:pt>
                <c:pt idx="26">
                  <c:v>45166</c:v>
                </c:pt>
                <c:pt idx="27">
                  <c:v>45167</c:v>
                </c:pt>
                <c:pt idx="28">
                  <c:v>45168</c:v>
                </c:pt>
                <c:pt idx="29">
                  <c:v>45169</c:v>
                </c:pt>
                <c:pt idx="30">
                  <c:v>45170</c:v>
                </c:pt>
                <c:pt idx="31">
                  <c:v>45173</c:v>
                </c:pt>
                <c:pt idx="32">
                  <c:v>45174</c:v>
                </c:pt>
                <c:pt idx="33">
                  <c:v>45175</c:v>
                </c:pt>
                <c:pt idx="34">
                  <c:v>45176</c:v>
                </c:pt>
                <c:pt idx="35">
                  <c:v>45177</c:v>
                </c:pt>
                <c:pt idx="36">
                  <c:v>45180</c:v>
                </c:pt>
                <c:pt idx="37">
                  <c:v>45181</c:v>
                </c:pt>
                <c:pt idx="38">
                  <c:v>45182</c:v>
                </c:pt>
                <c:pt idx="39">
                  <c:v>45183</c:v>
                </c:pt>
                <c:pt idx="40">
                  <c:v>45184</c:v>
                </c:pt>
                <c:pt idx="41">
                  <c:v>45187</c:v>
                </c:pt>
                <c:pt idx="42">
                  <c:v>45188</c:v>
                </c:pt>
                <c:pt idx="43">
                  <c:v>45189</c:v>
                </c:pt>
                <c:pt idx="44">
                  <c:v>45190</c:v>
                </c:pt>
                <c:pt idx="45">
                  <c:v>45191</c:v>
                </c:pt>
                <c:pt idx="46">
                  <c:v>45194</c:v>
                </c:pt>
                <c:pt idx="47">
                  <c:v>45195</c:v>
                </c:pt>
                <c:pt idx="48">
                  <c:v>45196</c:v>
                </c:pt>
                <c:pt idx="49">
                  <c:v>45197</c:v>
                </c:pt>
                <c:pt idx="50">
                  <c:v>45208</c:v>
                </c:pt>
                <c:pt idx="51">
                  <c:v>45209</c:v>
                </c:pt>
                <c:pt idx="52">
                  <c:v>45210</c:v>
                </c:pt>
                <c:pt idx="53">
                  <c:v>45211</c:v>
                </c:pt>
                <c:pt idx="54">
                  <c:v>45212</c:v>
                </c:pt>
                <c:pt idx="55">
                  <c:v>45215</c:v>
                </c:pt>
                <c:pt idx="56">
                  <c:v>45216</c:v>
                </c:pt>
                <c:pt idx="57">
                  <c:v>45217</c:v>
                </c:pt>
                <c:pt idx="58">
                  <c:v>45218</c:v>
                </c:pt>
                <c:pt idx="59">
                  <c:v>45219</c:v>
                </c:pt>
                <c:pt idx="60">
                  <c:v>45222</c:v>
                </c:pt>
                <c:pt idx="61">
                  <c:v>45223</c:v>
                </c:pt>
                <c:pt idx="62">
                  <c:v>45224</c:v>
                </c:pt>
                <c:pt idx="63">
                  <c:v>45225</c:v>
                </c:pt>
                <c:pt idx="64">
                  <c:v>45226</c:v>
                </c:pt>
                <c:pt idx="65">
                  <c:v>45229</c:v>
                </c:pt>
                <c:pt idx="66">
                  <c:v>45230</c:v>
                </c:pt>
                <c:pt idx="67">
                  <c:v>45231</c:v>
                </c:pt>
                <c:pt idx="68">
                  <c:v>45232</c:v>
                </c:pt>
                <c:pt idx="69">
                  <c:v>45233</c:v>
                </c:pt>
                <c:pt idx="70">
                  <c:v>45236</c:v>
                </c:pt>
                <c:pt idx="71">
                  <c:v>45237</c:v>
                </c:pt>
                <c:pt idx="72">
                  <c:v>45238</c:v>
                </c:pt>
                <c:pt idx="73">
                  <c:v>45239</c:v>
                </c:pt>
                <c:pt idx="74">
                  <c:v>45240</c:v>
                </c:pt>
                <c:pt idx="75">
                  <c:v>45243</c:v>
                </c:pt>
                <c:pt idx="76">
                  <c:v>45244</c:v>
                </c:pt>
                <c:pt idx="77">
                  <c:v>45245</c:v>
                </c:pt>
                <c:pt idx="78">
                  <c:v>45246</c:v>
                </c:pt>
                <c:pt idx="79">
                  <c:v>45247</c:v>
                </c:pt>
                <c:pt idx="80">
                  <c:v>45250</c:v>
                </c:pt>
                <c:pt idx="81">
                  <c:v>45251</c:v>
                </c:pt>
                <c:pt idx="82">
                  <c:v>45252</c:v>
                </c:pt>
                <c:pt idx="83">
                  <c:v>45253</c:v>
                </c:pt>
                <c:pt idx="84">
                  <c:v>45254</c:v>
                </c:pt>
                <c:pt idx="85">
                  <c:v>45257</c:v>
                </c:pt>
                <c:pt idx="86">
                  <c:v>45258</c:v>
                </c:pt>
                <c:pt idx="87">
                  <c:v>45259</c:v>
                </c:pt>
                <c:pt idx="88">
                  <c:v>45260</c:v>
                </c:pt>
                <c:pt idx="89">
                  <c:v>45261</c:v>
                </c:pt>
                <c:pt idx="90">
                  <c:v>45264</c:v>
                </c:pt>
                <c:pt idx="91">
                  <c:v>45265</c:v>
                </c:pt>
                <c:pt idx="92">
                  <c:v>45266</c:v>
                </c:pt>
                <c:pt idx="93">
                  <c:v>45267</c:v>
                </c:pt>
                <c:pt idx="94">
                  <c:v>45268</c:v>
                </c:pt>
                <c:pt idx="95">
                  <c:v>45271</c:v>
                </c:pt>
                <c:pt idx="96">
                  <c:v>45272</c:v>
                </c:pt>
                <c:pt idx="97">
                  <c:v>45273</c:v>
                </c:pt>
                <c:pt idx="98">
                  <c:v>45274</c:v>
                </c:pt>
                <c:pt idx="99">
                  <c:v>45275</c:v>
                </c:pt>
                <c:pt idx="100">
                  <c:v>45278</c:v>
                </c:pt>
                <c:pt idx="101">
                  <c:v>45279</c:v>
                </c:pt>
                <c:pt idx="102">
                  <c:v>45280</c:v>
                </c:pt>
                <c:pt idx="103">
                  <c:v>45281</c:v>
                </c:pt>
                <c:pt idx="104">
                  <c:v>45282</c:v>
                </c:pt>
                <c:pt idx="105">
                  <c:v>45285</c:v>
                </c:pt>
                <c:pt idx="106">
                  <c:v>45286</c:v>
                </c:pt>
                <c:pt idx="107">
                  <c:v>45287</c:v>
                </c:pt>
                <c:pt idx="108">
                  <c:v>45288</c:v>
                </c:pt>
                <c:pt idx="109">
                  <c:v>45289</c:v>
                </c:pt>
                <c:pt idx="110">
                  <c:v>45293</c:v>
                </c:pt>
                <c:pt idx="111">
                  <c:v>45294</c:v>
                </c:pt>
                <c:pt idx="112">
                  <c:v>45295</c:v>
                </c:pt>
                <c:pt idx="113">
                  <c:v>45296</c:v>
                </c:pt>
                <c:pt idx="114">
                  <c:v>45299</c:v>
                </c:pt>
                <c:pt idx="115">
                  <c:v>45300</c:v>
                </c:pt>
                <c:pt idx="116">
                  <c:v>45301</c:v>
                </c:pt>
                <c:pt idx="117">
                  <c:v>45302</c:v>
                </c:pt>
                <c:pt idx="118">
                  <c:v>45303</c:v>
                </c:pt>
                <c:pt idx="119">
                  <c:v>45306</c:v>
                </c:pt>
                <c:pt idx="120">
                  <c:v>45307</c:v>
                </c:pt>
                <c:pt idx="121">
                  <c:v>45308</c:v>
                </c:pt>
                <c:pt idx="122">
                  <c:v>45309</c:v>
                </c:pt>
                <c:pt idx="123">
                  <c:v>45310</c:v>
                </c:pt>
                <c:pt idx="124">
                  <c:v>45313</c:v>
                </c:pt>
                <c:pt idx="125">
                  <c:v>45314</c:v>
                </c:pt>
                <c:pt idx="126">
                  <c:v>45315</c:v>
                </c:pt>
                <c:pt idx="127">
                  <c:v>45316</c:v>
                </c:pt>
                <c:pt idx="128">
                  <c:v>45317</c:v>
                </c:pt>
                <c:pt idx="129">
                  <c:v>45320</c:v>
                </c:pt>
                <c:pt idx="130">
                  <c:v>45321</c:v>
                </c:pt>
                <c:pt idx="131">
                  <c:v>45322</c:v>
                </c:pt>
                <c:pt idx="132">
                  <c:v>45323</c:v>
                </c:pt>
                <c:pt idx="133">
                  <c:v>45324</c:v>
                </c:pt>
                <c:pt idx="134">
                  <c:v>45327</c:v>
                </c:pt>
                <c:pt idx="135">
                  <c:v>45328</c:v>
                </c:pt>
                <c:pt idx="136">
                  <c:v>45329</c:v>
                </c:pt>
                <c:pt idx="137">
                  <c:v>45330</c:v>
                </c:pt>
                <c:pt idx="138">
                  <c:v>45341</c:v>
                </c:pt>
                <c:pt idx="139">
                  <c:v>45342</c:v>
                </c:pt>
                <c:pt idx="140">
                  <c:v>45343</c:v>
                </c:pt>
                <c:pt idx="141">
                  <c:v>45344</c:v>
                </c:pt>
                <c:pt idx="142">
                  <c:v>45345</c:v>
                </c:pt>
                <c:pt idx="143">
                  <c:v>45348</c:v>
                </c:pt>
                <c:pt idx="144">
                  <c:v>45349</c:v>
                </c:pt>
                <c:pt idx="145">
                  <c:v>45350</c:v>
                </c:pt>
                <c:pt idx="146">
                  <c:v>45351</c:v>
                </c:pt>
                <c:pt idx="147">
                  <c:v>45352</c:v>
                </c:pt>
                <c:pt idx="148">
                  <c:v>45355</c:v>
                </c:pt>
                <c:pt idx="149">
                  <c:v>45356</c:v>
                </c:pt>
                <c:pt idx="150">
                  <c:v>45357</c:v>
                </c:pt>
                <c:pt idx="151">
                  <c:v>45358</c:v>
                </c:pt>
                <c:pt idx="152">
                  <c:v>45359</c:v>
                </c:pt>
                <c:pt idx="153">
                  <c:v>45362</c:v>
                </c:pt>
                <c:pt idx="154">
                  <c:v>45363</c:v>
                </c:pt>
                <c:pt idx="155">
                  <c:v>45364</c:v>
                </c:pt>
                <c:pt idx="156">
                  <c:v>45365</c:v>
                </c:pt>
                <c:pt idx="157">
                  <c:v>45366</c:v>
                </c:pt>
                <c:pt idx="158">
                  <c:v>45369</c:v>
                </c:pt>
                <c:pt idx="159">
                  <c:v>45370</c:v>
                </c:pt>
                <c:pt idx="160">
                  <c:v>45371</c:v>
                </c:pt>
                <c:pt idx="161">
                  <c:v>45372</c:v>
                </c:pt>
                <c:pt idx="162">
                  <c:v>45373</c:v>
                </c:pt>
                <c:pt idx="163">
                  <c:v>45376</c:v>
                </c:pt>
                <c:pt idx="164">
                  <c:v>45377</c:v>
                </c:pt>
                <c:pt idx="165">
                  <c:v>45378</c:v>
                </c:pt>
                <c:pt idx="166">
                  <c:v>45379</c:v>
                </c:pt>
                <c:pt idx="167">
                  <c:v>45380</c:v>
                </c:pt>
                <c:pt idx="168">
                  <c:v>45383</c:v>
                </c:pt>
                <c:pt idx="169">
                  <c:v>45384</c:v>
                </c:pt>
                <c:pt idx="170">
                  <c:v>45385</c:v>
                </c:pt>
                <c:pt idx="171">
                  <c:v>45390</c:v>
                </c:pt>
                <c:pt idx="172">
                  <c:v>45391</c:v>
                </c:pt>
                <c:pt idx="173">
                  <c:v>45392</c:v>
                </c:pt>
                <c:pt idx="174">
                  <c:v>45393</c:v>
                </c:pt>
                <c:pt idx="175">
                  <c:v>45394</c:v>
                </c:pt>
                <c:pt idx="176">
                  <c:v>45397</c:v>
                </c:pt>
                <c:pt idx="177">
                  <c:v>45398</c:v>
                </c:pt>
                <c:pt idx="178">
                  <c:v>45399</c:v>
                </c:pt>
                <c:pt idx="179">
                  <c:v>45400</c:v>
                </c:pt>
                <c:pt idx="180">
                  <c:v>45401</c:v>
                </c:pt>
                <c:pt idx="181">
                  <c:v>45404</c:v>
                </c:pt>
                <c:pt idx="182">
                  <c:v>45405</c:v>
                </c:pt>
                <c:pt idx="183">
                  <c:v>45406</c:v>
                </c:pt>
                <c:pt idx="184">
                  <c:v>45407</c:v>
                </c:pt>
                <c:pt idx="185">
                  <c:v>45408</c:v>
                </c:pt>
                <c:pt idx="186">
                  <c:v>45411</c:v>
                </c:pt>
                <c:pt idx="187">
                  <c:v>45412</c:v>
                </c:pt>
                <c:pt idx="188">
                  <c:v>45418</c:v>
                </c:pt>
                <c:pt idx="189">
                  <c:v>45419</c:v>
                </c:pt>
                <c:pt idx="190">
                  <c:v>45420</c:v>
                </c:pt>
                <c:pt idx="191">
                  <c:v>45421</c:v>
                </c:pt>
                <c:pt idx="192">
                  <c:v>45422</c:v>
                </c:pt>
                <c:pt idx="193">
                  <c:v>45425</c:v>
                </c:pt>
                <c:pt idx="194">
                  <c:v>45426</c:v>
                </c:pt>
                <c:pt idx="195">
                  <c:v>45427</c:v>
                </c:pt>
                <c:pt idx="196">
                  <c:v>45428</c:v>
                </c:pt>
                <c:pt idx="197">
                  <c:v>45429</c:v>
                </c:pt>
                <c:pt idx="198">
                  <c:v>45432</c:v>
                </c:pt>
                <c:pt idx="199">
                  <c:v>45433</c:v>
                </c:pt>
                <c:pt idx="200">
                  <c:v>45434</c:v>
                </c:pt>
                <c:pt idx="201">
                  <c:v>45435</c:v>
                </c:pt>
                <c:pt idx="202">
                  <c:v>45436</c:v>
                </c:pt>
                <c:pt idx="203">
                  <c:v>45439</c:v>
                </c:pt>
                <c:pt idx="204">
                  <c:v>45440</c:v>
                </c:pt>
                <c:pt idx="205">
                  <c:v>45441</c:v>
                </c:pt>
                <c:pt idx="206">
                  <c:v>45442</c:v>
                </c:pt>
                <c:pt idx="207">
                  <c:v>45443</c:v>
                </c:pt>
                <c:pt idx="208">
                  <c:v>45446</c:v>
                </c:pt>
                <c:pt idx="209">
                  <c:v>45447</c:v>
                </c:pt>
                <c:pt idx="210">
                  <c:v>45448</c:v>
                </c:pt>
                <c:pt idx="211">
                  <c:v>45449</c:v>
                </c:pt>
                <c:pt idx="212">
                  <c:v>45450</c:v>
                </c:pt>
                <c:pt idx="213">
                  <c:v>45454</c:v>
                </c:pt>
                <c:pt idx="214">
                  <c:v>45455</c:v>
                </c:pt>
                <c:pt idx="215">
                  <c:v>45456</c:v>
                </c:pt>
                <c:pt idx="216">
                  <c:v>45457</c:v>
                </c:pt>
                <c:pt idx="217">
                  <c:v>45460</c:v>
                </c:pt>
                <c:pt idx="218">
                  <c:v>45461</c:v>
                </c:pt>
                <c:pt idx="219">
                  <c:v>45462</c:v>
                </c:pt>
                <c:pt idx="220">
                  <c:v>45463</c:v>
                </c:pt>
                <c:pt idx="221">
                  <c:v>45464</c:v>
                </c:pt>
                <c:pt idx="222">
                  <c:v>45467</c:v>
                </c:pt>
                <c:pt idx="223">
                  <c:v>45468</c:v>
                </c:pt>
                <c:pt idx="224">
                  <c:v>45469</c:v>
                </c:pt>
                <c:pt idx="225">
                  <c:v>45470</c:v>
                </c:pt>
                <c:pt idx="226">
                  <c:v>45471</c:v>
                </c:pt>
                <c:pt idx="227">
                  <c:v>45474</c:v>
                </c:pt>
                <c:pt idx="228">
                  <c:v>45475</c:v>
                </c:pt>
                <c:pt idx="229">
                  <c:v>45476</c:v>
                </c:pt>
                <c:pt idx="230">
                  <c:v>45477</c:v>
                </c:pt>
                <c:pt idx="231">
                  <c:v>45478</c:v>
                </c:pt>
                <c:pt idx="232">
                  <c:v>45481</c:v>
                </c:pt>
                <c:pt idx="233">
                  <c:v>45482</c:v>
                </c:pt>
                <c:pt idx="234">
                  <c:v>45483</c:v>
                </c:pt>
                <c:pt idx="235">
                  <c:v>45484</c:v>
                </c:pt>
                <c:pt idx="236">
                  <c:v>45485</c:v>
                </c:pt>
                <c:pt idx="237">
                  <c:v>45488</c:v>
                </c:pt>
                <c:pt idx="238">
                  <c:v>45489</c:v>
                </c:pt>
                <c:pt idx="239">
                  <c:v>45490</c:v>
                </c:pt>
                <c:pt idx="240">
                  <c:v>45491</c:v>
                </c:pt>
                <c:pt idx="241">
                  <c:v>45492</c:v>
                </c:pt>
                <c:pt idx="242">
                  <c:v>45495</c:v>
                </c:pt>
                <c:pt idx="243">
                  <c:v>45496</c:v>
                </c:pt>
                <c:pt idx="244">
                  <c:v>45497</c:v>
                </c:pt>
                <c:pt idx="245">
                  <c:v>45498</c:v>
                </c:pt>
                <c:pt idx="246">
                  <c:v>45499</c:v>
                </c:pt>
                <c:pt idx="247">
                  <c:v>45502</c:v>
                </c:pt>
                <c:pt idx="248">
                  <c:v>45503</c:v>
                </c:pt>
                <c:pt idx="249">
                  <c:v>45504</c:v>
                </c:pt>
                <c:pt idx="250">
                  <c:v>45505</c:v>
                </c:pt>
                <c:pt idx="251">
                  <c:v>45506</c:v>
                </c:pt>
                <c:pt idx="252">
                  <c:v>45509</c:v>
                </c:pt>
                <c:pt idx="253">
                  <c:v>45510</c:v>
                </c:pt>
                <c:pt idx="254">
                  <c:v>45511</c:v>
                </c:pt>
                <c:pt idx="255">
                  <c:v>45512</c:v>
                </c:pt>
                <c:pt idx="256">
                  <c:v>45513</c:v>
                </c:pt>
                <c:pt idx="257">
                  <c:v>45516</c:v>
                </c:pt>
                <c:pt idx="258">
                  <c:v>45517</c:v>
                </c:pt>
                <c:pt idx="259">
                  <c:v>45518</c:v>
                </c:pt>
                <c:pt idx="260">
                  <c:v>45519</c:v>
                </c:pt>
                <c:pt idx="261">
                  <c:v>45520</c:v>
                </c:pt>
                <c:pt idx="262">
                  <c:v>45523</c:v>
                </c:pt>
                <c:pt idx="263">
                  <c:v>45524</c:v>
                </c:pt>
                <c:pt idx="264">
                  <c:v>45525</c:v>
                </c:pt>
                <c:pt idx="265">
                  <c:v>45526</c:v>
                </c:pt>
                <c:pt idx="266">
                  <c:v>45527</c:v>
                </c:pt>
                <c:pt idx="267">
                  <c:v>45530</c:v>
                </c:pt>
                <c:pt idx="268">
                  <c:v>45531</c:v>
                </c:pt>
                <c:pt idx="269">
                  <c:v>45532</c:v>
                </c:pt>
                <c:pt idx="270">
                  <c:v>45533</c:v>
                </c:pt>
                <c:pt idx="271">
                  <c:v>45534</c:v>
                </c:pt>
                <c:pt idx="272">
                  <c:v>45537</c:v>
                </c:pt>
                <c:pt idx="273">
                  <c:v>45538</c:v>
                </c:pt>
                <c:pt idx="274">
                  <c:v>45539</c:v>
                </c:pt>
                <c:pt idx="275">
                  <c:v>45540</c:v>
                </c:pt>
                <c:pt idx="276">
                  <c:v>45541</c:v>
                </c:pt>
                <c:pt idx="277">
                  <c:v>45544</c:v>
                </c:pt>
                <c:pt idx="278">
                  <c:v>45545</c:v>
                </c:pt>
                <c:pt idx="279">
                  <c:v>45546</c:v>
                </c:pt>
                <c:pt idx="280">
                  <c:v>45547</c:v>
                </c:pt>
                <c:pt idx="281">
                  <c:v>45548</c:v>
                </c:pt>
                <c:pt idx="282">
                  <c:v>45553</c:v>
                </c:pt>
                <c:pt idx="283">
                  <c:v>45554</c:v>
                </c:pt>
                <c:pt idx="284">
                  <c:v>45555</c:v>
                </c:pt>
                <c:pt idx="285">
                  <c:v>45558</c:v>
                </c:pt>
                <c:pt idx="286">
                  <c:v>45559</c:v>
                </c:pt>
                <c:pt idx="287">
                  <c:v>45560</c:v>
                </c:pt>
                <c:pt idx="288">
                  <c:v>45561</c:v>
                </c:pt>
                <c:pt idx="289">
                  <c:v>45562</c:v>
                </c:pt>
                <c:pt idx="290">
                  <c:v>45565</c:v>
                </c:pt>
                <c:pt idx="291">
                  <c:v>45573</c:v>
                </c:pt>
                <c:pt idx="292">
                  <c:v>45574</c:v>
                </c:pt>
                <c:pt idx="293">
                  <c:v>45575</c:v>
                </c:pt>
                <c:pt idx="294">
                  <c:v>45576</c:v>
                </c:pt>
                <c:pt idx="295">
                  <c:v>45579</c:v>
                </c:pt>
                <c:pt idx="296">
                  <c:v>45580</c:v>
                </c:pt>
                <c:pt idx="297">
                  <c:v>45581</c:v>
                </c:pt>
                <c:pt idx="298">
                  <c:v>45582</c:v>
                </c:pt>
                <c:pt idx="299">
                  <c:v>45583</c:v>
                </c:pt>
                <c:pt idx="300">
                  <c:v>45586</c:v>
                </c:pt>
                <c:pt idx="301">
                  <c:v>45587</c:v>
                </c:pt>
                <c:pt idx="302">
                  <c:v>45588</c:v>
                </c:pt>
                <c:pt idx="303">
                  <c:v>45589</c:v>
                </c:pt>
                <c:pt idx="304">
                  <c:v>45590</c:v>
                </c:pt>
                <c:pt idx="305">
                  <c:v>45593</c:v>
                </c:pt>
                <c:pt idx="306">
                  <c:v>45594</c:v>
                </c:pt>
                <c:pt idx="307">
                  <c:v>45595</c:v>
                </c:pt>
                <c:pt idx="308">
                  <c:v>45596</c:v>
                </c:pt>
                <c:pt idx="309">
                  <c:v>45597</c:v>
                </c:pt>
                <c:pt idx="310">
                  <c:v>45600</c:v>
                </c:pt>
                <c:pt idx="311">
                  <c:v>45601</c:v>
                </c:pt>
                <c:pt idx="312">
                  <c:v>45602</c:v>
                </c:pt>
                <c:pt idx="313">
                  <c:v>45603</c:v>
                </c:pt>
                <c:pt idx="314">
                  <c:v>45604</c:v>
                </c:pt>
                <c:pt idx="315">
                  <c:v>45607</c:v>
                </c:pt>
                <c:pt idx="316">
                  <c:v>45608</c:v>
                </c:pt>
                <c:pt idx="317">
                  <c:v>45609</c:v>
                </c:pt>
                <c:pt idx="318">
                  <c:v>45610</c:v>
                </c:pt>
                <c:pt idx="319">
                  <c:v>45611</c:v>
                </c:pt>
                <c:pt idx="320">
                  <c:v>45614</c:v>
                </c:pt>
                <c:pt idx="321">
                  <c:v>45615</c:v>
                </c:pt>
                <c:pt idx="322">
                  <c:v>45616</c:v>
                </c:pt>
                <c:pt idx="323">
                  <c:v>45617</c:v>
                </c:pt>
                <c:pt idx="324">
                  <c:v>45618</c:v>
                </c:pt>
                <c:pt idx="325">
                  <c:v>45621</c:v>
                </c:pt>
                <c:pt idx="326">
                  <c:v>45622</c:v>
                </c:pt>
                <c:pt idx="327">
                  <c:v>45623</c:v>
                </c:pt>
                <c:pt idx="328">
                  <c:v>45624</c:v>
                </c:pt>
                <c:pt idx="329">
                  <c:v>45625</c:v>
                </c:pt>
                <c:pt idx="330">
                  <c:v>45628</c:v>
                </c:pt>
                <c:pt idx="331">
                  <c:v>45629</c:v>
                </c:pt>
                <c:pt idx="332">
                  <c:v>45630</c:v>
                </c:pt>
                <c:pt idx="333">
                  <c:v>45631</c:v>
                </c:pt>
                <c:pt idx="334">
                  <c:v>45632</c:v>
                </c:pt>
                <c:pt idx="335">
                  <c:v>45635</c:v>
                </c:pt>
                <c:pt idx="336">
                  <c:v>45636</c:v>
                </c:pt>
                <c:pt idx="337">
                  <c:v>45637</c:v>
                </c:pt>
                <c:pt idx="338">
                  <c:v>45638</c:v>
                </c:pt>
                <c:pt idx="339">
                  <c:v>45639</c:v>
                </c:pt>
                <c:pt idx="340">
                  <c:v>45642</c:v>
                </c:pt>
                <c:pt idx="341">
                  <c:v>45643</c:v>
                </c:pt>
                <c:pt idx="342">
                  <c:v>45644</c:v>
                </c:pt>
                <c:pt idx="343">
                  <c:v>45645</c:v>
                </c:pt>
                <c:pt idx="344">
                  <c:v>45646</c:v>
                </c:pt>
                <c:pt idx="345">
                  <c:v>45649</c:v>
                </c:pt>
                <c:pt idx="346">
                  <c:v>45650</c:v>
                </c:pt>
                <c:pt idx="347">
                  <c:v>45651</c:v>
                </c:pt>
                <c:pt idx="348">
                  <c:v>45652</c:v>
                </c:pt>
                <c:pt idx="349">
                  <c:v>45653</c:v>
                </c:pt>
                <c:pt idx="350">
                  <c:v>45656</c:v>
                </c:pt>
                <c:pt idx="351">
                  <c:v>45657</c:v>
                </c:pt>
                <c:pt idx="352">
                  <c:v>45659</c:v>
                </c:pt>
                <c:pt idx="353">
                  <c:v>45660</c:v>
                </c:pt>
                <c:pt idx="354">
                  <c:v>45663</c:v>
                </c:pt>
                <c:pt idx="355">
                  <c:v>45664</c:v>
                </c:pt>
                <c:pt idx="356">
                  <c:v>45665</c:v>
                </c:pt>
                <c:pt idx="357">
                  <c:v>45666</c:v>
                </c:pt>
                <c:pt idx="358">
                  <c:v>45667</c:v>
                </c:pt>
                <c:pt idx="359">
                  <c:v>45670</c:v>
                </c:pt>
                <c:pt idx="360">
                  <c:v>45671</c:v>
                </c:pt>
                <c:pt idx="361">
                  <c:v>45672</c:v>
                </c:pt>
                <c:pt idx="362">
                  <c:v>45673</c:v>
                </c:pt>
                <c:pt idx="363">
                  <c:v>45674</c:v>
                </c:pt>
                <c:pt idx="364">
                  <c:v>45677</c:v>
                </c:pt>
                <c:pt idx="365">
                  <c:v>45678</c:v>
                </c:pt>
                <c:pt idx="366">
                  <c:v>45679</c:v>
                </c:pt>
                <c:pt idx="367">
                  <c:v>45680</c:v>
                </c:pt>
                <c:pt idx="368">
                  <c:v>45681</c:v>
                </c:pt>
                <c:pt idx="369">
                  <c:v>45684</c:v>
                </c:pt>
                <c:pt idx="370">
                  <c:v>45693</c:v>
                </c:pt>
                <c:pt idx="371">
                  <c:v>45694</c:v>
                </c:pt>
                <c:pt idx="372">
                  <c:v>45695</c:v>
                </c:pt>
                <c:pt idx="373">
                  <c:v>45698</c:v>
                </c:pt>
                <c:pt idx="374">
                  <c:v>45699</c:v>
                </c:pt>
                <c:pt idx="375">
                  <c:v>45700</c:v>
                </c:pt>
                <c:pt idx="376">
                  <c:v>45701</c:v>
                </c:pt>
                <c:pt idx="377">
                  <c:v>45702</c:v>
                </c:pt>
                <c:pt idx="378">
                  <c:v>45705</c:v>
                </c:pt>
                <c:pt idx="379">
                  <c:v>45706</c:v>
                </c:pt>
                <c:pt idx="380">
                  <c:v>45707</c:v>
                </c:pt>
                <c:pt idx="381">
                  <c:v>45708</c:v>
                </c:pt>
                <c:pt idx="382">
                  <c:v>45709</c:v>
                </c:pt>
                <c:pt idx="383">
                  <c:v>45712</c:v>
                </c:pt>
                <c:pt idx="384">
                  <c:v>45713</c:v>
                </c:pt>
                <c:pt idx="385">
                  <c:v>45714</c:v>
                </c:pt>
                <c:pt idx="386">
                  <c:v>45715</c:v>
                </c:pt>
                <c:pt idx="387">
                  <c:v>45716</c:v>
                </c:pt>
                <c:pt idx="388">
                  <c:v>45719</c:v>
                </c:pt>
                <c:pt idx="389">
                  <c:v>45720</c:v>
                </c:pt>
                <c:pt idx="390">
                  <c:v>45721</c:v>
                </c:pt>
                <c:pt idx="391">
                  <c:v>45722</c:v>
                </c:pt>
                <c:pt idx="392">
                  <c:v>45723</c:v>
                </c:pt>
                <c:pt idx="393">
                  <c:v>45726</c:v>
                </c:pt>
                <c:pt idx="394">
                  <c:v>45727</c:v>
                </c:pt>
                <c:pt idx="395">
                  <c:v>45728</c:v>
                </c:pt>
                <c:pt idx="396">
                  <c:v>45729</c:v>
                </c:pt>
                <c:pt idx="397">
                  <c:v>45730</c:v>
                </c:pt>
                <c:pt idx="398">
                  <c:v>45733</c:v>
                </c:pt>
                <c:pt idx="399">
                  <c:v>45734</c:v>
                </c:pt>
                <c:pt idx="400">
                  <c:v>45735</c:v>
                </c:pt>
                <c:pt idx="401">
                  <c:v>45736</c:v>
                </c:pt>
                <c:pt idx="402">
                  <c:v>45737</c:v>
                </c:pt>
                <c:pt idx="403">
                  <c:v>45740</c:v>
                </c:pt>
                <c:pt idx="404">
                  <c:v>45741</c:v>
                </c:pt>
                <c:pt idx="405">
                  <c:v>45742</c:v>
                </c:pt>
                <c:pt idx="406">
                  <c:v>45743</c:v>
                </c:pt>
                <c:pt idx="407">
                  <c:v>45744</c:v>
                </c:pt>
                <c:pt idx="408">
                  <c:v>45747</c:v>
                </c:pt>
                <c:pt idx="409">
                  <c:v>45748</c:v>
                </c:pt>
                <c:pt idx="410">
                  <c:v>45749</c:v>
                </c:pt>
                <c:pt idx="411">
                  <c:v>45750</c:v>
                </c:pt>
                <c:pt idx="412">
                  <c:v>45754</c:v>
                </c:pt>
                <c:pt idx="413">
                  <c:v>45755</c:v>
                </c:pt>
                <c:pt idx="414">
                  <c:v>45756</c:v>
                </c:pt>
                <c:pt idx="415">
                  <c:v>45757</c:v>
                </c:pt>
                <c:pt idx="416">
                  <c:v>45758</c:v>
                </c:pt>
                <c:pt idx="417">
                  <c:v>45761</c:v>
                </c:pt>
                <c:pt idx="418">
                  <c:v>45762</c:v>
                </c:pt>
                <c:pt idx="419">
                  <c:v>45763</c:v>
                </c:pt>
                <c:pt idx="420">
                  <c:v>45764</c:v>
                </c:pt>
                <c:pt idx="421">
                  <c:v>45765</c:v>
                </c:pt>
                <c:pt idx="422">
                  <c:v>45768</c:v>
                </c:pt>
                <c:pt idx="423">
                  <c:v>45769</c:v>
                </c:pt>
                <c:pt idx="424">
                  <c:v>45770</c:v>
                </c:pt>
                <c:pt idx="425">
                  <c:v>45771</c:v>
                </c:pt>
                <c:pt idx="426">
                  <c:v>45772</c:v>
                </c:pt>
                <c:pt idx="427">
                  <c:v>45775</c:v>
                </c:pt>
                <c:pt idx="428">
                  <c:v>45776</c:v>
                </c:pt>
                <c:pt idx="429">
                  <c:v>45777</c:v>
                </c:pt>
                <c:pt idx="430">
                  <c:v>45783</c:v>
                </c:pt>
                <c:pt idx="431">
                  <c:v>45784</c:v>
                </c:pt>
                <c:pt idx="432">
                  <c:v>45785</c:v>
                </c:pt>
                <c:pt idx="433">
                  <c:v>45786</c:v>
                </c:pt>
                <c:pt idx="434">
                  <c:v>45789</c:v>
                </c:pt>
                <c:pt idx="435">
                  <c:v>45790</c:v>
                </c:pt>
                <c:pt idx="436">
                  <c:v>45791</c:v>
                </c:pt>
                <c:pt idx="437">
                  <c:v>45792</c:v>
                </c:pt>
                <c:pt idx="438">
                  <c:v>45793</c:v>
                </c:pt>
                <c:pt idx="439">
                  <c:v>45796</c:v>
                </c:pt>
                <c:pt idx="440">
                  <c:v>45797</c:v>
                </c:pt>
                <c:pt idx="441">
                  <c:v>45798</c:v>
                </c:pt>
                <c:pt idx="442">
                  <c:v>45799</c:v>
                </c:pt>
                <c:pt idx="443">
                  <c:v>45800</c:v>
                </c:pt>
                <c:pt idx="444">
                  <c:v>45803</c:v>
                </c:pt>
                <c:pt idx="445">
                  <c:v>45804</c:v>
                </c:pt>
                <c:pt idx="446">
                  <c:v>45805</c:v>
                </c:pt>
                <c:pt idx="447">
                  <c:v>45806</c:v>
                </c:pt>
                <c:pt idx="448">
                  <c:v>45807</c:v>
                </c:pt>
                <c:pt idx="449">
                  <c:v>45811</c:v>
                </c:pt>
                <c:pt idx="450">
                  <c:v>45812</c:v>
                </c:pt>
                <c:pt idx="451">
                  <c:v>45813</c:v>
                </c:pt>
                <c:pt idx="452">
                  <c:v>45814</c:v>
                </c:pt>
                <c:pt idx="453">
                  <c:v>45817</c:v>
                </c:pt>
                <c:pt idx="454">
                  <c:v>45818</c:v>
                </c:pt>
                <c:pt idx="455">
                  <c:v>45819</c:v>
                </c:pt>
                <c:pt idx="456">
                  <c:v>45820</c:v>
                </c:pt>
                <c:pt idx="457">
                  <c:v>45821</c:v>
                </c:pt>
                <c:pt idx="458">
                  <c:v>45824</c:v>
                </c:pt>
                <c:pt idx="459">
                  <c:v>45825</c:v>
                </c:pt>
                <c:pt idx="460">
                  <c:v>45826</c:v>
                </c:pt>
                <c:pt idx="461">
                  <c:v>45827</c:v>
                </c:pt>
                <c:pt idx="462">
                  <c:v>45828</c:v>
                </c:pt>
                <c:pt idx="463">
                  <c:v>45831</c:v>
                </c:pt>
                <c:pt idx="464">
                  <c:v>45832</c:v>
                </c:pt>
                <c:pt idx="465">
                  <c:v>45833</c:v>
                </c:pt>
                <c:pt idx="466">
                  <c:v>45834</c:v>
                </c:pt>
                <c:pt idx="467">
                  <c:v>45835</c:v>
                </c:pt>
                <c:pt idx="468">
                  <c:v>45838</c:v>
                </c:pt>
                <c:pt idx="469">
                  <c:v>45839</c:v>
                </c:pt>
                <c:pt idx="470">
                  <c:v>45840</c:v>
                </c:pt>
                <c:pt idx="471">
                  <c:v>45841</c:v>
                </c:pt>
                <c:pt idx="472">
                  <c:v>45842</c:v>
                </c:pt>
                <c:pt idx="473">
                  <c:v>45845</c:v>
                </c:pt>
                <c:pt idx="474">
                  <c:v>45846</c:v>
                </c:pt>
                <c:pt idx="475">
                  <c:v>45847</c:v>
                </c:pt>
                <c:pt idx="476">
                  <c:v>45848</c:v>
                </c:pt>
                <c:pt idx="477">
                  <c:v>45849</c:v>
                </c:pt>
                <c:pt idx="478">
                  <c:v>45852</c:v>
                </c:pt>
                <c:pt idx="479">
                  <c:v>45853</c:v>
                </c:pt>
                <c:pt idx="480">
                  <c:v>45854</c:v>
                </c:pt>
                <c:pt idx="481">
                  <c:v>45855</c:v>
                </c:pt>
                <c:pt idx="482">
                  <c:v>45856</c:v>
                </c:pt>
                <c:pt idx="483">
                  <c:v>45859</c:v>
                </c:pt>
                <c:pt idx="484">
                  <c:v>45860</c:v>
                </c:pt>
                <c:pt idx="485">
                  <c:v>45861</c:v>
                </c:pt>
                <c:pt idx="486">
                  <c:v>45862</c:v>
                </c:pt>
                <c:pt idx="487">
                  <c:v>45863</c:v>
                </c:pt>
                <c:pt idx="488">
                  <c:v>45866</c:v>
                </c:pt>
                <c:pt idx="489">
                  <c:v>45867</c:v>
                </c:pt>
                <c:pt idx="490">
                  <c:v>45868</c:v>
                </c:pt>
                <c:pt idx="491">
                  <c:v>45869</c:v>
                </c:pt>
                <c:pt idx="492">
                  <c:v>45870</c:v>
                </c:pt>
                <c:pt idx="493">
                  <c:v>45873</c:v>
                </c:pt>
                <c:pt idx="494">
                  <c:v>45874</c:v>
                </c:pt>
                <c:pt idx="495">
                  <c:v>45875</c:v>
                </c:pt>
                <c:pt idx="496">
                  <c:v>45876</c:v>
                </c:pt>
                <c:pt idx="497">
                  <c:v>45877</c:v>
                </c:pt>
                <c:pt idx="498">
                  <c:v>45880</c:v>
                </c:pt>
                <c:pt idx="499">
                  <c:v>45881</c:v>
                </c:pt>
                <c:pt idx="500">
                  <c:v>45882</c:v>
                </c:pt>
                <c:pt idx="501">
                  <c:v>45883</c:v>
                </c:pt>
                <c:pt idx="502">
                  <c:v>45884</c:v>
                </c:pt>
                <c:pt idx="503">
                  <c:v>45887</c:v>
                </c:pt>
                <c:pt idx="504">
                  <c:v>45888</c:v>
                </c:pt>
                <c:pt idx="505">
                  <c:v>45889</c:v>
                </c:pt>
                <c:pt idx="506">
                  <c:v>45890</c:v>
                </c:pt>
                <c:pt idx="507">
                  <c:v>45891</c:v>
                </c:pt>
                <c:pt idx="508">
                  <c:v>45894</c:v>
                </c:pt>
                <c:pt idx="509">
                  <c:v>45895</c:v>
                </c:pt>
                <c:pt idx="510">
                  <c:v>45896</c:v>
                </c:pt>
                <c:pt idx="511">
                  <c:v>45897</c:v>
                </c:pt>
                <c:pt idx="512">
                  <c:v>45898</c:v>
                </c:pt>
                <c:pt idx="513">
                  <c:v>45901</c:v>
                </c:pt>
                <c:pt idx="514">
                  <c:v>45902</c:v>
                </c:pt>
                <c:pt idx="515">
                  <c:v>45903</c:v>
                </c:pt>
                <c:pt idx="516">
                  <c:v>45904</c:v>
                </c:pt>
                <c:pt idx="517">
                  <c:v>45905</c:v>
                </c:pt>
                <c:pt idx="518">
                  <c:v>45908</c:v>
                </c:pt>
                <c:pt idx="519">
                  <c:v>45909</c:v>
                </c:pt>
                <c:pt idx="520">
                  <c:v>45910</c:v>
                </c:pt>
                <c:pt idx="521">
                  <c:v>45911</c:v>
                </c:pt>
                <c:pt idx="522">
                  <c:v>45912</c:v>
                </c:pt>
                <c:pt idx="523">
                  <c:v>45915</c:v>
                </c:pt>
                <c:pt idx="524">
                  <c:v>45916</c:v>
                </c:pt>
                <c:pt idx="525">
                  <c:v>45917</c:v>
                </c:pt>
                <c:pt idx="526">
                  <c:v>45918</c:v>
                </c:pt>
                <c:pt idx="527">
                  <c:v>45919</c:v>
                </c:pt>
                <c:pt idx="528">
                  <c:v>45922</c:v>
                </c:pt>
                <c:pt idx="529">
                  <c:v>45923</c:v>
                </c:pt>
                <c:pt idx="530">
                  <c:v>45924</c:v>
                </c:pt>
                <c:pt idx="531">
                  <c:v>45925</c:v>
                </c:pt>
                <c:pt idx="532">
                  <c:v>45926</c:v>
                </c:pt>
                <c:pt idx="533">
                  <c:v>45929</c:v>
                </c:pt>
                <c:pt idx="534">
                  <c:v>45930</c:v>
                </c:pt>
                <c:pt idx="535">
                  <c:v>45931</c:v>
                </c:pt>
                <c:pt idx="536">
                  <c:v>45932</c:v>
                </c:pt>
                <c:pt idx="537">
                  <c:v>45933</c:v>
                </c:pt>
                <c:pt idx="538">
                  <c:v>45936</c:v>
                </c:pt>
                <c:pt idx="539">
                  <c:v>45937</c:v>
                </c:pt>
                <c:pt idx="540">
                  <c:v>45938</c:v>
                </c:pt>
                <c:pt idx="541">
                  <c:v>45939</c:v>
                </c:pt>
                <c:pt idx="542">
                  <c:v>45940</c:v>
                </c:pt>
                <c:pt idx="543">
                  <c:v>45943</c:v>
                </c:pt>
                <c:pt idx="544">
                  <c:v>45944</c:v>
                </c:pt>
                <c:pt idx="545">
                  <c:v>45945</c:v>
                </c:pt>
                <c:pt idx="546">
                  <c:v>45946</c:v>
                </c:pt>
                <c:pt idx="547">
                  <c:v>45947</c:v>
                </c:pt>
                <c:pt idx="548">
                  <c:v>45950</c:v>
                </c:pt>
                <c:pt idx="549">
                  <c:v>45951</c:v>
                </c:pt>
                <c:pt idx="550">
                  <c:v>45952</c:v>
                </c:pt>
                <c:pt idx="551">
                  <c:v>45953</c:v>
                </c:pt>
                <c:pt idx="552">
                  <c:v>45954</c:v>
                </c:pt>
                <c:pt idx="553">
                  <c:v>45957</c:v>
                </c:pt>
                <c:pt idx="554">
                  <c:v>45958</c:v>
                </c:pt>
                <c:pt idx="555">
                  <c:v>45959</c:v>
                </c:pt>
                <c:pt idx="556">
                  <c:v>45960</c:v>
                </c:pt>
                <c:pt idx="557">
                  <c:v>45961</c:v>
                </c:pt>
                <c:pt idx="558">
                  <c:v>45964</c:v>
                </c:pt>
                <c:pt idx="559">
                  <c:v>45965</c:v>
                </c:pt>
                <c:pt idx="560">
                  <c:v>45966</c:v>
                </c:pt>
                <c:pt idx="561">
                  <c:v>45967</c:v>
                </c:pt>
                <c:pt idx="562">
                  <c:v>45968</c:v>
                </c:pt>
                <c:pt idx="563">
                  <c:v>45971</c:v>
                </c:pt>
                <c:pt idx="564">
                  <c:v>45972</c:v>
                </c:pt>
                <c:pt idx="565">
                  <c:v>45973</c:v>
                </c:pt>
                <c:pt idx="566">
                  <c:v>45974</c:v>
                </c:pt>
                <c:pt idx="567">
                  <c:v>45975</c:v>
                </c:pt>
                <c:pt idx="568">
                  <c:v>45978</c:v>
                </c:pt>
                <c:pt idx="569">
                  <c:v>45979</c:v>
                </c:pt>
                <c:pt idx="570">
                  <c:v>45980</c:v>
                </c:pt>
                <c:pt idx="571">
                  <c:v>45981</c:v>
                </c:pt>
                <c:pt idx="572">
                  <c:v>45982</c:v>
                </c:pt>
                <c:pt idx="573">
                  <c:v>45985</c:v>
                </c:pt>
                <c:pt idx="574">
                  <c:v>45986</c:v>
                </c:pt>
                <c:pt idx="575">
                  <c:v>45987</c:v>
                </c:pt>
                <c:pt idx="576">
                  <c:v>45988</c:v>
                </c:pt>
                <c:pt idx="577">
                  <c:v>45989</c:v>
                </c:pt>
                <c:pt idx="578">
                  <c:v>45992</c:v>
                </c:pt>
                <c:pt idx="579">
                  <c:v>45993</c:v>
                </c:pt>
                <c:pt idx="580">
                  <c:v>45994</c:v>
                </c:pt>
                <c:pt idx="581">
                  <c:v>45995</c:v>
                </c:pt>
                <c:pt idx="582">
                  <c:v>45996</c:v>
                </c:pt>
                <c:pt idx="583">
                  <c:v>45999</c:v>
                </c:pt>
                <c:pt idx="584">
                  <c:v>46000</c:v>
                </c:pt>
                <c:pt idx="585">
                  <c:v>46001</c:v>
                </c:pt>
                <c:pt idx="586">
                  <c:v>46002</c:v>
                </c:pt>
                <c:pt idx="587">
                  <c:v>46003</c:v>
                </c:pt>
                <c:pt idx="588">
                  <c:v>46006</c:v>
                </c:pt>
                <c:pt idx="589">
                  <c:v>46007</c:v>
                </c:pt>
                <c:pt idx="590">
                  <c:v>46008</c:v>
                </c:pt>
                <c:pt idx="591">
                  <c:v>46009</c:v>
                </c:pt>
                <c:pt idx="592">
                  <c:v>46010</c:v>
                </c:pt>
                <c:pt idx="593">
                  <c:v>46013</c:v>
                </c:pt>
                <c:pt idx="594">
                  <c:v>46014</c:v>
                </c:pt>
                <c:pt idx="595">
                  <c:v>46015</c:v>
                </c:pt>
                <c:pt idx="596">
                  <c:v>46016</c:v>
                </c:pt>
                <c:pt idx="597">
                  <c:v>46017</c:v>
                </c:pt>
                <c:pt idx="598">
                  <c:v>46020</c:v>
                </c:pt>
                <c:pt idx="599">
                  <c:v>46021</c:v>
                </c:pt>
                <c:pt idx="600">
                  <c:v>46022</c:v>
                </c:pt>
                <c:pt idx="601">
                  <c:v>46023</c:v>
                </c:pt>
                <c:pt idx="602">
                  <c:v>46024</c:v>
                </c:pt>
                <c:pt idx="603">
                  <c:v>46027</c:v>
                </c:pt>
                <c:pt idx="604">
                  <c:v>46028</c:v>
                </c:pt>
                <c:pt idx="605">
                  <c:v>46029</c:v>
                </c:pt>
                <c:pt idx="606">
                  <c:v>46030</c:v>
                </c:pt>
                <c:pt idx="607">
                  <c:v>46031</c:v>
                </c:pt>
                <c:pt idx="608">
                  <c:v>46034</c:v>
                </c:pt>
                <c:pt idx="609">
                  <c:v>46035</c:v>
                </c:pt>
                <c:pt idx="610">
                  <c:v>46036</c:v>
                </c:pt>
                <c:pt idx="611">
                  <c:v>46037</c:v>
                </c:pt>
                <c:pt idx="612">
                  <c:v>46038</c:v>
                </c:pt>
                <c:pt idx="613">
                  <c:v>46041</c:v>
                </c:pt>
                <c:pt idx="614">
                  <c:v>46042</c:v>
                </c:pt>
                <c:pt idx="615">
                  <c:v>46043</c:v>
                </c:pt>
                <c:pt idx="616">
                  <c:v>46044</c:v>
                </c:pt>
                <c:pt idx="617">
                  <c:v>46045</c:v>
                </c:pt>
                <c:pt idx="618">
                  <c:v>46048</c:v>
                </c:pt>
                <c:pt idx="619">
                  <c:v>46049</c:v>
                </c:pt>
                <c:pt idx="620">
                  <c:v>46050</c:v>
                </c:pt>
                <c:pt idx="621">
                  <c:v>46051</c:v>
                </c:pt>
                <c:pt idx="622">
                  <c:v>46052</c:v>
                </c:pt>
                <c:pt idx="623">
                  <c:v>46055</c:v>
                </c:pt>
                <c:pt idx="624">
                  <c:v>46056</c:v>
                </c:pt>
                <c:pt idx="625">
                  <c:v>46057</c:v>
                </c:pt>
                <c:pt idx="626">
                  <c:v>46058</c:v>
                </c:pt>
                <c:pt idx="627">
                  <c:v>46059</c:v>
                </c:pt>
                <c:pt idx="628">
                  <c:v>46062</c:v>
                </c:pt>
                <c:pt idx="629">
                  <c:v>46063</c:v>
                </c:pt>
                <c:pt idx="630">
                  <c:v>46064</c:v>
                </c:pt>
                <c:pt idx="631">
                  <c:v>46065</c:v>
                </c:pt>
                <c:pt idx="632">
                  <c:v>46066</c:v>
                </c:pt>
                <c:pt idx="633">
                  <c:v>46069</c:v>
                </c:pt>
                <c:pt idx="634">
                  <c:v>46070</c:v>
                </c:pt>
                <c:pt idx="635">
                  <c:v>46071</c:v>
                </c:pt>
                <c:pt idx="636">
                  <c:v>46072</c:v>
                </c:pt>
                <c:pt idx="637">
                  <c:v>46073</c:v>
                </c:pt>
                <c:pt idx="638">
                  <c:v>46076</c:v>
                </c:pt>
                <c:pt idx="639">
                  <c:v>46077</c:v>
                </c:pt>
                <c:pt idx="640">
                  <c:v>46078</c:v>
                </c:pt>
                <c:pt idx="641">
                  <c:v>46079</c:v>
                </c:pt>
                <c:pt idx="642">
                  <c:v>46080</c:v>
                </c:pt>
                <c:pt idx="643">
                  <c:v>46083</c:v>
                </c:pt>
                <c:pt idx="644">
                  <c:v>46084</c:v>
                </c:pt>
                <c:pt idx="645">
                  <c:v>46085</c:v>
                </c:pt>
                <c:pt idx="646">
                  <c:v>46086</c:v>
                </c:pt>
                <c:pt idx="647">
                  <c:v>46087</c:v>
                </c:pt>
                <c:pt idx="648">
                  <c:v>46090</c:v>
                </c:pt>
                <c:pt idx="649">
                  <c:v>46091</c:v>
                </c:pt>
                <c:pt idx="650">
                  <c:v>46092</c:v>
                </c:pt>
                <c:pt idx="651">
                  <c:v>46093</c:v>
                </c:pt>
                <c:pt idx="652">
                  <c:v>46094</c:v>
                </c:pt>
                <c:pt idx="653">
                  <c:v>46097</c:v>
                </c:pt>
                <c:pt idx="654">
                  <c:v>46098</c:v>
                </c:pt>
                <c:pt idx="655">
                  <c:v>46099</c:v>
                </c:pt>
                <c:pt idx="656">
                  <c:v>46100</c:v>
                </c:pt>
                <c:pt idx="657">
                  <c:v>46101</c:v>
                </c:pt>
                <c:pt idx="658">
                  <c:v>46104</c:v>
                </c:pt>
                <c:pt idx="659">
                  <c:v>46105</c:v>
                </c:pt>
                <c:pt idx="660">
                  <c:v>46106</c:v>
                </c:pt>
                <c:pt idx="661">
                  <c:v>46107</c:v>
                </c:pt>
                <c:pt idx="662">
                  <c:v>46108</c:v>
                </c:pt>
                <c:pt idx="663">
                  <c:v>46111</c:v>
                </c:pt>
                <c:pt idx="664">
                  <c:v>46112</c:v>
                </c:pt>
                <c:pt idx="665">
                  <c:v>46113</c:v>
                </c:pt>
                <c:pt idx="666">
                  <c:v>46114</c:v>
                </c:pt>
                <c:pt idx="667">
                  <c:v>46115</c:v>
                </c:pt>
                <c:pt idx="668">
                  <c:v>46118</c:v>
                </c:pt>
                <c:pt idx="669">
                  <c:v>46119</c:v>
                </c:pt>
                <c:pt idx="670">
                  <c:v>46120</c:v>
                </c:pt>
                <c:pt idx="671">
                  <c:v>46121</c:v>
                </c:pt>
                <c:pt idx="672">
                  <c:v>46122</c:v>
                </c:pt>
                <c:pt idx="673">
                  <c:v>46125</c:v>
                </c:pt>
                <c:pt idx="674">
                  <c:v>46126</c:v>
                </c:pt>
                <c:pt idx="675">
                  <c:v>46127</c:v>
                </c:pt>
                <c:pt idx="676">
                  <c:v>46128</c:v>
                </c:pt>
                <c:pt idx="677">
                  <c:v>46129</c:v>
                </c:pt>
                <c:pt idx="678">
                  <c:v>46132</c:v>
                </c:pt>
                <c:pt idx="679">
                  <c:v>46133</c:v>
                </c:pt>
                <c:pt idx="680">
                  <c:v>46134</c:v>
                </c:pt>
                <c:pt idx="681">
                  <c:v>46135</c:v>
                </c:pt>
                <c:pt idx="682">
                  <c:v>46136</c:v>
                </c:pt>
                <c:pt idx="683">
                  <c:v>46139</c:v>
                </c:pt>
                <c:pt idx="684">
                  <c:v>46140</c:v>
                </c:pt>
                <c:pt idx="685">
                  <c:v>46141</c:v>
                </c:pt>
                <c:pt idx="686">
                  <c:v>46142</c:v>
                </c:pt>
                <c:pt idx="687">
                  <c:v>46143</c:v>
                </c:pt>
                <c:pt idx="688">
                  <c:v>46146</c:v>
                </c:pt>
                <c:pt idx="689">
                  <c:v>46147</c:v>
                </c:pt>
                <c:pt idx="690">
                  <c:v>46148</c:v>
                </c:pt>
                <c:pt idx="691">
                  <c:v>46149</c:v>
                </c:pt>
                <c:pt idx="692">
                  <c:v>46150</c:v>
                </c:pt>
                <c:pt idx="693">
                  <c:v>46153</c:v>
                </c:pt>
                <c:pt idx="694">
                  <c:v>46154</c:v>
                </c:pt>
                <c:pt idx="695">
                  <c:v>46155</c:v>
                </c:pt>
                <c:pt idx="696">
                  <c:v>46156</c:v>
                </c:pt>
                <c:pt idx="697">
                  <c:v>46157</c:v>
                </c:pt>
                <c:pt idx="698">
                  <c:v>46160</c:v>
                </c:pt>
                <c:pt idx="699">
                  <c:v>46161</c:v>
                </c:pt>
                <c:pt idx="700">
                  <c:v>46162</c:v>
                </c:pt>
                <c:pt idx="701">
                  <c:v>46163</c:v>
                </c:pt>
                <c:pt idx="702">
                  <c:v>46164</c:v>
                </c:pt>
                <c:pt idx="703">
                  <c:v>46167</c:v>
                </c:pt>
                <c:pt idx="704">
                  <c:v>46168</c:v>
                </c:pt>
                <c:pt idx="705">
                  <c:v>46169</c:v>
                </c:pt>
                <c:pt idx="706">
                  <c:v>46170</c:v>
                </c:pt>
                <c:pt idx="707">
                  <c:v>46171</c:v>
                </c:pt>
                <c:pt idx="708">
                  <c:v>46174</c:v>
                </c:pt>
                <c:pt idx="709">
                  <c:v>46175</c:v>
                </c:pt>
                <c:pt idx="710">
                  <c:v>46176</c:v>
                </c:pt>
                <c:pt idx="711">
                  <c:v>46177</c:v>
                </c:pt>
                <c:pt idx="712">
                  <c:v>46178</c:v>
                </c:pt>
                <c:pt idx="713">
                  <c:v>46181</c:v>
                </c:pt>
                <c:pt idx="714">
                  <c:v>46182</c:v>
                </c:pt>
                <c:pt idx="715">
                  <c:v>46183</c:v>
                </c:pt>
                <c:pt idx="716">
                  <c:v>46184</c:v>
                </c:pt>
                <c:pt idx="717">
                  <c:v>46185</c:v>
                </c:pt>
                <c:pt idx="718">
                  <c:v>46188</c:v>
                </c:pt>
                <c:pt idx="719">
                  <c:v>46189</c:v>
                </c:pt>
                <c:pt idx="720">
                  <c:v>46190</c:v>
                </c:pt>
                <c:pt idx="721">
                  <c:v>46191</c:v>
                </c:pt>
                <c:pt idx="722">
                  <c:v>46192</c:v>
                </c:pt>
                <c:pt idx="723">
                  <c:v>46195</c:v>
                </c:pt>
                <c:pt idx="724">
                  <c:v>46196</c:v>
                </c:pt>
                <c:pt idx="725">
                  <c:v>46197</c:v>
                </c:pt>
                <c:pt idx="726">
                  <c:v>46198</c:v>
                </c:pt>
                <c:pt idx="727">
                  <c:v>46199</c:v>
                </c:pt>
                <c:pt idx="728">
                  <c:v>46202</c:v>
                </c:pt>
                <c:pt idx="729">
                  <c:v>46203</c:v>
                </c:pt>
                <c:pt idx="730">
                  <c:v>46204</c:v>
                </c:pt>
                <c:pt idx="731">
                  <c:v>46205</c:v>
                </c:pt>
                <c:pt idx="732">
                  <c:v>46206</c:v>
                </c:pt>
                <c:pt idx="733">
                  <c:v>46209</c:v>
                </c:pt>
                <c:pt idx="734">
                  <c:v>46210</c:v>
                </c:pt>
                <c:pt idx="735">
                  <c:v>46211</c:v>
                </c:pt>
                <c:pt idx="736">
                  <c:v>46212</c:v>
                </c:pt>
                <c:pt idx="737">
                  <c:v>46213</c:v>
                </c:pt>
                <c:pt idx="738">
                  <c:v>46216</c:v>
                </c:pt>
                <c:pt idx="739">
                  <c:v>46217</c:v>
                </c:pt>
                <c:pt idx="740">
                  <c:v>46218</c:v>
                </c:pt>
                <c:pt idx="741">
                  <c:v>46219</c:v>
                </c:pt>
                <c:pt idx="742">
                  <c:v>46220</c:v>
                </c:pt>
                <c:pt idx="743">
                  <c:v>46223</c:v>
                </c:pt>
                <c:pt idx="744">
                  <c:v>46224</c:v>
                </c:pt>
                <c:pt idx="745">
                  <c:v>46225</c:v>
                </c:pt>
                <c:pt idx="746">
                  <c:v>46226</c:v>
                </c:pt>
                <c:pt idx="747">
                  <c:v>46227</c:v>
                </c:pt>
                <c:pt idx="748">
                  <c:v>46230</c:v>
                </c:pt>
                <c:pt idx="749">
                  <c:v>46231</c:v>
                </c:pt>
                <c:pt idx="750">
                  <c:v>46232</c:v>
                </c:pt>
                <c:pt idx="751">
                  <c:v>46233</c:v>
                </c:pt>
                <c:pt idx="752">
                  <c:v>46234</c:v>
                </c:pt>
                <c:pt idx="753">
                  <c:v>46237</c:v>
                </c:pt>
                <c:pt idx="754">
                  <c:v>46238</c:v>
                </c:pt>
                <c:pt idx="755">
                  <c:v>46239</c:v>
                </c:pt>
                <c:pt idx="756">
                  <c:v>46240</c:v>
                </c:pt>
                <c:pt idx="757">
                  <c:v>46241</c:v>
                </c:pt>
                <c:pt idx="758">
                  <c:v>46244</c:v>
                </c:pt>
                <c:pt idx="759">
                  <c:v>46245</c:v>
                </c:pt>
                <c:pt idx="760">
                  <c:v>46246</c:v>
                </c:pt>
                <c:pt idx="761">
                  <c:v>46247</c:v>
                </c:pt>
                <c:pt idx="762">
                  <c:v>46248</c:v>
                </c:pt>
                <c:pt idx="763">
                  <c:v>46251</c:v>
                </c:pt>
                <c:pt idx="764">
                  <c:v>46252</c:v>
                </c:pt>
                <c:pt idx="765">
                  <c:v>46253</c:v>
                </c:pt>
                <c:pt idx="766">
                  <c:v>46254</c:v>
                </c:pt>
                <c:pt idx="767">
                  <c:v>46255</c:v>
                </c:pt>
                <c:pt idx="768">
                  <c:v>46258</c:v>
                </c:pt>
                <c:pt idx="769">
                  <c:v>46259</c:v>
                </c:pt>
                <c:pt idx="770">
                  <c:v>46260</c:v>
                </c:pt>
                <c:pt idx="771">
                  <c:v>46261</c:v>
                </c:pt>
                <c:pt idx="772">
                  <c:v>46262</c:v>
                </c:pt>
                <c:pt idx="773">
                  <c:v>46265</c:v>
                </c:pt>
                <c:pt idx="774">
                  <c:v>46266</c:v>
                </c:pt>
                <c:pt idx="775">
                  <c:v>46267</c:v>
                </c:pt>
                <c:pt idx="776">
                  <c:v>46268</c:v>
                </c:pt>
                <c:pt idx="777">
                  <c:v>46269</c:v>
                </c:pt>
                <c:pt idx="778">
                  <c:v>46272</c:v>
                </c:pt>
                <c:pt idx="779">
                  <c:v>46273</c:v>
                </c:pt>
                <c:pt idx="780">
                  <c:v>46274</c:v>
                </c:pt>
                <c:pt idx="781">
                  <c:v>46275</c:v>
                </c:pt>
                <c:pt idx="782">
                  <c:v>46276</c:v>
                </c:pt>
                <c:pt idx="783">
                  <c:v>46279</c:v>
                </c:pt>
                <c:pt idx="784">
                  <c:v>46280</c:v>
                </c:pt>
                <c:pt idx="785">
                  <c:v>46281</c:v>
                </c:pt>
                <c:pt idx="786">
                  <c:v>46282</c:v>
                </c:pt>
                <c:pt idx="787">
                  <c:v>46283</c:v>
                </c:pt>
                <c:pt idx="788">
                  <c:v>46286</c:v>
                </c:pt>
                <c:pt idx="789">
                  <c:v>46287</c:v>
                </c:pt>
                <c:pt idx="790">
                  <c:v>46288</c:v>
                </c:pt>
                <c:pt idx="791">
                  <c:v>46289</c:v>
                </c:pt>
                <c:pt idx="792">
                  <c:v>46290</c:v>
                </c:pt>
                <c:pt idx="793">
                  <c:v>46293</c:v>
                </c:pt>
                <c:pt idx="794">
                  <c:v>46294</c:v>
                </c:pt>
                <c:pt idx="795">
                  <c:v>46295</c:v>
                </c:pt>
                <c:pt idx="796">
                  <c:v>46296</c:v>
                </c:pt>
                <c:pt idx="797">
                  <c:v>46297</c:v>
                </c:pt>
                <c:pt idx="798">
                  <c:v>46300</c:v>
                </c:pt>
                <c:pt idx="799">
                  <c:v>46301</c:v>
                </c:pt>
                <c:pt idx="800">
                  <c:v>46302</c:v>
                </c:pt>
                <c:pt idx="801">
                  <c:v>46303</c:v>
                </c:pt>
                <c:pt idx="802">
                  <c:v>46304</c:v>
                </c:pt>
                <c:pt idx="803">
                  <c:v>46307</c:v>
                </c:pt>
                <c:pt idx="804">
                  <c:v>46308</c:v>
                </c:pt>
                <c:pt idx="805">
                  <c:v>46309</c:v>
                </c:pt>
                <c:pt idx="806">
                  <c:v>46310</c:v>
                </c:pt>
                <c:pt idx="807">
                  <c:v>46311</c:v>
                </c:pt>
                <c:pt idx="808">
                  <c:v>46314</c:v>
                </c:pt>
                <c:pt idx="809">
                  <c:v>46315</c:v>
                </c:pt>
                <c:pt idx="810">
                  <c:v>46316</c:v>
                </c:pt>
                <c:pt idx="811">
                  <c:v>46317</c:v>
                </c:pt>
                <c:pt idx="812">
                  <c:v>46318</c:v>
                </c:pt>
                <c:pt idx="813">
                  <c:v>46321</c:v>
                </c:pt>
                <c:pt idx="814">
                  <c:v>46322</c:v>
                </c:pt>
                <c:pt idx="815">
                  <c:v>46323</c:v>
                </c:pt>
                <c:pt idx="816">
                  <c:v>46324</c:v>
                </c:pt>
                <c:pt idx="817">
                  <c:v>46325</c:v>
                </c:pt>
                <c:pt idx="818">
                  <c:v>46328</c:v>
                </c:pt>
                <c:pt idx="819">
                  <c:v>46329</c:v>
                </c:pt>
                <c:pt idx="820">
                  <c:v>46330</c:v>
                </c:pt>
                <c:pt idx="821">
                  <c:v>46331</c:v>
                </c:pt>
                <c:pt idx="822">
                  <c:v>46332</c:v>
                </c:pt>
                <c:pt idx="823">
                  <c:v>46335</c:v>
                </c:pt>
                <c:pt idx="824">
                  <c:v>46336</c:v>
                </c:pt>
                <c:pt idx="825">
                  <c:v>46337</c:v>
                </c:pt>
                <c:pt idx="826">
                  <c:v>46338</c:v>
                </c:pt>
                <c:pt idx="827">
                  <c:v>46339</c:v>
                </c:pt>
                <c:pt idx="828">
                  <c:v>46342</c:v>
                </c:pt>
                <c:pt idx="829">
                  <c:v>46343</c:v>
                </c:pt>
                <c:pt idx="830">
                  <c:v>46344</c:v>
                </c:pt>
                <c:pt idx="831">
                  <c:v>46345</c:v>
                </c:pt>
                <c:pt idx="832">
                  <c:v>46346</c:v>
                </c:pt>
                <c:pt idx="833">
                  <c:v>46349</c:v>
                </c:pt>
                <c:pt idx="834">
                  <c:v>46350</c:v>
                </c:pt>
                <c:pt idx="835">
                  <c:v>46351</c:v>
                </c:pt>
                <c:pt idx="836">
                  <c:v>46352</c:v>
                </c:pt>
                <c:pt idx="837">
                  <c:v>46353</c:v>
                </c:pt>
                <c:pt idx="838">
                  <c:v>46356</c:v>
                </c:pt>
                <c:pt idx="839">
                  <c:v>46357</c:v>
                </c:pt>
                <c:pt idx="840">
                  <c:v>46358</c:v>
                </c:pt>
                <c:pt idx="841">
                  <c:v>46359</c:v>
                </c:pt>
                <c:pt idx="842">
                  <c:v>46360</c:v>
                </c:pt>
                <c:pt idx="843">
                  <c:v>46363</c:v>
                </c:pt>
                <c:pt idx="844">
                  <c:v>46364</c:v>
                </c:pt>
                <c:pt idx="845">
                  <c:v>46365</c:v>
                </c:pt>
                <c:pt idx="846">
                  <c:v>46366</c:v>
                </c:pt>
                <c:pt idx="847">
                  <c:v>46367</c:v>
                </c:pt>
                <c:pt idx="848">
                  <c:v>46370</c:v>
                </c:pt>
                <c:pt idx="849">
                  <c:v>46371</c:v>
                </c:pt>
                <c:pt idx="850">
                  <c:v>46372</c:v>
                </c:pt>
                <c:pt idx="851">
                  <c:v>46373</c:v>
                </c:pt>
                <c:pt idx="852">
                  <c:v>46374</c:v>
                </c:pt>
                <c:pt idx="853">
                  <c:v>46377</c:v>
                </c:pt>
                <c:pt idx="854">
                  <c:v>46378</c:v>
                </c:pt>
                <c:pt idx="855">
                  <c:v>46379</c:v>
                </c:pt>
                <c:pt idx="856">
                  <c:v>46380</c:v>
                </c:pt>
                <c:pt idx="857">
                  <c:v>46381</c:v>
                </c:pt>
                <c:pt idx="858">
                  <c:v>46384</c:v>
                </c:pt>
                <c:pt idx="859">
                  <c:v>46385</c:v>
                </c:pt>
                <c:pt idx="860">
                  <c:v>46386</c:v>
                </c:pt>
                <c:pt idx="861">
                  <c:v>46387</c:v>
                </c:pt>
                <c:pt idx="862">
                  <c:v>46388</c:v>
                </c:pt>
                <c:pt idx="863">
                  <c:v>46391</c:v>
                </c:pt>
                <c:pt idx="864">
                  <c:v>46392</c:v>
                </c:pt>
                <c:pt idx="865">
                  <c:v>46393</c:v>
                </c:pt>
                <c:pt idx="866">
                  <c:v>46394</c:v>
                </c:pt>
                <c:pt idx="867">
                  <c:v>46395</c:v>
                </c:pt>
                <c:pt idx="868">
                  <c:v>46398</c:v>
                </c:pt>
                <c:pt idx="869">
                  <c:v>46399</c:v>
                </c:pt>
                <c:pt idx="870">
                  <c:v>46400</c:v>
                </c:pt>
                <c:pt idx="871">
                  <c:v>46401</c:v>
                </c:pt>
                <c:pt idx="872">
                  <c:v>46402</c:v>
                </c:pt>
                <c:pt idx="873">
                  <c:v>46405</c:v>
                </c:pt>
                <c:pt idx="874">
                  <c:v>46406</c:v>
                </c:pt>
                <c:pt idx="875">
                  <c:v>46407</c:v>
                </c:pt>
                <c:pt idx="876">
                  <c:v>46408</c:v>
                </c:pt>
                <c:pt idx="877">
                  <c:v>46409</c:v>
                </c:pt>
                <c:pt idx="878">
                  <c:v>46412</c:v>
                </c:pt>
                <c:pt idx="879">
                  <c:v>46413</c:v>
                </c:pt>
                <c:pt idx="880">
                  <c:v>46414</c:v>
                </c:pt>
                <c:pt idx="881">
                  <c:v>46415</c:v>
                </c:pt>
                <c:pt idx="882">
                  <c:v>46416</c:v>
                </c:pt>
                <c:pt idx="883">
                  <c:v>46419</c:v>
                </c:pt>
                <c:pt idx="884">
                  <c:v>46420</c:v>
                </c:pt>
                <c:pt idx="885">
                  <c:v>46421</c:v>
                </c:pt>
                <c:pt idx="886">
                  <c:v>46422</c:v>
                </c:pt>
                <c:pt idx="887">
                  <c:v>46423</c:v>
                </c:pt>
                <c:pt idx="888">
                  <c:v>46426</c:v>
                </c:pt>
                <c:pt idx="889">
                  <c:v>46427</c:v>
                </c:pt>
                <c:pt idx="890">
                  <c:v>46428</c:v>
                </c:pt>
                <c:pt idx="891">
                  <c:v>46429</c:v>
                </c:pt>
                <c:pt idx="892">
                  <c:v>46430</c:v>
                </c:pt>
                <c:pt idx="893">
                  <c:v>46433</c:v>
                </c:pt>
                <c:pt idx="894">
                  <c:v>46434</c:v>
                </c:pt>
                <c:pt idx="895">
                  <c:v>46435</c:v>
                </c:pt>
                <c:pt idx="896">
                  <c:v>46436</c:v>
                </c:pt>
                <c:pt idx="897">
                  <c:v>46437</c:v>
                </c:pt>
                <c:pt idx="898">
                  <c:v>46440</c:v>
                </c:pt>
                <c:pt idx="899">
                  <c:v>46441</c:v>
                </c:pt>
                <c:pt idx="900">
                  <c:v>46442</c:v>
                </c:pt>
                <c:pt idx="901">
                  <c:v>46443</c:v>
                </c:pt>
                <c:pt idx="902">
                  <c:v>46444</c:v>
                </c:pt>
                <c:pt idx="903">
                  <c:v>46447</c:v>
                </c:pt>
                <c:pt idx="904">
                  <c:v>46448</c:v>
                </c:pt>
                <c:pt idx="905">
                  <c:v>46449</c:v>
                </c:pt>
                <c:pt idx="906">
                  <c:v>46450</c:v>
                </c:pt>
                <c:pt idx="907">
                  <c:v>46451</c:v>
                </c:pt>
                <c:pt idx="908">
                  <c:v>46454</c:v>
                </c:pt>
                <c:pt idx="909">
                  <c:v>46455</c:v>
                </c:pt>
                <c:pt idx="910">
                  <c:v>46456</c:v>
                </c:pt>
                <c:pt idx="911">
                  <c:v>46457</c:v>
                </c:pt>
                <c:pt idx="912">
                  <c:v>46458</c:v>
                </c:pt>
                <c:pt idx="913">
                  <c:v>46461</c:v>
                </c:pt>
                <c:pt idx="914">
                  <c:v>46462</c:v>
                </c:pt>
                <c:pt idx="915">
                  <c:v>46463</c:v>
                </c:pt>
                <c:pt idx="916">
                  <c:v>46464</c:v>
                </c:pt>
                <c:pt idx="917">
                  <c:v>46465</c:v>
                </c:pt>
                <c:pt idx="918">
                  <c:v>46468</c:v>
                </c:pt>
                <c:pt idx="919">
                  <c:v>46469</c:v>
                </c:pt>
                <c:pt idx="920">
                  <c:v>46470</c:v>
                </c:pt>
                <c:pt idx="921">
                  <c:v>46471</c:v>
                </c:pt>
                <c:pt idx="922">
                  <c:v>46472</c:v>
                </c:pt>
                <c:pt idx="923">
                  <c:v>46475</c:v>
                </c:pt>
                <c:pt idx="924">
                  <c:v>46476</c:v>
                </c:pt>
                <c:pt idx="925">
                  <c:v>46477</c:v>
                </c:pt>
                <c:pt idx="926">
                  <c:v>46478</c:v>
                </c:pt>
                <c:pt idx="927">
                  <c:v>46479</c:v>
                </c:pt>
                <c:pt idx="928">
                  <c:v>46482</c:v>
                </c:pt>
                <c:pt idx="929">
                  <c:v>46483</c:v>
                </c:pt>
                <c:pt idx="930">
                  <c:v>46484</c:v>
                </c:pt>
                <c:pt idx="931">
                  <c:v>46485</c:v>
                </c:pt>
                <c:pt idx="932">
                  <c:v>46486</c:v>
                </c:pt>
                <c:pt idx="933">
                  <c:v>46489</c:v>
                </c:pt>
                <c:pt idx="934">
                  <c:v>46490</c:v>
                </c:pt>
                <c:pt idx="935">
                  <c:v>46491</c:v>
                </c:pt>
                <c:pt idx="936">
                  <c:v>46492</c:v>
                </c:pt>
                <c:pt idx="937">
                  <c:v>46493</c:v>
                </c:pt>
                <c:pt idx="938">
                  <c:v>46496</c:v>
                </c:pt>
                <c:pt idx="939">
                  <c:v>46497</c:v>
                </c:pt>
                <c:pt idx="940">
                  <c:v>46498</c:v>
                </c:pt>
                <c:pt idx="941">
                  <c:v>46499</c:v>
                </c:pt>
                <c:pt idx="942">
                  <c:v>46500</c:v>
                </c:pt>
                <c:pt idx="943">
                  <c:v>46503</c:v>
                </c:pt>
                <c:pt idx="944">
                  <c:v>46504</c:v>
                </c:pt>
                <c:pt idx="945">
                  <c:v>46505</c:v>
                </c:pt>
                <c:pt idx="946">
                  <c:v>46506</c:v>
                </c:pt>
                <c:pt idx="947">
                  <c:v>46507</c:v>
                </c:pt>
                <c:pt idx="948">
                  <c:v>46510</c:v>
                </c:pt>
                <c:pt idx="949">
                  <c:v>46511</c:v>
                </c:pt>
                <c:pt idx="950">
                  <c:v>46512</c:v>
                </c:pt>
                <c:pt idx="951">
                  <c:v>46513</c:v>
                </c:pt>
                <c:pt idx="952">
                  <c:v>46514</c:v>
                </c:pt>
                <c:pt idx="953">
                  <c:v>46517</c:v>
                </c:pt>
                <c:pt idx="954">
                  <c:v>46518</c:v>
                </c:pt>
                <c:pt idx="955">
                  <c:v>46519</c:v>
                </c:pt>
                <c:pt idx="956">
                  <c:v>46520</c:v>
                </c:pt>
                <c:pt idx="957">
                  <c:v>46521</c:v>
                </c:pt>
                <c:pt idx="958">
                  <c:v>46524</c:v>
                </c:pt>
                <c:pt idx="959">
                  <c:v>46525</c:v>
                </c:pt>
                <c:pt idx="960">
                  <c:v>46526</c:v>
                </c:pt>
                <c:pt idx="961">
                  <c:v>46527</c:v>
                </c:pt>
                <c:pt idx="962">
                  <c:v>46528</c:v>
                </c:pt>
                <c:pt idx="963">
                  <c:v>46531</c:v>
                </c:pt>
                <c:pt idx="964">
                  <c:v>46532</c:v>
                </c:pt>
                <c:pt idx="965">
                  <c:v>46533</c:v>
                </c:pt>
                <c:pt idx="966">
                  <c:v>46534</c:v>
                </c:pt>
                <c:pt idx="967">
                  <c:v>46535</c:v>
                </c:pt>
                <c:pt idx="968">
                  <c:v>46538</c:v>
                </c:pt>
                <c:pt idx="969">
                  <c:v>46539</c:v>
                </c:pt>
                <c:pt idx="970">
                  <c:v>46540</c:v>
                </c:pt>
                <c:pt idx="971">
                  <c:v>46541</c:v>
                </c:pt>
                <c:pt idx="972">
                  <c:v>46542</c:v>
                </c:pt>
                <c:pt idx="973">
                  <c:v>46545</c:v>
                </c:pt>
                <c:pt idx="974">
                  <c:v>46546</c:v>
                </c:pt>
                <c:pt idx="975">
                  <c:v>46547</c:v>
                </c:pt>
                <c:pt idx="976">
                  <c:v>46548</c:v>
                </c:pt>
                <c:pt idx="977">
                  <c:v>46549</c:v>
                </c:pt>
                <c:pt idx="978">
                  <c:v>46552</c:v>
                </c:pt>
                <c:pt idx="979">
                  <c:v>46553</c:v>
                </c:pt>
                <c:pt idx="980">
                  <c:v>46554</c:v>
                </c:pt>
                <c:pt idx="981">
                  <c:v>46555</c:v>
                </c:pt>
                <c:pt idx="982">
                  <c:v>46556</c:v>
                </c:pt>
                <c:pt idx="983">
                  <c:v>46559</c:v>
                </c:pt>
                <c:pt idx="984">
                  <c:v>46560</c:v>
                </c:pt>
                <c:pt idx="985">
                  <c:v>46561</c:v>
                </c:pt>
                <c:pt idx="986">
                  <c:v>46562</c:v>
                </c:pt>
                <c:pt idx="987">
                  <c:v>46563</c:v>
                </c:pt>
                <c:pt idx="988">
                  <c:v>46566</c:v>
                </c:pt>
                <c:pt idx="989">
                  <c:v>46567</c:v>
                </c:pt>
                <c:pt idx="990">
                  <c:v>46568</c:v>
                </c:pt>
                <c:pt idx="991">
                  <c:v>46569</c:v>
                </c:pt>
                <c:pt idx="992">
                  <c:v>46570</c:v>
                </c:pt>
                <c:pt idx="993">
                  <c:v>46573</c:v>
                </c:pt>
                <c:pt idx="994">
                  <c:v>46574</c:v>
                </c:pt>
                <c:pt idx="995">
                  <c:v>46575</c:v>
                </c:pt>
                <c:pt idx="996">
                  <c:v>46576</c:v>
                </c:pt>
                <c:pt idx="997">
                  <c:v>46577</c:v>
                </c:pt>
                <c:pt idx="998">
                  <c:v>46580</c:v>
                </c:pt>
              </c:numCache>
            </c:numRef>
          </c:cat>
          <c:val>
            <c:numRef>
              <c:f>Daily!$W$2:$W$1057</c:f>
            </c:numRef>
          </c:val>
          <c:smooth val="0"/>
          <c:extLst>
            <c:ext xmlns:c16="http://schemas.microsoft.com/office/drawing/2014/chart" uri="{C3380CC4-5D6E-409C-BE32-E72D297353CC}">
              <c16:uniqueId val="{00000018-094D-4E29-B010-D717A2A1A293}"/>
            </c:ext>
          </c:extLst>
        </c:ser>
        <c:ser>
          <c:idx val="19"/>
          <c:order val="19"/>
          <c:tx>
            <c:strRef>
              <c:f>Daily!$X$1</c:f>
              <c:strCache>
                <c:ptCount val="1"/>
                <c:pt idx="0">
                  <c:v>M+6</c:v>
                </c:pt>
              </c:strCache>
            </c:strRef>
          </c:tx>
          <c:spPr>
            <a:ln w="28575" cap="rnd" cmpd="sng" algn="ctr">
              <a:solidFill>
                <a:schemeClr val="accent2">
                  <a:lumMod val="80000"/>
                  <a:shade val="95000"/>
                  <a:satMod val="105000"/>
                </a:schemeClr>
              </a:solidFill>
              <a:prstDash val="solid"/>
              <a:round/>
            </a:ln>
            <a:effectLst/>
          </c:spPr>
          <c:marker>
            <c:symbol val="none"/>
          </c:marker>
          <c:cat>
            <c:numRef>
              <c:f>Daily!$A$2:$A$1000</c:f>
              <c:numCache>
                <c:formatCode>d\-mmm\-yy</c:formatCode>
                <c:ptCount val="999"/>
                <c:pt idx="0">
                  <c:v>45128</c:v>
                </c:pt>
                <c:pt idx="1">
                  <c:v>45131</c:v>
                </c:pt>
                <c:pt idx="2">
                  <c:v>45132</c:v>
                </c:pt>
                <c:pt idx="3">
                  <c:v>45133</c:v>
                </c:pt>
                <c:pt idx="4">
                  <c:v>45134</c:v>
                </c:pt>
                <c:pt idx="5">
                  <c:v>45135</c:v>
                </c:pt>
                <c:pt idx="6">
                  <c:v>45138</c:v>
                </c:pt>
                <c:pt idx="7">
                  <c:v>45139</c:v>
                </c:pt>
                <c:pt idx="8">
                  <c:v>45140</c:v>
                </c:pt>
                <c:pt idx="9">
                  <c:v>45141</c:v>
                </c:pt>
                <c:pt idx="10">
                  <c:v>45142</c:v>
                </c:pt>
                <c:pt idx="11">
                  <c:v>45145</c:v>
                </c:pt>
                <c:pt idx="12">
                  <c:v>45146</c:v>
                </c:pt>
                <c:pt idx="13">
                  <c:v>45147</c:v>
                </c:pt>
                <c:pt idx="14">
                  <c:v>45148</c:v>
                </c:pt>
                <c:pt idx="15">
                  <c:v>45149</c:v>
                </c:pt>
                <c:pt idx="16">
                  <c:v>45152</c:v>
                </c:pt>
                <c:pt idx="17">
                  <c:v>45153</c:v>
                </c:pt>
                <c:pt idx="18">
                  <c:v>45154</c:v>
                </c:pt>
                <c:pt idx="19">
                  <c:v>45155</c:v>
                </c:pt>
                <c:pt idx="20">
                  <c:v>45156</c:v>
                </c:pt>
                <c:pt idx="21">
                  <c:v>45159</c:v>
                </c:pt>
                <c:pt idx="22">
                  <c:v>45160</c:v>
                </c:pt>
                <c:pt idx="23">
                  <c:v>45161</c:v>
                </c:pt>
                <c:pt idx="24">
                  <c:v>45162</c:v>
                </c:pt>
                <c:pt idx="25">
                  <c:v>45163</c:v>
                </c:pt>
                <c:pt idx="26">
                  <c:v>45166</c:v>
                </c:pt>
                <c:pt idx="27">
                  <c:v>45167</c:v>
                </c:pt>
                <c:pt idx="28">
                  <c:v>45168</c:v>
                </c:pt>
                <c:pt idx="29">
                  <c:v>45169</c:v>
                </c:pt>
                <c:pt idx="30">
                  <c:v>45170</c:v>
                </c:pt>
                <c:pt idx="31">
                  <c:v>45173</c:v>
                </c:pt>
                <c:pt idx="32">
                  <c:v>45174</c:v>
                </c:pt>
                <c:pt idx="33">
                  <c:v>45175</c:v>
                </c:pt>
                <c:pt idx="34">
                  <c:v>45176</c:v>
                </c:pt>
                <c:pt idx="35">
                  <c:v>45177</c:v>
                </c:pt>
                <c:pt idx="36">
                  <c:v>45180</c:v>
                </c:pt>
                <c:pt idx="37">
                  <c:v>45181</c:v>
                </c:pt>
                <c:pt idx="38">
                  <c:v>45182</c:v>
                </c:pt>
                <c:pt idx="39">
                  <c:v>45183</c:v>
                </c:pt>
                <c:pt idx="40">
                  <c:v>45184</c:v>
                </c:pt>
                <c:pt idx="41">
                  <c:v>45187</c:v>
                </c:pt>
                <c:pt idx="42">
                  <c:v>45188</c:v>
                </c:pt>
                <c:pt idx="43">
                  <c:v>45189</c:v>
                </c:pt>
                <c:pt idx="44">
                  <c:v>45190</c:v>
                </c:pt>
                <c:pt idx="45">
                  <c:v>45191</c:v>
                </c:pt>
                <c:pt idx="46">
                  <c:v>45194</c:v>
                </c:pt>
                <c:pt idx="47">
                  <c:v>45195</c:v>
                </c:pt>
                <c:pt idx="48">
                  <c:v>45196</c:v>
                </c:pt>
                <c:pt idx="49">
                  <c:v>45197</c:v>
                </c:pt>
                <c:pt idx="50">
                  <c:v>45208</c:v>
                </c:pt>
                <c:pt idx="51">
                  <c:v>45209</c:v>
                </c:pt>
                <c:pt idx="52">
                  <c:v>45210</c:v>
                </c:pt>
                <c:pt idx="53">
                  <c:v>45211</c:v>
                </c:pt>
                <c:pt idx="54">
                  <c:v>45212</c:v>
                </c:pt>
                <c:pt idx="55">
                  <c:v>45215</c:v>
                </c:pt>
                <c:pt idx="56">
                  <c:v>45216</c:v>
                </c:pt>
                <c:pt idx="57">
                  <c:v>45217</c:v>
                </c:pt>
                <c:pt idx="58">
                  <c:v>45218</c:v>
                </c:pt>
                <c:pt idx="59">
                  <c:v>45219</c:v>
                </c:pt>
                <c:pt idx="60">
                  <c:v>45222</c:v>
                </c:pt>
                <c:pt idx="61">
                  <c:v>45223</c:v>
                </c:pt>
                <c:pt idx="62">
                  <c:v>45224</c:v>
                </c:pt>
                <c:pt idx="63">
                  <c:v>45225</c:v>
                </c:pt>
                <c:pt idx="64">
                  <c:v>45226</c:v>
                </c:pt>
                <c:pt idx="65">
                  <c:v>45229</c:v>
                </c:pt>
                <c:pt idx="66">
                  <c:v>45230</c:v>
                </c:pt>
                <c:pt idx="67">
                  <c:v>45231</c:v>
                </c:pt>
                <c:pt idx="68">
                  <c:v>45232</c:v>
                </c:pt>
                <c:pt idx="69">
                  <c:v>45233</c:v>
                </c:pt>
                <c:pt idx="70">
                  <c:v>45236</c:v>
                </c:pt>
                <c:pt idx="71">
                  <c:v>45237</c:v>
                </c:pt>
                <c:pt idx="72">
                  <c:v>45238</c:v>
                </c:pt>
                <c:pt idx="73">
                  <c:v>45239</c:v>
                </c:pt>
                <c:pt idx="74">
                  <c:v>45240</c:v>
                </c:pt>
                <c:pt idx="75">
                  <c:v>45243</c:v>
                </c:pt>
                <c:pt idx="76">
                  <c:v>45244</c:v>
                </c:pt>
                <c:pt idx="77">
                  <c:v>45245</c:v>
                </c:pt>
                <c:pt idx="78">
                  <c:v>45246</c:v>
                </c:pt>
                <c:pt idx="79">
                  <c:v>45247</c:v>
                </c:pt>
                <c:pt idx="80">
                  <c:v>45250</c:v>
                </c:pt>
                <c:pt idx="81">
                  <c:v>45251</c:v>
                </c:pt>
                <c:pt idx="82">
                  <c:v>45252</c:v>
                </c:pt>
                <c:pt idx="83">
                  <c:v>45253</c:v>
                </c:pt>
                <c:pt idx="84">
                  <c:v>45254</c:v>
                </c:pt>
                <c:pt idx="85">
                  <c:v>45257</c:v>
                </c:pt>
                <c:pt idx="86">
                  <c:v>45258</c:v>
                </c:pt>
                <c:pt idx="87">
                  <c:v>45259</c:v>
                </c:pt>
                <c:pt idx="88">
                  <c:v>45260</c:v>
                </c:pt>
                <c:pt idx="89">
                  <c:v>45261</c:v>
                </c:pt>
                <c:pt idx="90">
                  <c:v>45264</c:v>
                </c:pt>
                <c:pt idx="91">
                  <c:v>45265</c:v>
                </c:pt>
                <c:pt idx="92">
                  <c:v>45266</c:v>
                </c:pt>
                <c:pt idx="93">
                  <c:v>45267</c:v>
                </c:pt>
                <c:pt idx="94">
                  <c:v>45268</c:v>
                </c:pt>
                <c:pt idx="95">
                  <c:v>45271</c:v>
                </c:pt>
                <c:pt idx="96">
                  <c:v>45272</c:v>
                </c:pt>
                <c:pt idx="97">
                  <c:v>45273</c:v>
                </c:pt>
                <c:pt idx="98">
                  <c:v>45274</c:v>
                </c:pt>
                <c:pt idx="99">
                  <c:v>45275</c:v>
                </c:pt>
                <c:pt idx="100">
                  <c:v>45278</c:v>
                </c:pt>
                <c:pt idx="101">
                  <c:v>45279</c:v>
                </c:pt>
                <c:pt idx="102">
                  <c:v>45280</c:v>
                </c:pt>
                <c:pt idx="103">
                  <c:v>45281</c:v>
                </c:pt>
                <c:pt idx="104">
                  <c:v>45282</c:v>
                </c:pt>
                <c:pt idx="105">
                  <c:v>45285</c:v>
                </c:pt>
                <c:pt idx="106">
                  <c:v>45286</c:v>
                </c:pt>
                <c:pt idx="107">
                  <c:v>45287</c:v>
                </c:pt>
                <c:pt idx="108">
                  <c:v>45288</c:v>
                </c:pt>
                <c:pt idx="109">
                  <c:v>45289</c:v>
                </c:pt>
                <c:pt idx="110">
                  <c:v>45293</c:v>
                </c:pt>
                <c:pt idx="111">
                  <c:v>45294</c:v>
                </c:pt>
                <c:pt idx="112">
                  <c:v>45295</c:v>
                </c:pt>
                <c:pt idx="113">
                  <c:v>45296</c:v>
                </c:pt>
                <c:pt idx="114">
                  <c:v>45299</c:v>
                </c:pt>
                <c:pt idx="115">
                  <c:v>45300</c:v>
                </c:pt>
                <c:pt idx="116">
                  <c:v>45301</c:v>
                </c:pt>
                <c:pt idx="117">
                  <c:v>45302</c:v>
                </c:pt>
                <c:pt idx="118">
                  <c:v>45303</c:v>
                </c:pt>
                <c:pt idx="119">
                  <c:v>45306</c:v>
                </c:pt>
                <c:pt idx="120">
                  <c:v>45307</c:v>
                </c:pt>
                <c:pt idx="121">
                  <c:v>45308</c:v>
                </c:pt>
                <c:pt idx="122">
                  <c:v>45309</c:v>
                </c:pt>
                <c:pt idx="123">
                  <c:v>45310</c:v>
                </c:pt>
                <c:pt idx="124">
                  <c:v>45313</c:v>
                </c:pt>
                <c:pt idx="125">
                  <c:v>45314</c:v>
                </c:pt>
                <c:pt idx="126">
                  <c:v>45315</c:v>
                </c:pt>
                <c:pt idx="127">
                  <c:v>45316</c:v>
                </c:pt>
                <c:pt idx="128">
                  <c:v>45317</c:v>
                </c:pt>
                <c:pt idx="129">
                  <c:v>45320</c:v>
                </c:pt>
                <c:pt idx="130">
                  <c:v>45321</c:v>
                </c:pt>
                <c:pt idx="131">
                  <c:v>45322</c:v>
                </c:pt>
                <c:pt idx="132">
                  <c:v>45323</c:v>
                </c:pt>
                <c:pt idx="133">
                  <c:v>45324</c:v>
                </c:pt>
                <c:pt idx="134">
                  <c:v>45327</c:v>
                </c:pt>
                <c:pt idx="135">
                  <c:v>45328</c:v>
                </c:pt>
                <c:pt idx="136">
                  <c:v>45329</c:v>
                </c:pt>
                <c:pt idx="137">
                  <c:v>45330</c:v>
                </c:pt>
                <c:pt idx="138">
                  <c:v>45341</c:v>
                </c:pt>
                <c:pt idx="139">
                  <c:v>45342</c:v>
                </c:pt>
                <c:pt idx="140">
                  <c:v>45343</c:v>
                </c:pt>
                <c:pt idx="141">
                  <c:v>45344</c:v>
                </c:pt>
                <c:pt idx="142">
                  <c:v>45345</c:v>
                </c:pt>
                <c:pt idx="143">
                  <c:v>45348</c:v>
                </c:pt>
                <c:pt idx="144">
                  <c:v>45349</c:v>
                </c:pt>
                <c:pt idx="145">
                  <c:v>45350</c:v>
                </c:pt>
                <c:pt idx="146">
                  <c:v>45351</c:v>
                </c:pt>
                <c:pt idx="147">
                  <c:v>45352</c:v>
                </c:pt>
                <c:pt idx="148">
                  <c:v>45355</c:v>
                </c:pt>
                <c:pt idx="149">
                  <c:v>45356</c:v>
                </c:pt>
                <c:pt idx="150">
                  <c:v>45357</c:v>
                </c:pt>
                <c:pt idx="151">
                  <c:v>45358</c:v>
                </c:pt>
                <c:pt idx="152">
                  <c:v>45359</c:v>
                </c:pt>
                <c:pt idx="153">
                  <c:v>45362</c:v>
                </c:pt>
                <c:pt idx="154">
                  <c:v>45363</c:v>
                </c:pt>
                <c:pt idx="155">
                  <c:v>45364</c:v>
                </c:pt>
                <c:pt idx="156">
                  <c:v>45365</c:v>
                </c:pt>
                <c:pt idx="157">
                  <c:v>45366</c:v>
                </c:pt>
                <c:pt idx="158">
                  <c:v>45369</c:v>
                </c:pt>
                <c:pt idx="159">
                  <c:v>45370</c:v>
                </c:pt>
                <c:pt idx="160">
                  <c:v>45371</c:v>
                </c:pt>
                <c:pt idx="161">
                  <c:v>45372</c:v>
                </c:pt>
                <c:pt idx="162">
                  <c:v>45373</c:v>
                </c:pt>
                <c:pt idx="163">
                  <c:v>45376</c:v>
                </c:pt>
                <c:pt idx="164">
                  <c:v>45377</c:v>
                </c:pt>
                <c:pt idx="165">
                  <c:v>45378</c:v>
                </c:pt>
                <c:pt idx="166">
                  <c:v>45379</c:v>
                </c:pt>
                <c:pt idx="167">
                  <c:v>45380</c:v>
                </c:pt>
                <c:pt idx="168">
                  <c:v>45383</c:v>
                </c:pt>
                <c:pt idx="169">
                  <c:v>45384</c:v>
                </c:pt>
                <c:pt idx="170">
                  <c:v>45385</c:v>
                </c:pt>
                <c:pt idx="171">
                  <c:v>45390</c:v>
                </c:pt>
                <c:pt idx="172">
                  <c:v>45391</c:v>
                </c:pt>
                <c:pt idx="173">
                  <c:v>45392</c:v>
                </c:pt>
                <c:pt idx="174">
                  <c:v>45393</c:v>
                </c:pt>
                <c:pt idx="175">
                  <c:v>45394</c:v>
                </c:pt>
                <c:pt idx="176">
                  <c:v>45397</c:v>
                </c:pt>
                <c:pt idx="177">
                  <c:v>45398</c:v>
                </c:pt>
                <c:pt idx="178">
                  <c:v>45399</c:v>
                </c:pt>
                <c:pt idx="179">
                  <c:v>45400</c:v>
                </c:pt>
                <c:pt idx="180">
                  <c:v>45401</c:v>
                </c:pt>
                <c:pt idx="181">
                  <c:v>45404</c:v>
                </c:pt>
                <c:pt idx="182">
                  <c:v>45405</c:v>
                </c:pt>
                <c:pt idx="183">
                  <c:v>45406</c:v>
                </c:pt>
                <c:pt idx="184">
                  <c:v>45407</c:v>
                </c:pt>
                <c:pt idx="185">
                  <c:v>45408</c:v>
                </c:pt>
                <c:pt idx="186">
                  <c:v>45411</c:v>
                </c:pt>
                <c:pt idx="187">
                  <c:v>45412</c:v>
                </c:pt>
                <c:pt idx="188">
                  <c:v>45418</c:v>
                </c:pt>
                <c:pt idx="189">
                  <c:v>45419</c:v>
                </c:pt>
                <c:pt idx="190">
                  <c:v>45420</c:v>
                </c:pt>
                <c:pt idx="191">
                  <c:v>45421</c:v>
                </c:pt>
                <c:pt idx="192">
                  <c:v>45422</c:v>
                </c:pt>
                <c:pt idx="193">
                  <c:v>45425</c:v>
                </c:pt>
                <c:pt idx="194">
                  <c:v>45426</c:v>
                </c:pt>
                <c:pt idx="195">
                  <c:v>45427</c:v>
                </c:pt>
                <c:pt idx="196">
                  <c:v>45428</c:v>
                </c:pt>
                <c:pt idx="197">
                  <c:v>45429</c:v>
                </c:pt>
                <c:pt idx="198">
                  <c:v>45432</c:v>
                </c:pt>
                <c:pt idx="199">
                  <c:v>45433</c:v>
                </c:pt>
                <c:pt idx="200">
                  <c:v>45434</c:v>
                </c:pt>
                <c:pt idx="201">
                  <c:v>45435</c:v>
                </c:pt>
                <c:pt idx="202">
                  <c:v>45436</c:v>
                </c:pt>
                <c:pt idx="203">
                  <c:v>45439</c:v>
                </c:pt>
                <c:pt idx="204">
                  <c:v>45440</c:v>
                </c:pt>
                <c:pt idx="205">
                  <c:v>45441</c:v>
                </c:pt>
                <c:pt idx="206">
                  <c:v>45442</c:v>
                </c:pt>
                <c:pt idx="207">
                  <c:v>45443</c:v>
                </c:pt>
                <c:pt idx="208">
                  <c:v>45446</c:v>
                </c:pt>
                <c:pt idx="209">
                  <c:v>45447</c:v>
                </c:pt>
                <c:pt idx="210">
                  <c:v>45448</c:v>
                </c:pt>
                <c:pt idx="211">
                  <c:v>45449</c:v>
                </c:pt>
                <c:pt idx="212">
                  <c:v>45450</c:v>
                </c:pt>
                <c:pt idx="213">
                  <c:v>45454</c:v>
                </c:pt>
                <c:pt idx="214">
                  <c:v>45455</c:v>
                </c:pt>
                <c:pt idx="215">
                  <c:v>45456</c:v>
                </c:pt>
                <c:pt idx="216">
                  <c:v>45457</c:v>
                </c:pt>
                <c:pt idx="217">
                  <c:v>45460</c:v>
                </c:pt>
                <c:pt idx="218">
                  <c:v>45461</c:v>
                </c:pt>
                <c:pt idx="219">
                  <c:v>45462</c:v>
                </c:pt>
                <c:pt idx="220">
                  <c:v>45463</c:v>
                </c:pt>
                <c:pt idx="221">
                  <c:v>45464</c:v>
                </c:pt>
                <c:pt idx="222">
                  <c:v>45467</c:v>
                </c:pt>
                <c:pt idx="223">
                  <c:v>45468</c:v>
                </c:pt>
                <c:pt idx="224">
                  <c:v>45469</c:v>
                </c:pt>
                <c:pt idx="225">
                  <c:v>45470</c:v>
                </c:pt>
                <c:pt idx="226">
                  <c:v>45471</c:v>
                </c:pt>
                <c:pt idx="227">
                  <c:v>45474</c:v>
                </c:pt>
                <c:pt idx="228">
                  <c:v>45475</c:v>
                </c:pt>
                <c:pt idx="229">
                  <c:v>45476</c:v>
                </c:pt>
                <c:pt idx="230">
                  <c:v>45477</c:v>
                </c:pt>
                <c:pt idx="231">
                  <c:v>45478</c:v>
                </c:pt>
                <c:pt idx="232">
                  <c:v>45481</c:v>
                </c:pt>
                <c:pt idx="233">
                  <c:v>45482</c:v>
                </c:pt>
                <c:pt idx="234">
                  <c:v>45483</c:v>
                </c:pt>
                <c:pt idx="235">
                  <c:v>45484</c:v>
                </c:pt>
                <c:pt idx="236">
                  <c:v>45485</c:v>
                </c:pt>
                <c:pt idx="237">
                  <c:v>45488</c:v>
                </c:pt>
                <c:pt idx="238">
                  <c:v>45489</c:v>
                </c:pt>
                <c:pt idx="239">
                  <c:v>45490</c:v>
                </c:pt>
                <c:pt idx="240">
                  <c:v>45491</c:v>
                </c:pt>
                <c:pt idx="241">
                  <c:v>45492</c:v>
                </c:pt>
                <c:pt idx="242">
                  <c:v>45495</c:v>
                </c:pt>
                <c:pt idx="243">
                  <c:v>45496</c:v>
                </c:pt>
                <c:pt idx="244">
                  <c:v>45497</c:v>
                </c:pt>
                <c:pt idx="245">
                  <c:v>45498</c:v>
                </c:pt>
                <c:pt idx="246">
                  <c:v>45499</c:v>
                </c:pt>
                <c:pt idx="247">
                  <c:v>45502</c:v>
                </c:pt>
                <c:pt idx="248">
                  <c:v>45503</c:v>
                </c:pt>
                <c:pt idx="249">
                  <c:v>45504</c:v>
                </c:pt>
                <c:pt idx="250">
                  <c:v>45505</c:v>
                </c:pt>
                <c:pt idx="251">
                  <c:v>45506</c:v>
                </c:pt>
                <c:pt idx="252">
                  <c:v>45509</c:v>
                </c:pt>
                <c:pt idx="253">
                  <c:v>45510</c:v>
                </c:pt>
                <c:pt idx="254">
                  <c:v>45511</c:v>
                </c:pt>
                <c:pt idx="255">
                  <c:v>45512</c:v>
                </c:pt>
                <c:pt idx="256">
                  <c:v>45513</c:v>
                </c:pt>
                <c:pt idx="257">
                  <c:v>45516</c:v>
                </c:pt>
                <c:pt idx="258">
                  <c:v>45517</c:v>
                </c:pt>
                <c:pt idx="259">
                  <c:v>45518</c:v>
                </c:pt>
                <c:pt idx="260">
                  <c:v>45519</c:v>
                </c:pt>
                <c:pt idx="261">
                  <c:v>45520</c:v>
                </c:pt>
                <c:pt idx="262">
                  <c:v>45523</c:v>
                </c:pt>
                <c:pt idx="263">
                  <c:v>45524</c:v>
                </c:pt>
                <c:pt idx="264">
                  <c:v>45525</c:v>
                </c:pt>
                <c:pt idx="265">
                  <c:v>45526</c:v>
                </c:pt>
                <c:pt idx="266">
                  <c:v>45527</c:v>
                </c:pt>
                <c:pt idx="267">
                  <c:v>45530</c:v>
                </c:pt>
                <c:pt idx="268">
                  <c:v>45531</c:v>
                </c:pt>
                <c:pt idx="269">
                  <c:v>45532</c:v>
                </c:pt>
                <c:pt idx="270">
                  <c:v>45533</c:v>
                </c:pt>
                <c:pt idx="271">
                  <c:v>45534</c:v>
                </c:pt>
                <c:pt idx="272">
                  <c:v>45537</c:v>
                </c:pt>
                <c:pt idx="273">
                  <c:v>45538</c:v>
                </c:pt>
                <c:pt idx="274">
                  <c:v>45539</c:v>
                </c:pt>
                <c:pt idx="275">
                  <c:v>45540</c:v>
                </c:pt>
                <c:pt idx="276">
                  <c:v>45541</c:v>
                </c:pt>
                <c:pt idx="277">
                  <c:v>45544</c:v>
                </c:pt>
                <c:pt idx="278">
                  <c:v>45545</c:v>
                </c:pt>
                <c:pt idx="279">
                  <c:v>45546</c:v>
                </c:pt>
                <c:pt idx="280">
                  <c:v>45547</c:v>
                </c:pt>
                <c:pt idx="281">
                  <c:v>45548</c:v>
                </c:pt>
                <c:pt idx="282">
                  <c:v>45553</c:v>
                </c:pt>
                <c:pt idx="283">
                  <c:v>45554</c:v>
                </c:pt>
                <c:pt idx="284">
                  <c:v>45555</c:v>
                </c:pt>
                <c:pt idx="285">
                  <c:v>45558</c:v>
                </c:pt>
                <c:pt idx="286">
                  <c:v>45559</c:v>
                </c:pt>
                <c:pt idx="287">
                  <c:v>45560</c:v>
                </c:pt>
                <c:pt idx="288">
                  <c:v>45561</c:v>
                </c:pt>
                <c:pt idx="289">
                  <c:v>45562</c:v>
                </c:pt>
                <c:pt idx="290">
                  <c:v>45565</c:v>
                </c:pt>
                <c:pt idx="291">
                  <c:v>45573</c:v>
                </c:pt>
                <c:pt idx="292">
                  <c:v>45574</c:v>
                </c:pt>
                <c:pt idx="293">
                  <c:v>45575</c:v>
                </c:pt>
                <c:pt idx="294">
                  <c:v>45576</c:v>
                </c:pt>
                <c:pt idx="295">
                  <c:v>45579</c:v>
                </c:pt>
                <c:pt idx="296">
                  <c:v>45580</c:v>
                </c:pt>
                <c:pt idx="297">
                  <c:v>45581</c:v>
                </c:pt>
                <c:pt idx="298">
                  <c:v>45582</c:v>
                </c:pt>
                <c:pt idx="299">
                  <c:v>45583</c:v>
                </c:pt>
                <c:pt idx="300">
                  <c:v>45586</c:v>
                </c:pt>
                <c:pt idx="301">
                  <c:v>45587</c:v>
                </c:pt>
                <c:pt idx="302">
                  <c:v>45588</c:v>
                </c:pt>
                <c:pt idx="303">
                  <c:v>45589</c:v>
                </c:pt>
                <c:pt idx="304">
                  <c:v>45590</c:v>
                </c:pt>
                <c:pt idx="305">
                  <c:v>45593</c:v>
                </c:pt>
                <c:pt idx="306">
                  <c:v>45594</c:v>
                </c:pt>
                <c:pt idx="307">
                  <c:v>45595</c:v>
                </c:pt>
                <c:pt idx="308">
                  <c:v>45596</c:v>
                </c:pt>
                <c:pt idx="309">
                  <c:v>45597</c:v>
                </c:pt>
                <c:pt idx="310">
                  <c:v>45600</c:v>
                </c:pt>
                <c:pt idx="311">
                  <c:v>45601</c:v>
                </c:pt>
                <c:pt idx="312">
                  <c:v>45602</c:v>
                </c:pt>
                <c:pt idx="313">
                  <c:v>45603</c:v>
                </c:pt>
                <c:pt idx="314">
                  <c:v>45604</c:v>
                </c:pt>
                <c:pt idx="315">
                  <c:v>45607</c:v>
                </c:pt>
                <c:pt idx="316">
                  <c:v>45608</c:v>
                </c:pt>
                <c:pt idx="317">
                  <c:v>45609</c:v>
                </c:pt>
                <c:pt idx="318">
                  <c:v>45610</c:v>
                </c:pt>
                <c:pt idx="319">
                  <c:v>45611</c:v>
                </c:pt>
                <c:pt idx="320">
                  <c:v>45614</c:v>
                </c:pt>
                <c:pt idx="321">
                  <c:v>45615</c:v>
                </c:pt>
                <c:pt idx="322">
                  <c:v>45616</c:v>
                </c:pt>
                <c:pt idx="323">
                  <c:v>45617</c:v>
                </c:pt>
                <c:pt idx="324">
                  <c:v>45618</c:v>
                </c:pt>
                <c:pt idx="325">
                  <c:v>45621</c:v>
                </c:pt>
                <c:pt idx="326">
                  <c:v>45622</c:v>
                </c:pt>
                <c:pt idx="327">
                  <c:v>45623</c:v>
                </c:pt>
                <c:pt idx="328">
                  <c:v>45624</c:v>
                </c:pt>
                <c:pt idx="329">
                  <c:v>45625</c:v>
                </c:pt>
                <c:pt idx="330">
                  <c:v>45628</c:v>
                </c:pt>
                <c:pt idx="331">
                  <c:v>45629</c:v>
                </c:pt>
                <c:pt idx="332">
                  <c:v>45630</c:v>
                </c:pt>
                <c:pt idx="333">
                  <c:v>45631</c:v>
                </c:pt>
                <c:pt idx="334">
                  <c:v>45632</c:v>
                </c:pt>
                <c:pt idx="335">
                  <c:v>45635</c:v>
                </c:pt>
                <c:pt idx="336">
                  <c:v>45636</c:v>
                </c:pt>
                <c:pt idx="337">
                  <c:v>45637</c:v>
                </c:pt>
                <c:pt idx="338">
                  <c:v>45638</c:v>
                </c:pt>
                <c:pt idx="339">
                  <c:v>45639</c:v>
                </c:pt>
                <c:pt idx="340">
                  <c:v>45642</c:v>
                </c:pt>
                <c:pt idx="341">
                  <c:v>45643</c:v>
                </c:pt>
                <c:pt idx="342">
                  <c:v>45644</c:v>
                </c:pt>
                <c:pt idx="343">
                  <c:v>45645</c:v>
                </c:pt>
                <c:pt idx="344">
                  <c:v>45646</c:v>
                </c:pt>
                <c:pt idx="345">
                  <c:v>45649</c:v>
                </c:pt>
                <c:pt idx="346">
                  <c:v>45650</c:v>
                </c:pt>
                <c:pt idx="347">
                  <c:v>45651</c:v>
                </c:pt>
                <c:pt idx="348">
                  <c:v>45652</c:v>
                </c:pt>
                <c:pt idx="349">
                  <c:v>45653</c:v>
                </c:pt>
                <c:pt idx="350">
                  <c:v>45656</c:v>
                </c:pt>
                <c:pt idx="351">
                  <c:v>45657</c:v>
                </c:pt>
                <c:pt idx="352">
                  <c:v>45659</c:v>
                </c:pt>
                <c:pt idx="353">
                  <c:v>45660</c:v>
                </c:pt>
                <c:pt idx="354">
                  <c:v>45663</c:v>
                </c:pt>
                <c:pt idx="355">
                  <c:v>45664</c:v>
                </c:pt>
                <c:pt idx="356">
                  <c:v>45665</c:v>
                </c:pt>
                <c:pt idx="357">
                  <c:v>45666</c:v>
                </c:pt>
                <c:pt idx="358">
                  <c:v>45667</c:v>
                </c:pt>
                <c:pt idx="359">
                  <c:v>45670</c:v>
                </c:pt>
                <c:pt idx="360">
                  <c:v>45671</c:v>
                </c:pt>
                <c:pt idx="361">
                  <c:v>45672</c:v>
                </c:pt>
                <c:pt idx="362">
                  <c:v>45673</c:v>
                </c:pt>
                <c:pt idx="363">
                  <c:v>45674</c:v>
                </c:pt>
                <c:pt idx="364">
                  <c:v>45677</c:v>
                </c:pt>
                <c:pt idx="365">
                  <c:v>45678</c:v>
                </c:pt>
                <c:pt idx="366">
                  <c:v>45679</c:v>
                </c:pt>
                <c:pt idx="367">
                  <c:v>45680</c:v>
                </c:pt>
                <c:pt idx="368">
                  <c:v>45681</c:v>
                </c:pt>
                <c:pt idx="369">
                  <c:v>45684</c:v>
                </c:pt>
                <c:pt idx="370">
                  <c:v>45693</c:v>
                </c:pt>
                <c:pt idx="371">
                  <c:v>45694</c:v>
                </c:pt>
                <c:pt idx="372">
                  <c:v>45695</c:v>
                </c:pt>
                <c:pt idx="373">
                  <c:v>45698</c:v>
                </c:pt>
                <c:pt idx="374">
                  <c:v>45699</c:v>
                </c:pt>
                <c:pt idx="375">
                  <c:v>45700</c:v>
                </c:pt>
                <c:pt idx="376">
                  <c:v>45701</c:v>
                </c:pt>
                <c:pt idx="377">
                  <c:v>45702</c:v>
                </c:pt>
                <c:pt idx="378">
                  <c:v>45705</c:v>
                </c:pt>
                <c:pt idx="379">
                  <c:v>45706</c:v>
                </c:pt>
                <c:pt idx="380">
                  <c:v>45707</c:v>
                </c:pt>
                <c:pt idx="381">
                  <c:v>45708</c:v>
                </c:pt>
                <c:pt idx="382">
                  <c:v>45709</c:v>
                </c:pt>
                <c:pt idx="383">
                  <c:v>45712</c:v>
                </c:pt>
                <c:pt idx="384">
                  <c:v>45713</c:v>
                </c:pt>
                <c:pt idx="385">
                  <c:v>45714</c:v>
                </c:pt>
                <c:pt idx="386">
                  <c:v>45715</c:v>
                </c:pt>
                <c:pt idx="387">
                  <c:v>45716</c:v>
                </c:pt>
                <c:pt idx="388">
                  <c:v>45719</c:v>
                </c:pt>
                <c:pt idx="389">
                  <c:v>45720</c:v>
                </c:pt>
                <c:pt idx="390">
                  <c:v>45721</c:v>
                </c:pt>
                <c:pt idx="391">
                  <c:v>45722</c:v>
                </c:pt>
                <c:pt idx="392">
                  <c:v>45723</c:v>
                </c:pt>
                <c:pt idx="393">
                  <c:v>45726</c:v>
                </c:pt>
                <c:pt idx="394">
                  <c:v>45727</c:v>
                </c:pt>
                <c:pt idx="395">
                  <c:v>45728</c:v>
                </c:pt>
                <c:pt idx="396">
                  <c:v>45729</c:v>
                </c:pt>
                <c:pt idx="397">
                  <c:v>45730</c:v>
                </c:pt>
                <c:pt idx="398">
                  <c:v>45733</c:v>
                </c:pt>
                <c:pt idx="399">
                  <c:v>45734</c:v>
                </c:pt>
                <c:pt idx="400">
                  <c:v>45735</c:v>
                </c:pt>
                <c:pt idx="401">
                  <c:v>45736</c:v>
                </c:pt>
                <c:pt idx="402">
                  <c:v>45737</c:v>
                </c:pt>
                <c:pt idx="403">
                  <c:v>45740</c:v>
                </c:pt>
                <c:pt idx="404">
                  <c:v>45741</c:v>
                </c:pt>
                <c:pt idx="405">
                  <c:v>45742</c:v>
                </c:pt>
                <c:pt idx="406">
                  <c:v>45743</c:v>
                </c:pt>
                <c:pt idx="407">
                  <c:v>45744</c:v>
                </c:pt>
                <c:pt idx="408">
                  <c:v>45747</c:v>
                </c:pt>
                <c:pt idx="409">
                  <c:v>45748</c:v>
                </c:pt>
                <c:pt idx="410">
                  <c:v>45749</c:v>
                </c:pt>
                <c:pt idx="411">
                  <c:v>45750</c:v>
                </c:pt>
                <c:pt idx="412">
                  <c:v>45754</c:v>
                </c:pt>
                <c:pt idx="413">
                  <c:v>45755</c:v>
                </c:pt>
                <c:pt idx="414">
                  <c:v>45756</c:v>
                </c:pt>
                <c:pt idx="415">
                  <c:v>45757</c:v>
                </c:pt>
                <c:pt idx="416">
                  <c:v>45758</c:v>
                </c:pt>
                <c:pt idx="417">
                  <c:v>45761</c:v>
                </c:pt>
                <c:pt idx="418">
                  <c:v>45762</c:v>
                </c:pt>
                <c:pt idx="419">
                  <c:v>45763</c:v>
                </c:pt>
                <c:pt idx="420">
                  <c:v>45764</c:v>
                </c:pt>
                <c:pt idx="421">
                  <c:v>45765</c:v>
                </c:pt>
                <c:pt idx="422">
                  <c:v>45768</c:v>
                </c:pt>
                <c:pt idx="423">
                  <c:v>45769</c:v>
                </c:pt>
                <c:pt idx="424">
                  <c:v>45770</c:v>
                </c:pt>
                <c:pt idx="425">
                  <c:v>45771</c:v>
                </c:pt>
                <c:pt idx="426">
                  <c:v>45772</c:v>
                </c:pt>
                <c:pt idx="427">
                  <c:v>45775</c:v>
                </c:pt>
                <c:pt idx="428">
                  <c:v>45776</c:v>
                </c:pt>
                <c:pt idx="429">
                  <c:v>45777</c:v>
                </c:pt>
                <c:pt idx="430">
                  <c:v>45783</c:v>
                </c:pt>
                <c:pt idx="431">
                  <c:v>45784</c:v>
                </c:pt>
                <c:pt idx="432">
                  <c:v>45785</c:v>
                </c:pt>
                <c:pt idx="433">
                  <c:v>45786</c:v>
                </c:pt>
                <c:pt idx="434">
                  <c:v>45789</c:v>
                </c:pt>
                <c:pt idx="435">
                  <c:v>45790</c:v>
                </c:pt>
                <c:pt idx="436">
                  <c:v>45791</c:v>
                </c:pt>
                <c:pt idx="437">
                  <c:v>45792</c:v>
                </c:pt>
                <c:pt idx="438">
                  <c:v>45793</c:v>
                </c:pt>
                <c:pt idx="439">
                  <c:v>45796</c:v>
                </c:pt>
                <c:pt idx="440">
                  <c:v>45797</c:v>
                </c:pt>
                <c:pt idx="441">
                  <c:v>45798</c:v>
                </c:pt>
                <c:pt idx="442">
                  <c:v>45799</c:v>
                </c:pt>
                <c:pt idx="443">
                  <c:v>45800</c:v>
                </c:pt>
                <c:pt idx="444">
                  <c:v>45803</c:v>
                </c:pt>
                <c:pt idx="445">
                  <c:v>45804</c:v>
                </c:pt>
                <c:pt idx="446">
                  <c:v>45805</c:v>
                </c:pt>
                <c:pt idx="447">
                  <c:v>45806</c:v>
                </c:pt>
                <c:pt idx="448">
                  <c:v>45807</c:v>
                </c:pt>
                <c:pt idx="449">
                  <c:v>45811</c:v>
                </c:pt>
                <c:pt idx="450">
                  <c:v>45812</c:v>
                </c:pt>
                <c:pt idx="451">
                  <c:v>45813</c:v>
                </c:pt>
                <c:pt idx="452">
                  <c:v>45814</c:v>
                </c:pt>
                <c:pt idx="453">
                  <c:v>45817</c:v>
                </c:pt>
                <c:pt idx="454">
                  <c:v>45818</c:v>
                </c:pt>
                <c:pt idx="455">
                  <c:v>45819</c:v>
                </c:pt>
                <c:pt idx="456">
                  <c:v>45820</c:v>
                </c:pt>
                <c:pt idx="457">
                  <c:v>45821</c:v>
                </c:pt>
                <c:pt idx="458">
                  <c:v>45824</c:v>
                </c:pt>
                <c:pt idx="459">
                  <c:v>45825</c:v>
                </c:pt>
                <c:pt idx="460">
                  <c:v>45826</c:v>
                </c:pt>
                <c:pt idx="461">
                  <c:v>45827</c:v>
                </c:pt>
                <c:pt idx="462">
                  <c:v>45828</c:v>
                </c:pt>
                <c:pt idx="463">
                  <c:v>45831</c:v>
                </c:pt>
                <c:pt idx="464">
                  <c:v>45832</c:v>
                </c:pt>
                <c:pt idx="465">
                  <c:v>45833</c:v>
                </c:pt>
                <c:pt idx="466">
                  <c:v>45834</c:v>
                </c:pt>
                <c:pt idx="467">
                  <c:v>45835</c:v>
                </c:pt>
                <c:pt idx="468">
                  <c:v>45838</c:v>
                </c:pt>
                <c:pt idx="469">
                  <c:v>45839</c:v>
                </c:pt>
                <c:pt idx="470">
                  <c:v>45840</c:v>
                </c:pt>
                <c:pt idx="471">
                  <c:v>45841</c:v>
                </c:pt>
                <c:pt idx="472">
                  <c:v>45842</c:v>
                </c:pt>
                <c:pt idx="473">
                  <c:v>45845</c:v>
                </c:pt>
                <c:pt idx="474">
                  <c:v>45846</c:v>
                </c:pt>
                <c:pt idx="475">
                  <c:v>45847</c:v>
                </c:pt>
                <c:pt idx="476">
                  <c:v>45848</c:v>
                </c:pt>
                <c:pt idx="477">
                  <c:v>45849</c:v>
                </c:pt>
                <c:pt idx="478">
                  <c:v>45852</c:v>
                </c:pt>
                <c:pt idx="479">
                  <c:v>45853</c:v>
                </c:pt>
                <c:pt idx="480">
                  <c:v>45854</c:v>
                </c:pt>
                <c:pt idx="481">
                  <c:v>45855</c:v>
                </c:pt>
                <c:pt idx="482">
                  <c:v>45856</c:v>
                </c:pt>
                <c:pt idx="483">
                  <c:v>45859</c:v>
                </c:pt>
                <c:pt idx="484">
                  <c:v>45860</c:v>
                </c:pt>
                <c:pt idx="485">
                  <c:v>45861</c:v>
                </c:pt>
                <c:pt idx="486">
                  <c:v>45862</c:v>
                </c:pt>
                <c:pt idx="487">
                  <c:v>45863</c:v>
                </c:pt>
                <c:pt idx="488">
                  <c:v>45866</c:v>
                </c:pt>
                <c:pt idx="489">
                  <c:v>45867</c:v>
                </c:pt>
                <c:pt idx="490">
                  <c:v>45868</c:v>
                </c:pt>
                <c:pt idx="491">
                  <c:v>45869</c:v>
                </c:pt>
                <c:pt idx="492">
                  <c:v>45870</c:v>
                </c:pt>
                <c:pt idx="493">
                  <c:v>45873</c:v>
                </c:pt>
                <c:pt idx="494">
                  <c:v>45874</c:v>
                </c:pt>
                <c:pt idx="495">
                  <c:v>45875</c:v>
                </c:pt>
                <c:pt idx="496">
                  <c:v>45876</c:v>
                </c:pt>
                <c:pt idx="497">
                  <c:v>45877</c:v>
                </c:pt>
                <c:pt idx="498">
                  <c:v>45880</c:v>
                </c:pt>
                <c:pt idx="499">
                  <c:v>45881</c:v>
                </c:pt>
                <c:pt idx="500">
                  <c:v>45882</c:v>
                </c:pt>
                <c:pt idx="501">
                  <c:v>45883</c:v>
                </c:pt>
                <c:pt idx="502">
                  <c:v>45884</c:v>
                </c:pt>
                <c:pt idx="503">
                  <c:v>45887</c:v>
                </c:pt>
                <c:pt idx="504">
                  <c:v>45888</c:v>
                </c:pt>
                <c:pt idx="505">
                  <c:v>45889</c:v>
                </c:pt>
                <c:pt idx="506">
                  <c:v>45890</c:v>
                </c:pt>
                <c:pt idx="507">
                  <c:v>45891</c:v>
                </c:pt>
                <c:pt idx="508">
                  <c:v>45894</c:v>
                </c:pt>
                <c:pt idx="509">
                  <c:v>45895</c:v>
                </c:pt>
                <c:pt idx="510">
                  <c:v>45896</c:v>
                </c:pt>
                <c:pt idx="511">
                  <c:v>45897</c:v>
                </c:pt>
                <c:pt idx="512">
                  <c:v>45898</c:v>
                </c:pt>
                <c:pt idx="513">
                  <c:v>45901</c:v>
                </c:pt>
                <c:pt idx="514">
                  <c:v>45902</c:v>
                </c:pt>
                <c:pt idx="515">
                  <c:v>45903</c:v>
                </c:pt>
                <c:pt idx="516">
                  <c:v>45904</c:v>
                </c:pt>
                <c:pt idx="517">
                  <c:v>45905</c:v>
                </c:pt>
                <c:pt idx="518">
                  <c:v>45908</c:v>
                </c:pt>
                <c:pt idx="519">
                  <c:v>45909</c:v>
                </c:pt>
                <c:pt idx="520">
                  <c:v>45910</c:v>
                </c:pt>
                <c:pt idx="521">
                  <c:v>45911</c:v>
                </c:pt>
                <c:pt idx="522">
                  <c:v>45912</c:v>
                </c:pt>
                <c:pt idx="523">
                  <c:v>45915</c:v>
                </c:pt>
                <c:pt idx="524">
                  <c:v>45916</c:v>
                </c:pt>
                <c:pt idx="525">
                  <c:v>45917</c:v>
                </c:pt>
                <c:pt idx="526">
                  <c:v>45918</c:v>
                </c:pt>
                <c:pt idx="527">
                  <c:v>45919</c:v>
                </c:pt>
                <c:pt idx="528">
                  <c:v>45922</c:v>
                </c:pt>
                <c:pt idx="529">
                  <c:v>45923</c:v>
                </c:pt>
                <c:pt idx="530">
                  <c:v>45924</c:v>
                </c:pt>
                <c:pt idx="531">
                  <c:v>45925</c:v>
                </c:pt>
                <c:pt idx="532">
                  <c:v>45926</c:v>
                </c:pt>
                <c:pt idx="533">
                  <c:v>45929</c:v>
                </c:pt>
                <c:pt idx="534">
                  <c:v>45930</c:v>
                </c:pt>
                <c:pt idx="535">
                  <c:v>45931</c:v>
                </c:pt>
                <c:pt idx="536">
                  <c:v>45932</c:v>
                </c:pt>
                <c:pt idx="537">
                  <c:v>45933</c:v>
                </c:pt>
                <c:pt idx="538">
                  <c:v>45936</c:v>
                </c:pt>
                <c:pt idx="539">
                  <c:v>45937</c:v>
                </c:pt>
                <c:pt idx="540">
                  <c:v>45938</c:v>
                </c:pt>
                <c:pt idx="541">
                  <c:v>45939</c:v>
                </c:pt>
                <c:pt idx="542">
                  <c:v>45940</c:v>
                </c:pt>
                <c:pt idx="543">
                  <c:v>45943</c:v>
                </c:pt>
                <c:pt idx="544">
                  <c:v>45944</c:v>
                </c:pt>
                <c:pt idx="545">
                  <c:v>45945</c:v>
                </c:pt>
                <c:pt idx="546">
                  <c:v>45946</c:v>
                </c:pt>
                <c:pt idx="547">
                  <c:v>45947</c:v>
                </c:pt>
                <c:pt idx="548">
                  <c:v>45950</c:v>
                </c:pt>
                <c:pt idx="549">
                  <c:v>45951</c:v>
                </c:pt>
                <c:pt idx="550">
                  <c:v>45952</c:v>
                </c:pt>
                <c:pt idx="551">
                  <c:v>45953</c:v>
                </c:pt>
                <c:pt idx="552">
                  <c:v>45954</c:v>
                </c:pt>
                <c:pt idx="553">
                  <c:v>45957</c:v>
                </c:pt>
                <c:pt idx="554">
                  <c:v>45958</c:v>
                </c:pt>
                <c:pt idx="555">
                  <c:v>45959</c:v>
                </c:pt>
                <c:pt idx="556">
                  <c:v>45960</c:v>
                </c:pt>
                <c:pt idx="557">
                  <c:v>45961</c:v>
                </c:pt>
                <c:pt idx="558">
                  <c:v>45964</c:v>
                </c:pt>
                <c:pt idx="559">
                  <c:v>45965</c:v>
                </c:pt>
                <c:pt idx="560">
                  <c:v>45966</c:v>
                </c:pt>
                <c:pt idx="561">
                  <c:v>45967</c:v>
                </c:pt>
                <c:pt idx="562">
                  <c:v>45968</c:v>
                </c:pt>
                <c:pt idx="563">
                  <c:v>45971</c:v>
                </c:pt>
                <c:pt idx="564">
                  <c:v>45972</c:v>
                </c:pt>
                <c:pt idx="565">
                  <c:v>45973</c:v>
                </c:pt>
                <c:pt idx="566">
                  <c:v>45974</c:v>
                </c:pt>
                <c:pt idx="567">
                  <c:v>45975</c:v>
                </c:pt>
                <c:pt idx="568">
                  <c:v>45978</c:v>
                </c:pt>
                <c:pt idx="569">
                  <c:v>45979</c:v>
                </c:pt>
                <c:pt idx="570">
                  <c:v>45980</c:v>
                </c:pt>
                <c:pt idx="571">
                  <c:v>45981</c:v>
                </c:pt>
                <c:pt idx="572">
                  <c:v>45982</c:v>
                </c:pt>
                <c:pt idx="573">
                  <c:v>45985</c:v>
                </c:pt>
                <c:pt idx="574">
                  <c:v>45986</c:v>
                </c:pt>
                <c:pt idx="575">
                  <c:v>45987</c:v>
                </c:pt>
                <c:pt idx="576">
                  <c:v>45988</c:v>
                </c:pt>
                <c:pt idx="577">
                  <c:v>45989</c:v>
                </c:pt>
                <c:pt idx="578">
                  <c:v>45992</c:v>
                </c:pt>
                <c:pt idx="579">
                  <c:v>45993</c:v>
                </c:pt>
                <c:pt idx="580">
                  <c:v>45994</c:v>
                </c:pt>
                <c:pt idx="581">
                  <c:v>45995</c:v>
                </c:pt>
                <c:pt idx="582">
                  <c:v>45996</c:v>
                </c:pt>
                <c:pt idx="583">
                  <c:v>45999</c:v>
                </c:pt>
                <c:pt idx="584">
                  <c:v>46000</c:v>
                </c:pt>
                <c:pt idx="585">
                  <c:v>46001</c:v>
                </c:pt>
                <c:pt idx="586">
                  <c:v>46002</c:v>
                </c:pt>
                <c:pt idx="587">
                  <c:v>46003</c:v>
                </c:pt>
                <c:pt idx="588">
                  <c:v>46006</c:v>
                </c:pt>
                <c:pt idx="589">
                  <c:v>46007</c:v>
                </c:pt>
                <c:pt idx="590">
                  <c:v>46008</c:v>
                </c:pt>
                <c:pt idx="591">
                  <c:v>46009</c:v>
                </c:pt>
                <c:pt idx="592">
                  <c:v>46010</c:v>
                </c:pt>
                <c:pt idx="593">
                  <c:v>46013</c:v>
                </c:pt>
                <c:pt idx="594">
                  <c:v>46014</c:v>
                </c:pt>
                <c:pt idx="595">
                  <c:v>46015</c:v>
                </c:pt>
                <c:pt idx="596">
                  <c:v>46016</c:v>
                </c:pt>
                <c:pt idx="597">
                  <c:v>46017</c:v>
                </c:pt>
                <c:pt idx="598">
                  <c:v>46020</c:v>
                </c:pt>
                <c:pt idx="599">
                  <c:v>46021</c:v>
                </c:pt>
                <c:pt idx="600">
                  <c:v>46022</c:v>
                </c:pt>
                <c:pt idx="601">
                  <c:v>46023</c:v>
                </c:pt>
                <c:pt idx="602">
                  <c:v>46024</c:v>
                </c:pt>
                <c:pt idx="603">
                  <c:v>46027</c:v>
                </c:pt>
                <c:pt idx="604">
                  <c:v>46028</c:v>
                </c:pt>
                <c:pt idx="605">
                  <c:v>46029</c:v>
                </c:pt>
                <c:pt idx="606">
                  <c:v>46030</c:v>
                </c:pt>
                <c:pt idx="607">
                  <c:v>46031</c:v>
                </c:pt>
                <c:pt idx="608">
                  <c:v>46034</c:v>
                </c:pt>
                <c:pt idx="609">
                  <c:v>46035</c:v>
                </c:pt>
                <c:pt idx="610">
                  <c:v>46036</c:v>
                </c:pt>
                <c:pt idx="611">
                  <c:v>46037</c:v>
                </c:pt>
                <c:pt idx="612">
                  <c:v>46038</c:v>
                </c:pt>
                <c:pt idx="613">
                  <c:v>46041</c:v>
                </c:pt>
                <c:pt idx="614">
                  <c:v>46042</c:v>
                </c:pt>
                <c:pt idx="615">
                  <c:v>46043</c:v>
                </c:pt>
                <c:pt idx="616">
                  <c:v>46044</c:v>
                </c:pt>
                <c:pt idx="617">
                  <c:v>46045</c:v>
                </c:pt>
                <c:pt idx="618">
                  <c:v>46048</c:v>
                </c:pt>
                <c:pt idx="619">
                  <c:v>46049</c:v>
                </c:pt>
                <c:pt idx="620">
                  <c:v>46050</c:v>
                </c:pt>
                <c:pt idx="621">
                  <c:v>46051</c:v>
                </c:pt>
                <c:pt idx="622">
                  <c:v>46052</c:v>
                </c:pt>
                <c:pt idx="623">
                  <c:v>46055</c:v>
                </c:pt>
                <c:pt idx="624">
                  <c:v>46056</c:v>
                </c:pt>
                <c:pt idx="625">
                  <c:v>46057</c:v>
                </c:pt>
                <c:pt idx="626">
                  <c:v>46058</c:v>
                </c:pt>
                <c:pt idx="627">
                  <c:v>46059</c:v>
                </c:pt>
                <c:pt idx="628">
                  <c:v>46062</c:v>
                </c:pt>
                <c:pt idx="629">
                  <c:v>46063</c:v>
                </c:pt>
                <c:pt idx="630">
                  <c:v>46064</c:v>
                </c:pt>
                <c:pt idx="631">
                  <c:v>46065</c:v>
                </c:pt>
                <c:pt idx="632">
                  <c:v>46066</c:v>
                </c:pt>
                <c:pt idx="633">
                  <c:v>46069</c:v>
                </c:pt>
                <c:pt idx="634">
                  <c:v>46070</c:v>
                </c:pt>
                <c:pt idx="635">
                  <c:v>46071</c:v>
                </c:pt>
                <c:pt idx="636">
                  <c:v>46072</c:v>
                </c:pt>
                <c:pt idx="637">
                  <c:v>46073</c:v>
                </c:pt>
                <c:pt idx="638">
                  <c:v>46076</c:v>
                </c:pt>
                <c:pt idx="639">
                  <c:v>46077</c:v>
                </c:pt>
                <c:pt idx="640">
                  <c:v>46078</c:v>
                </c:pt>
                <c:pt idx="641">
                  <c:v>46079</c:v>
                </c:pt>
                <c:pt idx="642">
                  <c:v>46080</c:v>
                </c:pt>
                <c:pt idx="643">
                  <c:v>46083</c:v>
                </c:pt>
                <c:pt idx="644">
                  <c:v>46084</c:v>
                </c:pt>
                <c:pt idx="645">
                  <c:v>46085</c:v>
                </c:pt>
                <c:pt idx="646">
                  <c:v>46086</c:v>
                </c:pt>
                <c:pt idx="647">
                  <c:v>46087</c:v>
                </c:pt>
                <c:pt idx="648">
                  <c:v>46090</c:v>
                </c:pt>
                <c:pt idx="649">
                  <c:v>46091</c:v>
                </c:pt>
                <c:pt idx="650">
                  <c:v>46092</c:v>
                </c:pt>
                <c:pt idx="651">
                  <c:v>46093</c:v>
                </c:pt>
                <c:pt idx="652">
                  <c:v>46094</c:v>
                </c:pt>
                <c:pt idx="653">
                  <c:v>46097</c:v>
                </c:pt>
                <c:pt idx="654">
                  <c:v>46098</c:v>
                </c:pt>
                <c:pt idx="655">
                  <c:v>46099</c:v>
                </c:pt>
                <c:pt idx="656">
                  <c:v>46100</c:v>
                </c:pt>
                <c:pt idx="657">
                  <c:v>46101</c:v>
                </c:pt>
                <c:pt idx="658">
                  <c:v>46104</c:v>
                </c:pt>
                <c:pt idx="659">
                  <c:v>46105</c:v>
                </c:pt>
                <c:pt idx="660">
                  <c:v>46106</c:v>
                </c:pt>
                <c:pt idx="661">
                  <c:v>46107</c:v>
                </c:pt>
                <c:pt idx="662">
                  <c:v>46108</c:v>
                </c:pt>
                <c:pt idx="663">
                  <c:v>46111</c:v>
                </c:pt>
                <c:pt idx="664">
                  <c:v>46112</c:v>
                </c:pt>
                <c:pt idx="665">
                  <c:v>46113</c:v>
                </c:pt>
                <c:pt idx="666">
                  <c:v>46114</c:v>
                </c:pt>
                <c:pt idx="667">
                  <c:v>46115</c:v>
                </c:pt>
                <c:pt idx="668">
                  <c:v>46118</c:v>
                </c:pt>
                <c:pt idx="669">
                  <c:v>46119</c:v>
                </c:pt>
                <c:pt idx="670">
                  <c:v>46120</c:v>
                </c:pt>
                <c:pt idx="671">
                  <c:v>46121</c:v>
                </c:pt>
                <c:pt idx="672">
                  <c:v>46122</c:v>
                </c:pt>
                <c:pt idx="673">
                  <c:v>46125</c:v>
                </c:pt>
                <c:pt idx="674">
                  <c:v>46126</c:v>
                </c:pt>
                <c:pt idx="675">
                  <c:v>46127</c:v>
                </c:pt>
                <c:pt idx="676">
                  <c:v>46128</c:v>
                </c:pt>
                <c:pt idx="677">
                  <c:v>46129</c:v>
                </c:pt>
                <c:pt idx="678">
                  <c:v>46132</c:v>
                </c:pt>
                <c:pt idx="679">
                  <c:v>46133</c:v>
                </c:pt>
                <c:pt idx="680">
                  <c:v>46134</c:v>
                </c:pt>
                <c:pt idx="681">
                  <c:v>46135</c:v>
                </c:pt>
                <c:pt idx="682">
                  <c:v>46136</c:v>
                </c:pt>
                <c:pt idx="683">
                  <c:v>46139</c:v>
                </c:pt>
                <c:pt idx="684">
                  <c:v>46140</c:v>
                </c:pt>
                <c:pt idx="685">
                  <c:v>46141</c:v>
                </c:pt>
                <c:pt idx="686">
                  <c:v>46142</c:v>
                </c:pt>
                <c:pt idx="687">
                  <c:v>46143</c:v>
                </c:pt>
                <c:pt idx="688">
                  <c:v>46146</c:v>
                </c:pt>
                <c:pt idx="689">
                  <c:v>46147</c:v>
                </c:pt>
                <c:pt idx="690">
                  <c:v>46148</c:v>
                </c:pt>
                <c:pt idx="691">
                  <c:v>46149</c:v>
                </c:pt>
                <c:pt idx="692">
                  <c:v>46150</c:v>
                </c:pt>
                <c:pt idx="693">
                  <c:v>46153</c:v>
                </c:pt>
                <c:pt idx="694">
                  <c:v>46154</c:v>
                </c:pt>
                <c:pt idx="695">
                  <c:v>46155</c:v>
                </c:pt>
                <c:pt idx="696">
                  <c:v>46156</c:v>
                </c:pt>
                <c:pt idx="697">
                  <c:v>46157</c:v>
                </c:pt>
                <c:pt idx="698">
                  <c:v>46160</c:v>
                </c:pt>
                <c:pt idx="699">
                  <c:v>46161</c:v>
                </c:pt>
                <c:pt idx="700">
                  <c:v>46162</c:v>
                </c:pt>
                <c:pt idx="701">
                  <c:v>46163</c:v>
                </c:pt>
                <c:pt idx="702">
                  <c:v>46164</c:v>
                </c:pt>
                <c:pt idx="703">
                  <c:v>46167</c:v>
                </c:pt>
                <c:pt idx="704">
                  <c:v>46168</c:v>
                </c:pt>
                <c:pt idx="705">
                  <c:v>46169</c:v>
                </c:pt>
                <c:pt idx="706">
                  <c:v>46170</c:v>
                </c:pt>
                <c:pt idx="707">
                  <c:v>46171</c:v>
                </c:pt>
                <c:pt idx="708">
                  <c:v>46174</c:v>
                </c:pt>
                <c:pt idx="709">
                  <c:v>46175</c:v>
                </c:pt>
                <c:pt idx="710">
                  <c:v>46176</c:v>
                </c:pt>
                <c:pt idx="711">
                  <c:v>46177</c:v>
                </c:pt>
                <c:pt idx="712">
                  <c:v>46178</c:v>
                </c:pt>
                <c:pt idx="713">
                  <c:v>46181</c:v>
                </c:pt>
                <c:pt idx="714">
                  <c:v>46182</c:v>
                </c:pt>
                <c:pt idx="715">
                  <c:v>46183</c:v>
                </c:pt>
                <c:pt idx="716">
                  <c:v>46184</c:v>
                </c:pt>
                <c:pt idx="717">
                  <c:v>46185</c:v>
                </c:pt>
                <c:pt idx="718">
                  <c:v>46188</c:v>
                </c:pt>
                <c:pt idx="719">
                  <c:v>46189</c:v>
                </c:pt>
                <c:pt idx="720">
                  <c:v>46190</c:v>
                </c:pt>
                <c:pt idx="721">
                  <c:v>46191</c:v>
                </c:pt>
                <c:pt idx="722">
                  <c:v>46192</c:v>
                </c:pt>
                <c:pt idx="723">
                  <c:v>46195</c:v>
                </c:pt>
                <c:pt idx="724">
                  <c:v>46196</c:v>
                </c:pt>
                <c:pt idx="725">
                  <c:v>46197</c:v>
                </c:pt>
                <c:pt idx="726">
                  <c:v>46198</c:v>
                </c:pt>
                <c:pt idx="727">
                  <c:v>46199</c:v>
                </c:pt>
                <c:pt idx="728">
                  <c:v>46202</c:v>
                </c:pt>
                <c:pt idx="729">
                  <c:v>46203</c:v>
                </c:pt>
                <c:pt idx="730">
                  <c:v>46204</c:v>
                </c:pt>
                <c:pt idx="731">
                  <c:v>46205</c:v>
                </c:pt>
                <c:pt idx="732">
                  <c:v>46206</c:v>
                </c:pt>
                <c:pt idx="733">
                  <c:v>46209</c:v>
                </c:pt>
                <c:pt idx="734">
                  <c:v>46210</c:v>
                </c:pt>
                <c:pt idx="735">
                  <c:v>46211</c:v>
                </c:pt>
                <c:pt idx="736">
                  <c:v>46212</c:v>
                </c:pt>
                <c:pt idx="737">
                  <c:v>46213</c:v>
                </c:pt>
                <c:pt idx="738">
                  <c:v>46216</c:v>
                </c:pt>
                <c:pt idx="739">
                  <c:v>46217</c:v>
                </c:pt>
                <c:pt idx="740">
                  <c:v>46218</c:v>
                </c:pt>
                <c:pt idx="741">
                  <c:v>46219</c:v>
                </c:pt>
                <c:pt idx="742">
                  <c:v>46220</c:v>
                </c:pt>
                <c:pt idx="743">
                  <c:v>46223</c:v>
                </c:pt>
                <c:pt idx="744">
                  <c:v>46224</c:v>
                </c:pt>
                <c:pt idx="745">
                  <c:v>46225</c:v>
                </c:pt>
                <c:pt idx="746">
                  <c:v>46226</c:v>
                </c:pt>
                <c:pt idx="747">
                  <c:v>46227</c:v>
                </c:pt>
                <c:pt idx="748">
                  <c:v>46230</c:v>
                </c:pt>
                <c:pt idx="749">
                  <c:v>46231</c:v>
                </c:pt>
                <c:pt idx="750">
                  <c:v>46232</c:v>
                </c:pt>
                <c:pt idx="751">
                  <c:v>46233</c:v>
                </c:pt>
                <c:pt idx="752">
                  <c:v>46234</c:v>
                </c:pt>
                <c:pt idx="753">
                  <c:v>46237</c:v>
                </c:pt>
                <c:pt idx="754">
                  <c:v>46238</c:v>
                </c:pt>
                <c:pt idx="755">
                  <c:v>46239</c:v>
                </c:pt>
                <c:pt idx="756">
                  <c:v>46240</c:v>
                </c:pt>
                <c:pt idx="757">
                  <c:v>46241</c:v>
                </c:pt>
                <c:pt idx="758">
                  <c:v>46244</c:v>
                </c:pt>
                <c:pt idx="759">
                  <c:v>46245</c:v>
                </c:pt>
                <c:pt idx="760">
                  <c:v>46246</c:v>
                </c:pt>
                <c:pt idx="761">
                  <c:v>46247</c:v>
                </c:pt>
                <c:pt idx="762">
                  <c:v>46248</c:v>
                </c:pt>
                <c:pt idx="763">
                  <c:v>46251</c:v>
                </c:pt>
                <c:pt idx="764">
                  <c:v>46252</c:v>
                </c:pt>
                <c:pt idx="765">
                  <c:v>46253</c:v>
                </c:pt>
                <c:pt idx="766">
                  <c:v>46254</c:v>
                </c:pt>
                <c:pt idx="767">
                  <c:v>46255</c:v>
                </c:pt>
                <c:pt idx="768">
                  <c:v>46258</c:v>
                </c:pt>
                <c:pt idx="769">
                  <c:v>46259</c:v>
                </c:pt>
                <c:pt idx="770">
                  <c:v>46260</c:v>
                </c:pt>
                <c:pt idx="771">
                  <c:v>46261</c:v>
                </c:pt>
                <c:pt idx="772">
                  <c:v>46262</c:v>
                </c:pt>
                <c:pt idx="773">
                  <c:v>46265</c:v>
                </c:pt>
                <c:pt idx="774">
                  <c:v>46266</c:v>
                </c:pt>
                <c:pt idx="775">
                  <c:v>46267</c:v>
                </c:pt>
                <c:pt idx="776">
                  <c:v>46268</c:v>
                </c:pt>
                <c:pt idx="777">
                  <c:v>46269</c:v>
                </c:pt>
                <c:pt idx="778">
                  <c:v>46272</c:v>
                </c:pt>
                <c:pt idx="779">
                  <c:v>46273</c:v>
                </c:pt>
                <c:pt idx="780">
                  <c:v>46274</c:v>
                </c:pt>
                <c:pt idx="781">
                  <c:v>46275</c:v>
                </c:pt>
                <c:pt idx="782">
                  <c:v>46276</c:v>
                </c:pt>
                <c:pt idx="783">
                  <c:v>46279</c:v>
                </c:pt>
                <c:pt idx="784">
                  <c:v>46280</c:v>
                </c:pt>
                <c:pt idx="785">
                  <c:v>46281</c:v>
                </c:pt>
                <c:pt idx="786">
                  <c:v>46282</c:v>
                </c:pt>
                <c:pt idx="787">
                  <c:v>46283</c:v>
                </c:pt>
                <c:pt idx="788">
                  <c:v>46286</c:v>
                </c:pt>
                <c:pt idx="789">
                  <c:v>46287</c:v>
                </c:pt>
                <c:pt idx="790">
                  <c:v>46288</c:v>
                </c:pt>
                <c:pt idx="791">
                  <c:v>46289</c:v>
                </c:pt>
                <c:pt idx="792">
                  <c:v>46290</c:v>
                </c:pt>
                <c:pt idx="793">
                  <c:v>46293</c:v>
                </c:pt>
                <c:pt idx="794">
                  <c:v>46294</c:v>
                </c:pt>
                <c:pt idx="795">
                  <c:v>46295</c:v>
                </c:pt>
                <c:pt idx="796">
                  <c:v>46296</c:v>
                </c:pt>
                <c:pt idx="797">
                  <c:v>46297</c:v>
                </c:pt>
                <c:pt idx="798">
                  <c:v>46300</c:v>
                </c:pt>
                <c:pt idx="799">
                  <c:v>46301</c:v>
                </c:pt>
                <c:pt idx="800">
                  <c:v>46302</c:v>
                </c:pt>
                <c:pt idx="801">
                  <c:v>46303</c:v>
                </c:pt>
                <c:pt idx="802">
                  <c:v>46304</c:v>
                </c:pt>
                <c:pt idx="803">
                  <c:v>46307</c:v>
                </c:pt>
                <c:pt idx="804">
                  <c:v>46308</c:v>
                </c:pt>
                <c:pt idx="805">
                  <c:v>46309</c:v>
                </c:pt>
                <c:pt idx="806">
                  <c:v>46310</c:v>
                </c:pt>
                <c:pt idx="807">
                  <c:v>46311</c:v>
                </c:pt>
                <c:pt idx="808">
                  <c:v>46314</c:v>
                </c:pt>
                <c:pt idx="809">
                  <c:v>46315</c:v>
                </c:pt>
                <c:pt idx="810">
                  <c:v>46316</c:v>
                </c:pt>
                <c:pt idx="811">
                  <c:v>46317</c:v>
                </c:pt>
                <c:pt idx="812">
                  <c:v>46318</c:v>
                </c:pt>
                <c:pt idx="813">
                  <c:v>46321</c:v>
                </c:pt>
                <c:pt idx="814">
                  <c:v>46322</c:v>
                </c:pt>
                <c:pt idx="815">
                  <c:v>46323</c:v>
                </c:pt>
                <c:pt idx="816">
                  <c:v>46324</c:v>
                </c:pt>
                <c:pt idx="817">
                  <c:v>46325</c:v>
                </c:pt>
                <c:pt idx="818">
                  <c:v>46328</c:v>
                </c:pt>
                <c:pt idx="819">
                  <c:v>46329</c:v>
                </c:pt>
                <c:pt idx="820">
                  <c:v>46330</c:v>
                </c:pt>
                <c:pt idx="821">
                  <c:v>46331</c:v>
                </c:pt>
                <c:pt idx="822">
                  <c:v>46332</c:v>
                </c:pt>
                <c:pt idx="823">
                  <c:v>46335</c:v>
                </c:pt>
                <c:pt idx="824">
                  <c:v>46336</c:v>
                </c:pt>
                <c:pt idx="825">
                  <c:v>46337</c:v>
                </c:pt>
                <c:pt idx="826">
                  <c:v>46338</c:v>
                </c:pt>
                <c:pt idx="827">
                  <c:v>46339</c:v>
                </c:pt>
                <c:pt idx="828">
                  <c:v>46342</c:v>
                </c:pt>
                <c:pt idx="829">
                  <c:v>46343</c:v>
                </c:pt>
                <c:pt idx="830">
                  <c:v>46344</c:v>
                </c:pt>
                <c:pt idx="831">
                  <c:v>46345</c:v>
                </c:pt>
                <c:pt idx="832">
                  <c:v>46346</c:v>
                </c:pt>
                <c:pt idx="833">
                  <c:v>46349</c:v>
                </c:pt>
                <c:pt idx="834">
                  <c:v>46350</c:v>
                </c:pt>
                <c:pt idx="835">
                  <c:v>46351</c:v>
                </c:pt>
                <c:pt idx="836">
                  <c:v>46352</c:v>
                </c:pt>
                <c:pt idx="837">
                  <c:v>46353</c:v>
                </c:pt>
                <c:pt idx="838">
                  <c:v>46356</c:v>
                </c:pt>
                <c:pt idx="839">
                  <c:v>46357</c:v>
                </c:pt>
                <c:pt idx="840">
                  <c:v>46358</c:v>
                </c:pt>
                <c:pt idx="841">
                  <c:v>46359</c:v>
                </c:pt>
                <c:pt idx="842">
                  <c:v>46360</c:v>
                </c:pt>
                <c:pt idx="843">
                  <c:v>46363</c:v>
                </c:pt>
                <c:pt idx="844">
                  <c:v>46364</c:v>
                </c:pt>
                <c:pt idx="845">
                  <c:v>46365</c:v>
                </c:pt>
                <c:pt idx="846">
                  <c:v>46366</c:v>
                </c:pt>
                <c:pt idx="847">
                  <c:v>46367</c:v>
                </c:pt>
                <c:pt idx="848">
                  <c:v>46370</c:v>
                </c:pt>
                <c:pt idx="849">
                  <c:v>46371</c:v>
                </c:pt>
                <c:pt idx="850">
                  <c:v>46372</c:v>
                </c:pt>
                <c:pt idx="851">
                  <c:v>46373</c:v>
                </c:pt>
                <c:pt idx="852">
                  <c:v>46374</c:v>
                </c:pt>
                <c:pt idx="853">
                  <c:v>46377</c:v>
                </c:pt>
                <c:pt idx="854">
                  <c:v>46378</c:v>
                </c:pt>
                <c:pt idx="855">
                  <c:v>46379</c:v>
                </c:pt>
                <c:pt idx="856">
                  <c:v>46380</c:v>
                </c:pt>
                <c:pt idx="857">
                  <c:v>46381</c:v>
                </c:pt>
                <c:pt idx="858">
                  <c:v>46384</c:v>
                </c:pt>
                <c:pt idx="859">
                  <c:v>46385</c:v>
                </c:pt>
                <c:pt idx="860">
                  <c:v>46386</c:v>
                </c:pt>
                <c:pt idx="861">
                  <c:v>46387</c:v>
                </c:pt>
                <c:pt idx="862">
                  <c:v>46388</c:v>
                </c:pt>
                <c:pt idx="863">
                  <c:v>46391</c:v>
                </c:pt>
                <c:pt idx="864">
                  <c:v>46392</c:v>
                </c:pt>
                <c:pt idx="865">
                  <c:v>46393</c:v>
                </c:pt>
                <c:pt idx="866">
                  <c:v>46394</c:v>
                </c:pt>
                <c:pt idx="867">
                  <c:v>46395</c:v>
                </c:pt>
                <c:pt idx="868">
                  <c:v>46398</c:v>
                </c:pt>
                <c:pt idx="869">
                  <c:v>46399</c:v>
                </c:pt>
                <c:pt idx="870">
                  <c:v>46400</c:v>
                </c:pt>
                <c:pt idx="871">
                  <c:v>46401</c:v>
                </c:pt>
                <c:pt idx="872">
                  <c:v>46402</c:v>
                </c:pt>
                <c:pt idx="873">
                  <c:v>46405</c:v>
                </c:pt>
                <c:pt idx="874">
                  <c:v>46406</c:v>
                </c:pt>
                <c:pt idx="875">
                  <c:v>46407</c:v>
                </c:pt>
                <c:pt idx="876">
                  <c:v>46408</c:v>
                </c:pt>
                <c:pt idx="877">
                  <c:v>46409</c:v>
                </c:pt>
                <c:pt idx="878">
                  <c:v>46412</c:v>
                </c:pt>
                <c:pt idx="879">
                  <c:v>46413</c:v>
                </c:pt>
                <c:pt idx="880">
                  <c:v>46414</c:v>
                </c:pt>
                <c:pt idx="881">
                  <c:v>46415</c:v>
                </c:pt>
                <c:pt idx="882">
                  <c:v>46416</c:v>
                </c:pt>
                <c:pt idx="883">
                  <c:v>46419</c:v>
                </c:pt>
                <c:pt idx="884">
                  <c:v>46420</c:v>
                </c:pt>
                <c:pt idx="885">
                  <c:v>46421</c:v>
                </c:pt>
                <c:pt idx="886">
                  <c:v>46422</c:v>
                </c:pt>
                <c:pt idx="887">
                  <c:v>46423</c:v>
                </c:pt>
                <c:pt idx="888">
                  <c:v>46426</c:v>
                </c:pt>
                <c:pt idx="889">
                  <c:v>46427</c:v>
                </c:pt>
                <c:pt idx="890">
                  <c:v>46428</c:v>
                </c:pt>
                <c:pt idx="891">
                  <c:v>46429</c:v>
                </c:pt>
                <c:pt idx="892">
                  <c:v>46430</c:v>
                </c:pt>
                <c:pt idx="893">
                  <c:v>46433</c:v>
                </c:pt>
                <c:pt idx="894">
                  <c:v>46434</c:v>
                </c:pt>
                <c:pt idx="895">
                  <c:v>46435</c:v>
                </c:pt>
                <c:pt idx="896">
                  <c:v>46436</c:v>
                </c:pt>
                <c:pt idx="897">
                  <c:v>46437</c:v>
                </c:pt>
                <c:pt idx="898">
                  <c:v>46440</c:v>
                </c:pt>
                <c:pt idx="899">
                  <c:v>46441</c:v>
                </c:pt>
                <c:pt idx="900">
                  <c:v>46442</c:v>
                </c:pt>
                <c:pt idx="901">
                  <c:v>46443</c:v>
                </c:pt>
                <c:pt idx="902">
                  <c:v>46444</c:v>
                </c:pt>
                <c:pt idx="903">
                  <c:v>46447</c:v>
                </c:pt>
                <c:pt idx="904">
                  <c:v>46448</c:v>
                </c:pt>
                <c:pt idx="905">
                  <c:v>46449</c:v>
                </c:pt>
                <c:pt idx="906">
                  <c:v>46450</c:v>
                </c:pt>
                <c:pt idx="907">
                  <c:v>46451</c:v>
                </c:pt>
                <c:pt idx="908">
                  <c:v>46454</c:v>
                </c:pt>
                <c:pt idx="909">
                  <c:v>46455</c:v>
                </c:pt>
                <c:pt idx="910">
                  <c:v>46456</c:v>
                </c:pt>
                <c:pt idx="911">
                  <c:v>46457</c:v>
                </c:pt>
                <c:pt idx="912">
                  <c:v>46458</c:v>
                </c:pt>
                <c:pt idx="913">
                  <c:v>46461</c:v>
                </c:pt>
                <c:pt idx="914">
                  <c:v>46462</c:v>
                </c:pt>
                <c:pt idx="915">
                  <c:v>46463</c:v>
                </c:pt>
                <c:pt idx="916">
                  <c:v>46464</c:v>
                </c:pt>
                <c:pt idx="917">
                  <c:v>46465</c:v>
                </c:pt>
                <c:pt idx="918">
                  <c:v>46468</c:v>
                </c:pt>
                <c:pt idx="919">
                  <c:v>46469</c:v>
                </c:pt>
                <c:pt idx="920">
                  <c:v>46470</c:v>
                </c:pt>
                <c:pt idx="921">
                  <c:v>46471</c:v>
                </c:pt>
                <c:pt idx="922">
                  <c:v>46472</c:v>
                </c:pt>
                <c:pt idx="923">
                  <c:v>46475</c:v>
                </c:pt>
                <c:pt idx="924">
                  <c:v>46476</c:v>
                </c:pt>
                <c:pt idx="925">
                  <c:v>46477</c:v>
                </c:pt>
                <c:pt idx="926">
                  <c:v>46478</c:v>
                </c:pt>
                <c:pt idx="927">
                  <c:v>46479</c:v>
                </c:pt>
                <c:pt idx="928">
                  <c:v>46482</c:v>
                </c:pt>
                <c:pt idx="929">
                  <c:v>46483</c:v>
                </c:pt>
                <c:pt idx="930">
                  <c:v>46484</c:v>
                </c:pt>
                <c:pt idx="931">
                  <c:v>46485</c:v>
                </c:pt>
                <c:pt idx="932">
                  <c:v>46486</c:v>
                </c:pt>
                <c:pt idx="933">
                  <c:v>46489</c:v>
                </c:pt>
                <c:pt idx="934">
                  <c:v>46490</c:v>
                </c:pt>
                <c:pt idx="935">
                  <c:v>46491</c:v>
                </c:pt>
                <c:pt idx="936">
                  <c:v>46492</c:v>
                </c:pt>
                <c:pt idx="937">
                  <c:v>46493</c:v>
                </c:pt>
                <c:pt idx="938">
                  <c:v>46496</c:v>
                </c:pt>
                <c:pt idx="939">
                  <c:v>46497</c:v>
                </c:pt>
                <c:pt idx="940">
                  <c:v>46498</c:v>
                </c:pt>
                <c:pt idx="941">
                  <c:v>46499</c:v>
                </c:pt>
                <c:pt idx="942">
                  <c:v>46500</c:v>
                </c:pt>
                <c:pt idx="943">
                  <c:v>46503</c:v>
                </c:pt>
                <c:pt idx="944">
                  <c:v>46504</c:v>
                </c:pt>
                <c:pt idx="945">
                  <c:v>46505</c:v>
                </c:pt>
                <c:pt idx="946">
                  <c:v>46506</c:v>
                </c:pt>
                <c:pt idx="947">
                  <c:v>46507</c:v>
                </c:pt>
                <c:pt idx="948">
                  <c:v>46510</c:v>
                </c:pt>
                <c:pt idx="949">
                  <c:v>46511</c:v>
                </c:pt>
                <c:pt idx="950">
                  <c:v>46512</c:v>
                </c:pt>
                <c:pt idx="951">
                  <c:v>46513</c:v>
                </c:pt>
                <c:pt idx="952">
                  <c:v>46514</c:v>
                </c:pt>
                <c:pt idx="953">
                  <c:v>46517</c:v>
                </c:pt>
                <c:pt idx="954">
                  <c:v>46518</c:v>
                </c:pt>
                <c:pt idx="955">
                  <c:v>46519</c:v>
                </c:pt>
                <c:pt idx="956">
                  <c:v>46520</c:v>
                </c:pt>
                <c:pt idx="957">
                  <c:v>46521</c:v>
                </c:pt>
                <c:pt idx="958">
                  <c:v>46524</c:v>
                </c:pt>
                <c:pt idx="959">
                  <c:v>46525</c:v>
                </c:pt>
                <c:pt idx="960">
                  <c:v>46526</c:v>
                </c:pt>
                <c:pt idx="961">
                  <c:v>46527</c:v>
                </c:pt>
                <c:pt idx="962">
                  <c:v>46528</c:v>
                </c:pt>
                <c:pt idx="963">
                  <c:v>46531</c:v>
                </c:pt>
                <c:pt idx="964">
                  <c:v>46532</c:v>
                </c:pt>
                <c:pt idx="965">
                  <c:v>46533</c:v>
                </c:pt>
                <c:pt idx="966">
                  <c:v>46534</c:v>
                </c:pt>
                <c:pt idx="967">
                  <c:v>46535</c:v>
                </c:pt>
                <c:pt idx="968">
                  <c:v>46538</c:v>
                </c:pt>
                <c:pt idx="969">
                  <c:v>46539</c:v>
                </c:pt>
                <c:pt idx="970">
                  <c:v>46540</c:v>
                </c:pt>
                <c:pt idx="971">
                  <c:v>46541</c:v>
                </c:pt>
                <c:pt idx="972">
                  <c:v>46542</c:v>
                </c:pt>
                <c:pt idx="973">
                  <c:v>46545</c:v>
                </c:pt>
                <c:pt idx="974">
                  <c:v>46546</c:v>
                </c:pt>
                <c:pt idx="975">
                  <c:v>46547</c:v>
                </c:pt>
                <c:pt idx="976">
                  <c:v>46548</c:v>
                </c:pt>
                <c:pt idx="977">
                  <c:v>46549</c:v>
                </c:pt>
                <c:pt idx="978">
                  <c:v>46552</c:v>
                </c:pt>
                <c:pt idx="979">
                  <c:v>46553</c:v>
                </c:pt>
                <c:pt idx="980">
                  <c:v>46554</c:v>
                </c:pt>
                <c:pt idx="981">
                  <c:v>46555</c:v>
                </c:pt>
                <c:pt idx="982">
                  <c:v>46556</c:v>
                </c:pt>
                <c:pt idx="983">
                  <c:v>46559</c:v>
                </c:pt>
                <c:pt idx="984">
                  <c:v>46560</c:v>
                </c:pt>
                <c:pt idx="985">
                  <c:v>46561</c:v>
                </c:pt>
                <c:pt idx="986">
                  <c:v>46562</c:v>
                </c:pt>
                <c:pt idx="987">
                  <c:v>46563</c:v>
                </c:pt>
                <c:pt idx="988">
                  <c:v>46566</c:v>
                </c:pt>
                <c:pt idx="989">
                  <c:v>46567</c:v>
                </c:pt>
                <c:pt idx="990">
                  <c:v>46568</c:v>
                </c:pt>
                <c:pt idx="991">
                  <c:v>46569</c:v>
                </c:pt>
                <c:pt idx="992">
                  <c:v>46570</c:v>
                </c:pt>
                <c:pt idx="993">
                  <c:v>46573</c:v>
                </c:pt>
                <c:pt idx="994">
                  <c:v>46574</c:v>
                </c:pt>
                <c:pt idx="995">
                  <c:v>46575</c:v>
                </c:pt>
                <c:pt idx="996">
                  <c:v>46576</c:v>
                </c:pt>
                <c:pt idx="997">
                  <c:v>46577</c:v>
                </c:pt>
                <c:pt idx="998">
                  <c:v>46580</c:v>
                </c:pt>
              </c:numCache>
            </c:numRef>
          </c:cat>
          <c:val>
            <c:numRef>
              <c:f>Daily!$X$2:$X$1057</c:f>
            </c:numRef>
          </c:val>
          <c:smooth val="0"/>
          <c:extLst>
            <c:ext xmlns:c16="http://schemas.microsoft.com/office/drawing/2014/chart" uri="{C3380CC4-5D6E-409C-BE32-E72D297353CC}">
              <c16:uniqueId val="{00000019-094D-4E29-B010-D717A2A1A293}"/>
            </c:ext>
          </c:extLst>
        </c:ser>
        <c:ser>
          <c:idx val="20"/>
          <c:order val="20"/>
          <c:tx>
            <c:strRef>
              <c:f>Daily!$Y$1</c:f>
              <c:strCache>
                <c:ptCount val="1"/>
                <c:pt idx="0">
                  <c:v>M+7</c:v>
                </c:pt>
              </c:strCache>
            </c:strRef>
          </c:tx>
          <c:spPr>
            <a:ln w="28575" cap="rnd" cmpd="sng" algn="ctr">
              <a:solidFill>
                <a:schemeClr val="accent3">
                  <a:lumMod val="80000"/>
                  <a:shade val="95000"/>
                  <a:satMod val="105000"/>
                </a:schemeClr>
              </a:solidFill>
              <a:prstDash val="solid"/>
              <a:round/>
            </a:ln>
            <a:effectLst/>
          </c:spPr>
          <c:marker>
            <c:symbol val="none"/>
          </c:marker>
          <c:cat>
            <c:numRef>
              <c:f>Daily!$A$2:$A$1000</c:f>
              <c:numCache>
                <c:formatCode>d\-mmm\-yy</c:formatCode>
                <c:ptCount val="999"/>
                <c:pt idx="0">
                  <c:v>45128</c:v>
                </c:pt>
                <c:pt idx="1">
                  <c:v>45131</c:v>
                </c:pt>
                <c:pt idx="2">
                  <c:v>45132</c:v>
                </c:pt>
                <c:pt idx="3">
                  <c:v>45133</c:v>
                </c:pt>
                <c:pt idx="4">
                  <c:v>45134</c:v>
                </c:pt>
                <c:pt idx="5">
                  <c:v>45135</c:v>
                </c:pt>
                <c:pt idx="6">
                  <c:v>45138</c:v>
                </c:pt>
                <c:pt idx="7">
                  <c:v>45139</c:v>
                </c:pt>
                <c:pt idx="8">
                  <c:v>45140</c:v>
                </c:pt>
                <c:pt idx="9">
                  <c:v>45141</c:v>
                </c:pt>
                <c:pt idx="10">
                  <c:v>45142</c:v>
                </c:pt>
                <c:pt idx="11">
                  <c:v>45145</c:v>
                </c:pt>
                <c:pt idx="12">
                  <c:v>45146</c:v>
                </c:pt>
                <c:pt idx="13">
                  <c:v>45147</c:v>
                </c:pt>
                <c:pt idx="14">
                  <c:v>45148</c:v>
                </c:pt>
                <c:pt idx="15">
                  <c:v>45149</c:v>
                </c:pt>
                <c:pt idx="16">
                  <c:v>45152</c:v>
                </c:pt>
                <c:pt idx="17">
                  <c:v>45153</c:v>
                </c:pt>
                <c:pt idx="18">
                  <c:v>45154</c:v>
                </c:pt>
                <c:pt idx="19">
                  <c:v>45155</c:v>
                </c:pt>
                <c:pt idx="20">
                  <c:v>45156</c:v>
                </c:pt>
                <c:pt idx="21">
                  <c:v>45159</c:v>
                </c:pt>
                <c:pt idx="22">
                  <c:v>45160</c:v>
                </c:pt>
                <c:pt idx="23">
                  <c:v>45161</c:v>
                </c:pt>
                <c:pt idx="24">
                  <c:v>45162</c:v>
                </c:pt>
                <c:pt idx="25">
                  <c:v>45163</c:v>
                </c:pt>
                <c:pt idx="26">
                  <c:v>45166</c:v>
                </c:pt>
                <c:pt idx="27">
                  <c:v>45167</c:v>
                </c:pt>
                <c:pt idx="28">
                  <c:v>45168</c:v>
                </c:pt>
                <c:pt idx="29">
                  <c:v>45169</c:v>
                </c:pt>
                <c:pt idx="30">
                  <c:v>45170</c:v>
                </c:pt>
                <c:pt idx="31">
                  <c:v>45173</c:v>
                </c:pt>
                <c:pt idx="32">
                  <c:v>45174</c:v>
                </c:pt>
                <c:pt idx="33">
                  <c:v>45175</c:v>
                </c:pt>
                <c:pt idx="34">
                  <c:v>45176</c:v>
                </c:pt>
                <c:pt idx="35">
                  <c:v>45177</c:v>
                </c:pt>
                <c:pt idx="36">
                  <c:v>45180</c:v>
                </c:pt>
                <c:pt idx="37">
                  <c:v>45181</c:v>
                </c:pt>
                <c:pt idx="38">
                  <c:v>45182</c:v>
                </c:pt>
                <c:pt idx="39">
                  <c:v>45183</c:v>
                </c:pt>
                <c:pt idx="40">
                  <c:v>45184</c:v>
                </c:pt>
                <c:pt idx="41">
                  <c:v>45187</c:v>
                </c:pt>
                <c:pt idx="42">
                  <c:v>45188</c:v>
                </c:pt>
                <c:pt idx="43">
                  <c:v>45189</c:v>
                </c:pt>
                <c:pt idx="44">
                  <c:v>45190</c:v>
                </c:pt>
                <c:pt idx="45">
                  <c:v>45191</c:v>
                </c:pt>
                <c:pt idx="46">
                  <c:v>45194</c:v>
                </c:pt>
                <c:pt idx="47">
                  <c:v>45195</c:v>
                </c:pt>
                <c:pt idx="48">
                  <c:v>45196</c:v>
                </c:pt>
                <c:pt idx="49">
                  <c:v>45197</c:v>
                </c:pt>
                <c:pt idx="50">
                  <c:v>45208</c:v>
                </c:pt>
                <c:pt idx="51">
                  <c:v>45209</c:v>
                </c:pt>
                <c:pt idx="52">
                  <c:v>45210</c:v>
                </c:pt>
                <c:pt idx="53">
                  <c:v>45211</c:v>
                </c:pt>
                <c:pt idx="54">
                  <c:v>45212</c:v>
                </c:pt>
                <c:pt idx="55">
                  <c:v>45215</c:v>
                </c:pt>
                <c:pt idx="56">
                  <c:v>45216</c:v>
                </c:pt>
                <c:pt idx="57">
                  <c:v>45217</c:v>
                </c:pt>
                <c:pt idx="58">
                  <c:v>45218</c:v>
                </c:pt>
                <c:pt idx="59">
                  <c:v>45219</c:v>
                </c:pt>
                <c:pt idx="60">
                  <c:v>45222</c:v>
                </c:pt>
                <c:pt idx="61">
                  <c:v>45223</c:v>
                </c:pt>
                <c:pt idx="62">
                  <c:v>45224</c:v>
                </c:pt>
                <c:pt idx="63">
                  <c:v>45225</c:v>
                </c:pt>
                <c:pt idx="64">
                  <c:v>45226</c:v>
                </c:pt>
                <c:pt idx="65">
                  <c:v>45229</c:v>
                </c:pt>
                <c:pt idx="66">
                  <c:v>45230</c:v>
                </c:pt>
                <c:pt idx="67">
                  <c:v>45231</c:v>
                </c:pt>
                <c:pt idx="68">
                  <c:v>45232</c:v>
                </c:pt>
                <c:pt idx="69">
                  <c:v>45233</c:v>
                </c:pt>
                <c:pt idx="70">
                  <c:v>45236</c:v>
                </c:pt>
                <c:pt idx="71">
                  <c:v>45237</c:v>
                </c:pt>
                <c:pt idx="72">
                  <c:v>45238</c:v>
                </c:pt>
                <c:pt idx="73">
                  <c:v>45239</c:v>
                </c:pt>
                <c:pt idx="74">
                  <c:v>45240</c:v>
                </c:pt>
                <c:pt idx="75">
                  <c:v>45243</c:v>
                </c:pt>
                <c:pt idx="76">
                  <c:v>45244</c:v>
                </c:pt>
                <c:pt idx="77">
                  <c:v>45245</c:v>
                </c:pt>
                <c:pt idx="78">
                  <c:v>45246</c:v>
                </c:pt>
                <c:pt idx="79">
                  <c:v>45247</c:v>
                </c:pt>
                <c:pt idx="80">
                  <c:v>45250</c:v>
                </c:pt>
                <c:pt idx="81">
                  <c:v>45251</c:v>
                </c:pt>
                <c:pt idx="82">
                  <c:v>45252</c:v>
                </c:pt>
                <c:pt idx="83">
                  <c:v>45253</c:v>
                </c:pt>
                <c:pt idx="84">
                  <c:v>45254</c:v>
                </c:pt>
                <c:pt idx="85">
                  <c:v>45257</c:v>
                </c:pt>
                <c:pt idx="86">
                  <c:v>45258</c:v>
                </c:pt>
                <c:pt idx="87">
                  <c:v>45259</c:v>
                </c:pt>
                <c:pt idx="88">
                  <c:v>45260</c:v>
                </c:pt>
                <c:pt idx="89">
                  <c:v>45261</c:v>
                </c:pt>
                <c:pt idx="90">
                  <c:v>45264</c:v>
                </c:pt>
                <c:pt idx="91">
                  <c:v>45265</c:v>
                </c:pt>
                <c:pt idx="92">
                  <c:v>45266</c:v>
                </c:pt>
                <c:pt idx="93">
                  <c:v>45267</c:v>
                </c:pt>
                <c:pt idx="94">
                  <c:v>45268</c:v>
                </c:pt>
                <c:pt idx="95">
                  <c:v>45271</c:v>
                </c:pt>
                <c:pt idx="96">
                  <c:v>45272</c:v>
                </c:pt>
                <c:pt idx="97">
                  <c:v>45273</c:v>
                </c:pt>
                <c:pt idx="98">
                  <c:v>45274</c:v>
                </c:pt>
                <c:pt idx="99">
                  <c:v>45275</c:v>
                </c:pt>
                <c:pt idx="100">
                  <c:v>45278</c:v>
                </c:pt>
                <c:pt idx="101">
                  <c:v>45279</c:v>
                </c:pt>
                <c:pt idx="102">
                  <c:v>45280</c:v>
                </c:pt>
                <c:pt idx="103">
                  <c:v>45281</c:v>
                </c:pt>
                <c:pt idx="104">
                  <c:v>45282</c:v>
                </c:pt>
                <c:pt idx="105">
                  <c:v>45285</c:v>
                </c:pt>
                <c:pt idx="106">
                  <c:v>45286</c:v>
                </c:pt>
                <c:pt idx="107">
                  <c:v>45287</c:v>
                </c:pt>
                <c:pt idx="108">
                  <c:v>45288</c:v>
                </c:pt>
                <c:pt idx="109">
                  <c:v>45289</c:v>
                </c:pt>
                <c:pt idx="110">
                  <c:v>45293</c:v>
                </c:pt>
                <c:pt idx="111">
                  <c:v>45294</c:v>
                </c:pt>
                <c:pt idx="112">
                  <c:v>45295</c:v>
                </c:pt>
                <c:pt idx="113">
                  <c:v>45296</c:v>
                </c:pt>
                <c:pt idx="114">
                  <c:v>45299</c:v>
                </c:pt>
                <c:pt idx="115">
                  <c:v>45300</c:v>
                </c:pt>
                <c:pt idx="116">
                  <c:v>45301</c:v>
                </c:pt>
                <c:pt idx="117">
                  <c:v>45302</c:v>
                </c:pt>
                <c:pt idx="118">
                  <c:v>45303</c:v>
                </c:pt>
                <c:pt idx="119">
                  <c:v>45306</c:v>
                </c:pt>
                <c:pt idx="120">
                  <c:v>45307</c:v>
                </c:pt>
                <c:pt idx="121">
                  <c:v>45308</c:v>
                </c:pt>
                <c:pt idx="122">
                  <c:v>45309</c:v>
                </c:pt>
                <c:pt idx="123">
                  <c:v>45310</c:v>
                </c:pt>
                <c:pt idx="124">
                  <c:v>45313</c:v>
                </c:pt>
                <c:pt idx="125">
                  <c:v>45314</c:v>
                </c:pt>
                <c:pt idx="126">
                  <c:v>45315</c:v>
                </c:pt>
                <c:pt idx="127">
                  <c:v>45316</c:v>
                </c:pt>
                <c:pt idx="128">
                  <c:v>45317</c:v>
                </c:pt>
                <c:pt idx="129">
                  <c:v>45320</c:v>
                </c:pt>
                <c:pt idx="130">
                  <c:v>45321</c:v>
                </c:pt>
                <c:pt idx="131">
                  <c:v>45322</c:v>
                </c:pt>
                <c:pt idx="132">
                  <c:v>45323</c:v>
                </c:pt>
                <c:pt idx="133">
                  <c:v>45324</c:v>
                </c:pt>
                <c:pt idx="134">
                  <c:v>45327</c:v>
                </c:pt>
                <c:pt idx="135">
                  <c:v>45328</c:v>
                </c:pt>
                <c:pt idx="136">
                  <c:v>45329</c:v>
                </c:pt>
                <c:pt idx="137">
                  <c:v>45330</c:v>
                </c:pt>
                <c:pt idx="138">
                  <c:v>45341</c:v>
                </c:pt>
                <c:pt idx="139">
                  <c:v>45342</c:v>
                </c:pt>
                <c:pt idx="140">
                  <c:v>45343</c:v>
                </c:pt>
                <c:pt idx="141">
                  <c:v>45344</c:v>
                </c:pt>
                <c:pt idx="142">
                  <c:v>45345</c:v>
                </c:pt>
                <c:pt idx="143">
                  <c:v>45348</c:v>
                </c:pt>
                <c:pt idx="144">
                  <c:v>45349</c:v>
                </c:pt>
                <c:pt idx="145">
                  <c:v>45350</c:v>
                </c:pt>
                <c:pt idx="146">
                  <c:v>45351</c:v>
                </c:pt>
                <c:pt idx="147">
                  <c:v>45352</c:v>
                </c:pt>
                <c:pt idx="148">
                  <c:v>45355</c:v>
                </c:pt>
                <c:pt idx="149">
                  <c:v>45356</c:v>
                </c:pt>
                <c:pt idx="150">
                  <c:v>45357</c:v>
                </c:pt>
                <c:pt idx="151">
                  <c:v>45358</c:v>
                </c:pt>
                <c:pt idx="152">
                  <c:v>45359</c:v>
                </c:pt>
                <c:pt idx="153">
                  <c:v>45362</c:v>
                </c:pt>
                <c:pt idx="154">
                  <c:v>45363</c:v>
                </c:pt>
                <c:pt idx="155">
                  <c:v>45364</c:v>
                </c:pt>
                <c:pt idx="156">
                  <c:v>45365</c:v>
                </c:pt>
                <c:pt idx="157">
                  <c:v>45366</c:v>
                </c:pt>
                <c:pt idx="158">
                  <c:v>45369</c:v>
                </c:pt>
                <c:pt idx="159">
                  <c:v>45370</c:v>
                </c:pt>
                <c:pt idx="160">
                  <c:v>45371</c:v>
                </c:pt>
                <c:pt idx="161">
                  <c:v>45372</c:v>
                </c:pt>
                <c:pt idx="162">
                  <c:v>45373</c:v>
                </c:pt>
                <c:pt idx="163">
                  <c:v>45376</c:v>
                </c:pt>
                <c:pt idx="164">
                  <c:v>45377</c:v>
                </c:pt>
                <c:pt idx="165">
                  <c:v>45378</c:v>
                </c:pt>
                <c:pt idx="166">
                  <c:v>45379</c:v>
                </c:pt>
                <c:pt idx="167">
                  <c:v>45380</c:v>
                </c:pt>
                <c:pt idx="168">
                  <c:v>45383</c:v>
                </c:pt>
                <c:pt idx="169">
                  <c:v>45384</c:v>
                </c:pt>
                <c:pt idx="170">
                  <c:v>45385</c:v>
                </c:pt>
                <c:pt idx="171">
                  <c:v>45390</c:v>
                </c:pt>
                <c:pt idx="172">
                  <c:v>45391</c:v>
                </c:pt>
                <c:pt idx="173">
                  <c:v>45392</c:v>
                </c:pt>
                <c:pt idx="174">
                  <c:v>45393</c:v>
                </c:pt>
                <c:pt idx="175">
                  <c:v>45394</c:v>
                </c:pt>
                <c:pt idx="176">
                  <c:v>45397</c:v>
                </c:pt>
                <c:pt idx="177">
                  <c:v>45398</c:v>
                </c:pt>
                <c:pt idx="178">
                  <c:v>45399</c:v>
                </c:pt>
                <c:pt idx="179">
                  <c:v>45400</c:v>
                </c:pt>
                <c:pt idx="180">
                  <c:v>45401</c:v>
                </c:pt>
                <c:pt idx="181">
                  <c:v>45404</c:v>
                </c:pt>
                <c:pt idx="182">
                  <c:v>45405</c:v>
                </c:pt>
                <c:pt idx="183">
                  <c:v>45406</c:v>
                </c:pt>
                <c:pt idx="184">
                  <c:v>45407</c:v>
                </c:pt>
                <c:pt idx="185">
                  <c:v>45408</c:v>
                </c:pt>
                <c:pt idx="186">
                  <c:v>45411</c:v>
                </c:pt>
                <c:pt idx="187">
                  <c:v>45412</c:v>
                </c:pt>
                <c:pt idx="188">
                  <c:v>45418</c:v>
                </c:pt>
                <c:pt idx="189">
                  <c:v>45419</c:v>
                </c:pt>
                <c:pt idx="190">
                  <c:v>45420</c:v>
                </c:pt>
                <c:pt idx="191">
                  <c:v>45421</c:v>
                </c:pt>
                <c:pt idx="192">
                  <c:v>45422</c:v>
                </c:pt>
                <c:pt idx="193">
                  <c:v>45425</c:v>
                </c:pt>
                <c:pt idx="194">
                  <c:v>45426</c:v>
                </c:pt>
                <c:pt idx="195">
                  <c:v>45427</c:v>
                </c:pt>
                <c:pt idx="196">
                  <c:v>45428</c:v>
                </c:pt>
                <c:pt idx="197">
                  <c:v>45429</c:v>
                </c:pt>
                <c:pt idx="198">
                  <c:v>45432</c:v>
                </c:pt>
                <c:pt idx="199">
                  <c:v>45433</c:v>
                </c:pt>
                <c:pt idx="200">
                  <c:v>45434</c:v>
                </c:pt>
                <c:pt idx="201">
                  <c:v>45435</c:v>
                </c:pt>
                <c:pt idx="202">
                  <c:v>45436</c:v>
                </c:pt>
                <c:pt idx="203">
                  <c:v>45439</c:v>
                </c:pt>
                <c:pt idx="204">
                  <c:v>45440</c:v>
                </c:pt>
                <c:pt idx="205">
                  <c:v>45441</c:v>
                </c:pt>
                <c:pt idx="206">
                  <c:v>45442</c:v>
                </c:pt>
                <c:pt idx="207">
                  <c:v>45443</c:v>
                </c:pt>
                <c:pt idx="208">
                  <c:v>45446</c:v>
                </c:pt>
                <c:pt idx="209">
                  <c:v>45447</c:v>
                </c:pt>
                <c:pt idx="210">
                  <c:v>45448</c:v>
                </c:pt>
                <c:pt idx="211">
                  <c:v>45449</c:v>
                </c:pt>
                <c:pt idx="212">
                  <c:v>45450</c:v>
                </c:pt>
                <c:pt idx="213">
                  <c:v>45454</c:v>
                </c:pt>
                <c:pt idx="214">
                  <c:v>45455</c:v>
                </c:pt>
                <c:pt idx="215">
                  <c:v>45456</c:v>
                </c:pt>
                <c:pt idx="216">
                  <c:v>45457</c:v>
                </c:pt>
                <c:pt idx="217">
                  <c:v>45460</c:v>
                </c:pt>
                <c:pt idx="218">
                  <c:v>45461</c:v>
                </c:pt>
                <c:pt idx="219">
                  <c:v>45462</c:v>
                </c:pt>
                <c:pt idx="220">
                  <c:v>45463</c:v>
                </c:pt>
                <c:pt idx="221">
                  <c:v>45464</c:v>
                </c:pt>
                <c:pt idx="222">
                  <c:v>45467</c:v>
                </c:pt>
                <c:pt idx="223">
                  <c:v>45468</c:v>
                </c:pt>
                <c:pt idx="224">
                  <c:v>45469</c:v>
                </c:pt>
                <c:pt idx="225">
                  <c:v>45470</c:v>
                </c:pt>
                <c:pt idx="226">
                  <c:v>45471</c:v>
                </c:pt>
                <c:pt idx="227">
                  <c:v>45474</c:v>
                </c:pt>
                <c:pt idx="228">
                  <c:v>45475</c:v>
                </c:pt>
                <c:pt idx="229">
                  <c:v>45476</c:v>
                </c:pt>
                <c:pt idx="230">
                  <c:v>45477</c:v>
                </c:pt>
                <c:pt idx="231">
                  <c:v>45478</c:v>
                </c:pt>
                <c:pt idx="232">
                  <c:v>45481</c:v>
                </c:pt>
                <c:pt idx="233">
                  <c:v>45482</c:v>
                </c:pt>
                <c:pt idx="234">
                  <c:v>45483</c:v>
                </c:pt>
                <c:pt idx="235">
                  <c:v>45484</c:v>
                </c:pt>
                <c:pt idx="236">
                  <c:v>45485</c:v>
                </c:pt>
                <c:pt idx="237">
                  <c:v>45488</c:v>
                </c:pt>
                <c:pt idx="238">
                  <c:v>45489</c:v>
                </c:pt>
                <c:pt idx="239">
                  <c:v>45490</c:v>
                </c:pt>
                <c:pt idx="240">
                  <c:v>45491</c:v>
                </c:pt>
                <c:pt idx="241">
                  <c:v>45492</c:v>
                </c:pt>
                <c:pt idx="242">
                  <c:v>45495</c:v>
                </c:pt>
                <c:pt idx="243">
                  <c:v>45496</c:v>
                </c:pt>
                <c:pt idx="244">
                  <c:v>45497</c:v>
                </c:pt>
                <c:pt idx="245">
                  <c:v>45498</c:v>
                </c:pt>
                <c:pt idx="246">
                  <c:v>45499</c:v>
                </c:pt>
                <c:pt idx="247">
                  <c:v>45502</c:v>
                </c:pt>
                <c:pt idx="248">
                  <c:v>45503</c:v>
                </c:pt>
                <c:pt idx="249">
                  <c:v>45504</c:v>
                </c:pt>
                <c:pt idx="250">
                  <c:v>45505</c:v>
                </c:pt>
                <c:pt idx="251">
                  <c:v>45506</c:v>
                </c:pt>
                <c:pt idx="252">
                  <c:v>45509</c:v>
                </c:pt>
                <c:pt idx="253">
                  <c:v>45510</c:v>
                </c:pt>
                <c:pt idx="254">
                  <c:v>45511</c:v>
                </c:pt>
                <c:pt idx="255">
                  <c:v>45512</c:v>
                </c:pt>
                <c:pt idx="256">
                  <c:v>45513</c:v>
                </c:pt>
                <c:pt idx="257">
                  <c:v>45516</c:v>
                </c:pt>
                <c:pt idx="258">
                  <c:v>45517</c:v>
                </c:pt>
                <c:pt idx="259">
                  <c:v>45518</c:v>
                </c:pt>
                <c:pt idx="260">
                  <c:v>45519</c:v>
                </c:pt>
                <c:pt idx="261">
                  <c:v>45520</c:v>
                </c:pt>
                <c:pt idx="262">
                  <c:v>45523</c:v>
                </c:pt>
                <c:pt idx="263">
                  <c:v>45524</c:v>
                </c:pt>
                <c:pt idx="264">
                  <c:v>45525</c:v>
                </c:pt>
                <c:pt idx="265">
                  <c:v>45526</c:v>
                </c:pt>
                <c:pt idx="266">
                  <c:v>45527</c:v>
                </c:pt>
                <c:pt idx="267">
                  <c:v>45530</c:v>
                </c:pt>
                <c:pt idx="268">
                  <c:v>45531</c:v>
                </c:pt>
                <c:pt idx="269">
                  <c:v>45532</c:v>
                </c:pt>
                <c:pt idx="270">
                  <c:v>45533</c:v>
                </c:pt>
                <c:pt idx="271">
                  <c:v>45534</c:v>
                </c:pt>
                <c:pt idx="272">
                  <c:v>45537</c:v>
                </c:pt>
                <c:pt idx="273">
                  <c:v>45538</c:v>
                </c:pt>
                <c:pt idx="274">
                  <c:v>45539</c:v>
                </c:pt>
                <c:pt idx="275">
                  <c:v>45540</c:v>
                </c:pt>
                <c:pt idx="276">
                  <c:v>45541</c:v>
                </c:pt>
                <c:pt idx="277">
                  <c:v>45544</c:v>
                </c:pt>
                <c:pt idx="278">
                  <c:v>45545</c:v>
                </c:pt>
                <c:pt idx="279">
                  <c:v>45546</c:v>
                </c:pt>
                <c:pt idx="280">
                  <c:v>45547</c:v>
                </c:pt>
                <c:pt idx="281">
                  <c:v>45548</c:v>
                </c:pt>
                <c:pt idx="282">
                  <c:v>45553</c:v>
                </c:pt>
                <c:pt idx="283">
                  <c:v>45554</c:v>
                </c:pt>
                <c:pt idx="284">
                  <c:v>45555</c:v>
                </c:pt>
                <c:pt idx="285">
                  <c:v>45558</c:v>
                </c:pt>
                <c:pt idx="286">
                  <c:v>45559</c:v>
                </c:pt>
                <c:pt idx="287">
                  <c:v>45560</c:v>
                </c:pt>
                <c:pt idx="288">
                  <c:v>45561</c:v>
                </c:pt>
                <c:pt idx="289">
                  <c:v>45562</c:v>
                </c:pt>
                <c:pt idx="290">
                  <c:v>45565</c:v>
                </c:pt>
                <c:pt idx="291">
                  <c:v>45573</c:v>
                </c:pt>
                <c:pt idx="292">
                  <c:v>45574</c:v>
                </c:pt>
                <c:pt idx="293">
                  <c:v>45575</c:v>
                </c:pt>
                <c:pt idx="294">
                  <c:v>45576</c:v>
                </c:pt>
                <c:pt idx="295">
                  <c:v>45579</c:v>
                </c:pt>
                <c:pt idx="296">
                  <c:v>45580</c:v>
                </c:pt>
                <c:pt idx="297">
                  <c:v>45581</c:v>
                </c:pt>
                <c:pt idx="298">
                  <c:v>45582</c:v>
                </c:pt>
                <c:pt idx="299">
                  <c:v>45583</c:v>
                </c:pt>
                <c:pt idx="300">
                  <c:v>45586</c:v>
                </c:pt>
                <c:pt idx="301">
                  <c:v>45587</c:v>
                </c:pt>
                <c:pt idx="302">
                  <c:v>45588</c:v>
                </c:pt>
                <c:pt idx="303">
                  <c:v>45589</c:v>
                </c:pt>
                <c:pt idx="304">
                  <c:v>45590</c:v>
                </c:pt>
                <c:pt idx="305">
                  <c:v>45593</c:v>
                </c:pt>
                <c:pt idx="306">
                  <c:v>45594</c:v>
                </c:pt>
                <c:pt idx="307">
                  <c:v>45595</c:v>
                </c:pt>
                <c:pt idx="308">
                  <c:v>45596</c:v>
                </c:pt>
                <c:pt idx="309">
                  <c:v>45597</c:v>
                </c:pt>
                <c:pt idx="310">
                  <c:v>45600</c:v>
                </c:pt>
                <c:pt idx="311">
                  <c:v>45601</c:v>
                </c:pt>
                <c:pt idx="312">
                  <c:v>45602</c:v>
                </c:pt>
                <c:pt idx="313">
                  <c:v>45603</c:v>
                </c:pt>
                <c:pt idx="314">
                  <c:v>45604</c:v>
                </c:pt>
                <c:pt idx="315">
                  <c:v>45607</c:v>
                </c:pt>
                <c:pt idx="316">
                  <c:v>45608</c:v>
                </c:pt>
                <c:pt idx="317">
                  <c:v>45609</c:v>
                </c:pt>
                <c:pt idx="318">
                  <c:v>45610</c:v>
                </c:pt>
                <c:pt idx="319">
                  <c:v>45611</c:v>
                </c:pt>
                <c:pt idx="320">
                  <c:v>45614</c:v>
                </c:pt>
                <c:pt idx="321">
                  <c:v>45615</c:v>
                </c:pt>
                <c:pt idx="322">
                  <c:v>45616</c:v>
                </c:pt>
                <c:pt idx="323">
                  <c:v>45617</c:v>
                </c:pt>
                <c:pt idx="324">
                  <c:v>45618</c:v>
                </c:pt>
                <c:pt idx="325">
                  <c:v>45621</c:v>
                </c:pt>
                <c:pt idx="326">
                  <c:v>45622</c:v>
                </c:pt>
                <c:pt idx="327">
                  <c:v>45623</c:v>
                </c:pt>
                <c:pt idx="328">
                  <c:v>45624</c:v>
                </c:pt>
                <c:pt idx="329">
                  <c:v>45625</c:v>
                </c:pt>
                <c:pt idx="330">
                  <c:v>45628</c:v>
                </c:pt>
                <c:pt idx="331">
                  <c:v>45629</c:v>
                </c:pt>
                <c:pt idx="332">
                  <c:v>45630</c:v>
                </c:pt>
                <c:pt idx="333">
                  <c:v>45631</c:v>
                </c:pt>
                <c:pt idx="334">
                  <c:v>45632</c:v>
                </c:pt>
                <c:pt idx="335">
                  <c:v>45635</c:v>
                </c:pt>
                <c:pt idx="336">
                  <c:v>45636</c:v>
                </c:pt>
                <c:pt idx="337">
                  <c:v>45637</c:v>
                </c:pt>
                <c:pt idx="338">
                  <c:v>45638</c:v>
                </c:pt>
                <c:pt idx="339">
                  <c:v>45639</c:v>
                </c:pt>
                <c:pt idx="340">
                  <c:v>45642</c:v>
                </c:pt>
                <c:pt idx="341">
                  <c:v>45643</c:v>
                </c:pt>
                <c:pt idx="342">
                  <c:v>45644</c:v>
                </c:pt>
                <c:pt idx="343">
                  <c:v>45645</c:v>
                </c:pt>
                <c:pt idx="344">
                  <c:v>45646</c:v>
                </c:pt>
                <c:pt idx="345">
                  <c:v>45649</c:v>
                </c:pt>
                <c:pt idx="346">
                  <c:v>45650</c:v>
                </c:pt>
                <c:pt idx="347">
                  <c:v>45651</c:v>
                </c:pt>
                <c:pt idx="348">
                  <c:v>45652</c:v>
                </c:pt>
                <c:pt idx="349">
                  <c:v>45653</c:v>
                </c:pt>
                <c:pt idx="350">
                  <c:v>45656</c:v>
                </c:pt>
                <c:pt idx="351">
                  <c:v>45657</c:v>
                </c:pt>
                <c:pt idx="352">
                  <c:v>45659</c:v>
                </c:pt>
                <c:pt idx="353">
                  <c:v>45660</c:v>
                </c:pt>
                <c:pt idx="354">
                  <c:v>45663</c:v>
                </c:pt>
                <c:pt idx="355">
                  <c:v>45664</c:v>
                </c:pt>
                <c:pt idx="356">
                  <c:v>45665</c:v>
                </c:pt>
                <c:pt idx="357">
                  <c:v>45666</c:v>
                </c:pt>
                <c:pt idx="358">
                  <c:v>45667</c:v>
                </c:pt>
                <c:pt idx="359">
                  <c:v>45670</c:v>
                </c:pt>
                <c:pt idx="360">
                  <c:v>45671</c:v>
                </c:pt>
                <c:pt idx="361">
                  <c:v>45672</c:v>
                </c:pt>
                <c:pt idx="362">
                  <c:v>45673</c:v>
                </c:pt>
                <c:pt idx="363">
                  <c:v>45674</c:v>
                </c:pt>
                <c:pt idx="364">
                  <c:v>45677</c:v>
                </c:pt>
                <c:pt idx="365">
                  <c:v>45678</c:v>
                </c:pt>
                <c:pt idx="366">
                  <c:v>45679</c:v>
                </c:pt>
                <c:pt idx="367">
                  <c:v>45680</c:v>
                </c:pt>
                <c:pt idx="368">
                  <c:v>45681</c:v>
                </c:pt>
                <c:pt idx="369">
                  <c:v>45684</c:v>
                </c:pt>
                <c:pt idx="370">
                  <c:v>45693</c:v>
                </c:pt>
                <c:pt idx="371">
                  <c:v>45694</c:v>
                </c:pt>
                <c:pt idx="372">
                  <c:v>45695</c:v>
                </c:pt>
                <c:pt idx="373">
                  <c:v>45698</c:v>
                </c:pt>
                <c:pt idx="374">
                  <c:v>45699</c:v>
                </c:pt>
                <c:pt idx="375">
                  <c:v>45700</c:v>
                </c:pt>
                <c:pt idx="376">
                  <c:v>45701</c:v>
                </c:pt>
                <c:pt idx="377">
                  <c:v>45702</c:v>
                </c:pt>
                <c:pt idx="378">
                  <c:v>45705</c:v>
                </c:pt>
                <c:pt idx="379">
                  <c:v>45706</c:v>
                </c:pt>
                <c:pt idx="380">
                  <c:v>45707</c:v>
                </c:pt>
                <c:pt idx="381">
                  <c:v>45708</c:v>
                </c:pt>
                <c:pt idx="382">
                  <c:v>45709</c:v>
                </c:pt>
                <c:pt idx="383">
                  <c:v>45712</c:v>
                </c:pt>
                <c:pt idx="384">
                  <c:v>45713</c:v>
                </c:pt>
                <c:pt idx="385">
                  <c:v>45714</c:v>
                </c:pt>
                <c:pt idx="386">
                  <c:v>45715</c:v>
                </c:pt>
                <c:pt idx="387">
                  <c:v>45716</c:v>
                </c:pt>
                <c:pt idx="388">
                  <c:v>45719</c:v>
                </c:pt>
                <c:pt idx="389">
                  <c:v>45720</c:v>
                </c:pt>
                <c:pt idx="390">
                  <c:v>45721</c:v>
                </c:pt>
                <c:pt idx="391">
                  <c:v>45722</c:v>
                </c:pt>
                <c:pt idx="392">
                  <c:v>45723</c:v>
                </c:pt>
                <c:pt idx="393">
                  <c:v>45726</c:v>
                </c:pt>
                <c:pt idx="394">
                  <c:v>45727</c:v>
                </c:pt>
                <c:pt idx="395">
                  <c:v>45728</c:v>
                </c:pt>
                <c:pt idx="396">
                  <c:v>45729</c:v>
                </c:pt>
                <c:pt idx="397">
                  <c:v>45730</c:v>
                </c:pt>
                <c:pt idx="398">
                  <c:v>45733</c:v>
                </c:pt>
                <c:pt idx="399">
                  <c:v>45734</c:v>
                </c:pt>
                <c:pt idx="400">
                  <c:v>45735</c:v>
                </c:pt>
                <c:pt idx="401">
                  <c:v>45736</c:v>
                </c:pt>
                <c:pt idx="402">
                  <c:v>45737</c:v>
                </c:pt>
                <c:pt idx="403">
                  <c:v>45740</c:v>
                </c:pt>
                <c:pt idx="404">
                  <c:v>45741</c:v>
                </c:pt>
                <c:pt idx="405">
                  <c:v>45742</c:v>
                </c:pt>
                <c:pt idx="406">
                  <c:v>45743</c:v>
                </c:pt>
                <c:pt idx="407">
                  <c:v>45744</c:v>
                </c:pt>
                <c:pt idx="408">
                  <c:v>45747</c:v>
                </c:pt>
                <c:pt idx="409">
                  <c:v>45748</c:v>
                </c:pt>
                <c:pt idx="410">
                  <c:v>45749</c:v>
                </c:pt>
                <c:pt idx="411">
                  <c:v>45750</c:v>
                </c:pt>
                <c:pt idx="412">
                  <c:v>45754</c:v>
                </c:pt>
                <c:pt idx="413">
                  <c:v>45755</c:v>
                </c:pt>
                <c:pt idx="414">
                  <c:v>45756</c:v>
                </c:pt>
                <c:pt idx="415">
                  <c:v>45757</c:v>
                </c:pt>
                <c:pt idx="416">
                  <c:v>45758</c:v>
                </c:pt>
                <c:pt idx="417">
                  <c:v>45761</c:v>
                </c:pt>
                <c:pt idx="418">
                  <c:v>45762</c:v>
                </c:pt>
                <c:pt idx="419">
                  <c:v>45763</c:v>
                </c:pt>
                <c:pt idx="420">
                  <c:v>45764</c:v>
                </c:pt>
                <c:pt idx="421">
                  <c:v>45765</c:v>
                </c:pt>
                <c:pt idx="422">
                  <c:v>45768</c:v>
                </c:pt>
                <c:pt idx="423">
                  <c:v>45769</c:v>
                </c:pt>
                <c:pt idx="424">
                  <c:v>45770</c:v>
                </c:pt>
                <c:pt idx="425">
                  <c:v>45771</c:v>
                </c:pt>
                <c:pt idx="426">
                  <c:v>45772</c:v>
                </c:pt>
                <c:pt idx="427">
                  <c:v>45775</c:v>
                </c:pt>
                <c:pt idx="428">
                  <c:v>45776</c:v>
                </c:pt>
                <c:pt idx="429">
                  <c:v>45777</c:v>
                </c:pt>
                <c:pt idx="430">
                  <c:v>45783</c:v>
                </c:pt>
                <c:pt idx="431">
                  <c:v>45784</c:v>
                </c:pt>
                <c:pt idx="432">
                  <c:v>45785</c:v>
                </c:pt>
                <c:pt idx="433">
                  <c:v>45786</c:v>
                </c:pt>
                <c:pt idx="434">
                  <c:v>45789</c:v>
                </c:pt>
                <c:pt idx="435">
                  <c:v>45790</c:v>
                </c:pt>
                <c:pt idx="436">
                  <c:v>45791</c:v>
                </c:pt>
                <c:pt idx="437">
                  <c:v>45792</c:v>
                </c:pt>
                <c:pt idx="438">
                  <c:v>45793</c:v>
                </c:pt>
                <c:pt idx="439">
                  <c:v>45796</c:v>
                </c:pt>
                <c:pt idx="440">
                  <c:v>45797</c:v>
                </c:pt>
                <c:pt idx="441">
                  <c:v>45798</c:v>
                </c:pt>
                <c:pt idx="442">
                  <c:v>45799</c:v>
                </c:pt>
                <c:pt idx="443">
                  <c:v>45800</c:v>
                </c:pt>
                <c:pt idx="444">
                  <c:v>45803</c:v>
                </c:pt>
                <c:pt idx="445">
                  <c:v>45804</c:v>
                </c:pt>
                <c:pt idx="446">
                  <c:v>45805</c:v>
                </c:pt>
                <c:pt idx="447">
                  <c:v>45806</c:v>
                </c:pt>
                <c:pt idx="448">
                  <c:v>45807</c:v>
                </c:pt>
                <c:pt idx="449">
                  <c:v>45811</c:v>
                </c:pt>
                <c:pt idx="450">
                  <c:v>45812</c:v>
                </c:pt>
                <c:pt idx="451">
                  <c:v>45813</c:v>
                </c:pt>
                <c:pt idx="452">
                  <c:v>45814</c:v>
                </c:pt>
                <c:pt idx="453">
                  <c:v>45817</c:v>
                </c:pt>
                <c:pt idx="454">
                  <c:v>45818</c:v>
                </c:pt>
                <c:pt idx="455">
                  <c:v>45819</c:v>
                </c:pt>
                <c:pt idx="456">
                  <c:v>45820</c:v>
                </c:pt>
                <c:pt idx="457">
                  <c:v>45821</c:v>
                </c:pt>
                <c:pt idx="458">
                  <c:v>45824</c:v>
                </c:pt>
                <c:pt idx="459">
                  <c:v>45825</c:v>
                </c:pt>
                <c:pt idx="460">
                  <c:v>45826</c:v>
                </c:pt>
                <c:pt idx="461">
                  <c:v>45827</c:v>
                </c:pt>
                <c:pt idx="462">
                  <c:v>45828</c:v>
                </c:pt>
                <c:pt idx="463">
                  <c:v>45831</c:v>
                </c:pt>
                <c:pt idx="464">
                  <c:v>45832</c:v>
                </c:pt>
                <c:pt idx="465">
                  <c:v>45833</c:v>
                </c:pt>
                <c:pt idx="466">
                  <c:v>45834</c:v>
                </c:pt>
                <c:pt idx="467">
                  <c:v>45835</c:v>
                </c:pt>
                <c:pt idx="468">
                  <c:v>45838</c:v>
                </c:pt>
                <c:pt idx="469">
                  <c:v>45839</c:v>
                </c:pt>
                <c:pt idx="470">
                  <c:v>45840</c:v>
                </c:pt>
                <c:pt idx="471">
                  <c:v>45841</c:v>
                </c:pt>
                <c:pt idx="472">
                  <c:v>45842</c:v>
                </c:pt>
                <c:pt idx="473">
                  <c:v>45845</c:v>
                </c:pt>
                <c:pt idx="474">
                  <c:v>45846</c:v>
                </c:pt>
                <c:pt idx="475">
                  <c:v>45847</c:v>
                </c:pt>
                <c:pt idx="476">
                  <c:v>45848</c:v>
                </c:pt>
                <c:pt idx="477">
                  <c:v>45849</c:v>
                </c:pt>
                <c:pt idx="478">
                  <c:v>45852</c:v>
                </c:pt>
                <c:pt idx="479">
                  <c:v>45853</c:v>
                </c:pt>
                <c:pt idx="480">
                  <c:v>45854</c:v>
                </c:pt>
                <c:pt idx="481">
                  <c:v>45855</c:v>
                </c:pt>
                <c:pt idx="482">
                  <c:v>45856</c:v>
                </c:pt>
                <c:pt idx="483">
                  <c:v>45859</c:v>
                </c:pt>
                <c:pt idx="484">
                  <c:v>45860</c:v>
                </c:pt>
                <c:pt idx="485">
                  <c:v>45861</c:v>
                </c:pt>
                <c:pt idx="486">
                  <c:v>45862</c:v>
                </c:pt>
                <c:pt idx="487">
                  <c:v>45863</c:v>
                </c:pt>
                <c:pt idx="488">
                  <c:v>45866</c:v>
                </c:pt>
                <c:pt idx="489">
                  <c:v>45867</c:v>
                </c:pt>
                <c:pt idx="490">
                  <c:v>45868</c:v>
                </c:pt>
                <c:pt idx="491">
                  <c:v>45869</c:v>
                </c:pt>
                <c:pt idx="492">
                  <c:v>45870</c:v>
                </c:pt>
                <c:pt idx="493">
                  <c:v>45873</c:v>
                </c:pt>
                <c:pt idx="494">
                  <c:v>45874</c:v>
                </c:pt>
                <c:pt idx="495">
                  <c:v>45875</c:v>
                </c:pt>
                <c:pt idx="496">
                  <c:v>45876</c:v>
                </c:pt>
                <c:pt idx="497">
                  <c:v>45877</c:v>
                </c:pt>
                <c:pt idx="498">
                  <c:v>45880</c:v>
                </c:pt>
                <c:pt idx="499">
                  <c:v>45881</c:v>
                </c:pt>
                <c:pt idx="500">
                  <c:v>45882</c:v>
                </c:pt>
                <c:pt idx="501">
                  <c:v>45883</c:v>
                </c:pt>
                <c:pt idx="502">
                  <c:v>45884</c:v>
                </c:pt>
                <c:pt idx="503">
                  <c:v>45887</c:v>
                </c:pt>
                <c:pt idx="504">
                  <c:v>45888</c:v>
                </c:pt>
                <c:pt idx="505">
                  <c:v>45889</c:v>
                </c:pt>
                <c:pt idx="506">
                  <c:v>45890</c:v>
                </c:pt>
                <c:pt idx="507">
                  <c:v>45891</c:v>
                </c:pt>
                <c:pt idx="508">
                  <c:v>45894</c:v>
                </c:pt>
                <c:pt idx="509">
                  <c:v>45895</c:v>
                </c:pt>
                <c:pt idx="510">
                  <c:v>45896</c:v>
                </c:pt>
                <c:pt idx="511">
                  <c:v>45897</c:v>
                </c:pt>
                <c:pt idx="512">
                  <c:v>45898</c:v>
                </c:pt>
                <c:pt idx="513">
                  <c:v>45901</c:v>
                </c:pt>
                <c:pt idx="514">
                  <c:v>45902</c:v>
                </c:pt>
                <c:pt idx="515">
                  <c:v>45903</c:v>
                </c:pt>
                <c:pt idx="516">
                  <c:v>45904</c:v>
                </c:pt>
                <c:pt idx="517">
                  <c:v>45905</c:v>
                </c:pt>
                <c:pt idx="518">
                  <c:v>45908</c:v>
                </c:pt>
                <c:pt idx="519">
                  <c:v>45909</c:v>
                </c:pt>
                <c:pt idx="520">
                  <c:v>45910</c:v>
                </c:pt>
                <c:pt idx="521">
                  <c:v>45911</c:v>
                </c:pt>
                <c:pt idx="522">
                  <c:v>45912</c:v>
                </c:pt>
                <c:pt idx="523">
                  <c:v>45915</c:v>
                </c:pt>
                <c:pt idx="524">
                  <c:v>45916</c:v>
                </c:pt>
                <c:pt idx="525">
                  <c:v>45917</c:v>
                </c:pt>
                <c:pt idx="526">
                  <c:v>45918</c:v>
                </c:pt>
                <c:pt idx="527">
                  <c:v>45919</c:v>
                </c:pt>
                <c:pt idx="528">
                  <c:v>45922</c:v>
                </c:pt>
                <c:pt idx="529">
                  <c:v>45923</c:v>
                </c:pt>
                <c:pt idx="530">
                  <c:v>45924</c:v>
                </c:pt>
                <c:pt idx="531">
                  <c:v>45925</c:v>
                </c:pt>
                <c:pt idx="532">
                  <c:v>45926</c:v>
                </c:pt>
                <c:pt idx="533">
                  <c:v>45929</c:v>
                </c:pt>
                <c:pt idx="534">
                  <c:v>45930</c:v>
                </c:pt>
                <c:pt idx="535">
                  <c:v>45931</c:v>
                </c:pt>
                <c:pt idx="536">
                  <c:v>45932</c:v>
                </c:pt>
                <c:pt idx="537">
                  <c:v>45933</c:v>
                </c:pt>
                <c:pt idx="538">
                  <c:v>45936</c:v>
                </c:pt>
                <c:pt idx="539">
                  <c:v>45937</c:v>
                </c:pt>
                <c:pt idx="540">
                  <c:v>45938</c:v>
                </c:pt>
                <c:pt idx="541">
                  <c:v>45939</c:v>
                </c:pt>
                <c:pt idx="542">
                  <c:v>45940</c:v>
                </c:pt>
                <c:pt idx="543">
                  <c:v>45943</c:v>
                </c:pt>
                <c:pt idx="544">
                  <c:v>45944</c:v>
                </c:pt>
                <c:pt idx="545">
                  <c:v>45945</c:v>
                </c:pt>
                <c:pt idx="546">
                  <c:v>45946</c:v>
                </c:pt>
                <c:pt idx="547">
                  <c:v>45947</c:v>
                </c:pt>
                <c:pt idx="548">
                  <c:v>45950</c:v>
                </c:pt>
                <c:pt idx="549">
                  <c:v>45951</c:v>
                </c:pt>
                <c:pt idx="550">
                  <c:v>45952</c:v>
                </c:pt>
                <c:pt idx="551">
                  <c:v>45953</c:v>
                </c:pt>
                <c:pt idx="552">
                  <c:v>45954</c:v>
                </c:pt>
                <c:pt idx="553">
                  <c:v>45957</c:v>
                </c:pt>
                <c:pt idx="554">
                  <c:v>45958</c:v>
                </c:pt>
                <c:pt idx="555">
                  <c:v>45959</c:v>
                </c:pt>
                <c:pt idx="556">
                  <c:v>45960</c:v>
                </c:pt>
                <c:pt idx="557">
                  <c:v>45961</c:v>
                </c:pt>
                <c:pt idx="558">
                  <c:v>45964</c:v>
                </c:pt>
                <c:pt idx="559">
                  <c:v>45965</c:v>
                </c:pt>
                <c:pt idx="560">
                  <c:v>45966</c:v>
                </c:pt>
                <c:pt idx="561">
                  <c:v>45967</c:v>
                </c:pt>
                <c:pt idx="562">
                  <c:v>45968</c:v>
                </c:pt>
                <c:pt idx="563">
                  <c:v>45971</c:v>
                </c:pt>
                <c:pt idx="564">
                  <c:v>45972</c:v>
                </c:pt>
                <c:pt idx="565">
                  <c:v>45973</c:v>
                </c:pt>
                <c:pt idx="566">
                  <c:v>45974</c:v>
                </c:pt>
                <c:pt idx="567">
                  <c:v>45975</c:v>
                </c:pt>
                <c:pt idx="568">
                  <c:v>45978</c:v>
                </c:pt>
                <c:pt idx="569">
                  <c:v>45979</c:v>
                </c:pt>
                <c:pt idx="570">
                  <c:v>45980</c:v>
                </c:pt>
                <c:pt idx="571">
                  <c:v>45981</c:v>
                </c:pt>
                <c:pt idx="572">
                  <c:v>45982</c:v>
                </c:pt>
                <c:pt idx="573">
                  <c:v>45985</c:v>
                </c:pt>
                <c:pt idx="574">
                  <c:v>45986</c:v>
                </c:pt>
                <c:pt idx="575">
                  <c:v>45987</c:v>
                </c:pt>
                <c:pt idx="576">
                  <c:v>45988</c:v>
                </c:pt>
                <c:pt idx="577">
                  <c:v>45989</c:v>
                </c:pt>
                <c:pt idx="578">
                  <c:v>45992</c:v>
                </c:pt>
                <c:pt idx="579">
                  <c:v>45993</c:v>
                </c:pt>
                <c:pt idx="580">
                  <c:v>45994</c:v>
                </c:pt>
                <c:pt idx="581">
                  <c:v>45995</c:v>
                </c:pt>
                <c:pt idx="582">
                  <c:v>45996</c:v>
                </c:pt>
                <c:pt idx="583">
                  <c:v>45999</c:v>
                </c:pt>
                <c:pt idx="584">
                  <c:v>46000</c:v>
                </c:pt>
                <c:pt idx="585">
                  <c:v>46001</c:v>
                </c:pt>
                <c:pt idx="586">
                  <c:v>46002</c:v>
                </c:pt>
                <c:pt idx="587">
                  <c:v>46003</c:v>
                </c:pt>
                <c:pt idx="588">
                  <c:v>46006</c:v>
                </c:pt>
                <c:pt idx="589">
                  <c:v>46007</c:v>
                </c:pt>
                <c:pt idx="590">
                  <c:v>46008</c:v>
                </c:pt>
                <c:pt idx="591">
                  <c:v>46009</c:v>
                </c:pt>
                <c:pt idx="592">
                  <c:v>46010</c:v>
                </c:pt>
                <c:pt idx="593">
                  <c:v>46013</c:v>
                </c:pt>
                <c:pt idx="594">
                  <c:v>46014</c:v>
                </c:pt>
                <c:pt idx="595">
                  <c:v>46015</c:v>
                </c:pt>
                <c:pt idx="596">
                  <c:v>46016</c:v>
                </c:pt>
                <c:pt idx="597">
                  <c:v>46017</c:v>
                </c:pt>
                <c:pt idx="598">
                  <c:v>46020</c:v>
                </c:pt>
                <c:pt idx="599">
                  <c:v>46021</c:v>
                </c:pt>
                <c:pt idx="600">
                  <c:v>46022</c:v>
                </c:pt>
                <c:pt idx="601">
                  <c:v>46023</c:v>
                </c:pt>
                <c:pt idx="602">
                  <c:v>46024</c:v>
                </c:pt>
                <c:pt idx="603">
                  <c:v>46027</c:v>
                </c:pt>
                <c:pt idx="604">
                  <c:v>46028</c:v>
                </c:pt>
                <c:pt idx="605">
                  <c:v>46029</c:v>
                </c:pt>
                <c:pt idx="606">
                  <c:v>46030</c:v>
                </c:pt>
                <c:pt idx="607">
                  <c:v>46031</c:v>
                </c:pt>
                <c:pt idx="608">
                  <c:v>46034</c:v>
                </c:pt>
                <c:pt idx="609">
                  <c:v>46035</c:v>
                </c:pt>
                <c:pt idx="610">
                  <c:v>46036</c:v>
                </c:pt>
                <c:pt idx="611">
                  <c:v>46037</c:v>
                </c:pt>
                <c:pt idx="612">
                  <c:v>46038</c:v>
                </c:pt>
                <c:pt idx="613">
                  <c:v>46041</c:v>
                </c:pt>
                <c:pt idx="614">
                  <c:v>46042</c:v>
                </c:pt>
                <c:pt idx="615">
                  <c:v>46043</c:v>
                </c:pt>
                <c:pt idx="616">
                  <c:v>46044</c:v>
                </c:pt>
                <c:pt idx="617">
                  <c:v>46045</c:v>
                </c:pt>
                <c:pt idx="618">
                  <c:v>46048</c:v>
                </c:pt>
                <c:pt idx="619">
                  <c:v>46049</c:v>
                </c:pt>
                <c:pt idx="620">
                  <c:v>46050</c:v>
                </c:pt>
                <c:pt idx="621">
                  <c:v>46051</c:v>
                </c:pt>
                <c:pt idx="622">
                  <c:v>46052</c:v>
                </c:pt>
                <c:pt idx="623">
                  <c:v>46055</c:v>
                </c:pt>
                <c:pt idx="624">
                  <c:v>46056</c:v>
                </c:pt>
                <c:pt idx="625">
                  <c:v>46057</c:v>
                </c:pt>
                <c:pt idx="626">
                  <c:v>46058</c:v>
                </c:pt>
                <c:pt idx="627">
                  <c:v>46059</c:v>
                </c:pt>
                <c:pt idx="628">
                  <c:v>46062</c:v>
                </c:pt>
                <c:pt idx="629">
                  <c:v>46063</c:v>
                </c:pt>
                <c:pt idx="630">
                  <c:v>46064</c:v>
                </c:pt>
                <c:pt idx="631">
                  <c:v>46065</c:v>
                </c:pt>
                <c:pt idx="632">
                  <c:v>46066</c:v>
                </c:pt>
                <c:pt idx="633">
                  <c:v>46069</c:v>
                </c:pt>
                <c:pt idx="634">
                  <c:v>46070</c:v>
                </c:pt>
                <c:pt idx="635">
                  <c:v>46071</c:v>
                </c:pt>
                <c:pt idx="636">
                  <c:v>46072</c:v>
                </c:pt>
                <c:pt idx="637">
                  <c:v>46073</c:v>
                </c:pt>
                <c:pt idx="638">
                  <c:v>46076</c:v>
                </c:pt>
                <c:pt idx="639">
                  <c:v>46077</c:v>
                </c:pt>
                <c:pt idx="640">
                  <c:v>46078</c:v>
                </c:pt>
                <c:pt idx="641">
                  <c:v>46079</c:v>
                </c:pt>
                <c:pt idx="642">
                  <c:v>46080</c:v>
                </c:pt>
                <c:pt idx="643">
                  <c:v>46083</c:v>
                </c:pt>
                <c:pt idx="644">
                  <c:v>46084</c:v>
                </c:pt>
                <c:pt idx="645">
                  <c:v>46085</c:v>
                </c:pt>
                <c:pt idx="646">
                  <c:v>46086</c:v>
                </c:pt>
                <c:pt idx="647">
                  <c:v>46087</c:v>
                </c:pt>
                <c:pt idx="648">
                  <c:v>46090</c:v>
                </c:pt>
                <c:pt idx="649">
                  <c:v>46091</c:v>
                </c:pt>
                <c:pt idx="650">
                  <c:v>46092</c:v>
                </c:pt>
                <c:pt idx="651">
                  <c:v>46093</c:v>
                </c:pt>
                <c:pt idx="652">
                  <c:v>46094</c:v>
                </c:pt>
                <c:pt idx="653">
                  <c:v>46097</c:v>
                </c:pt>
                <c:pt idx="654">
                  <c:v>46098</c:v>
                </c:pt>
                <c:pt idx="655">
                  <c:v>46099</c:v>
                </c:pt>
                <c:pt idx="656">
                  <c:v>46100</c:v>
                </c:pt>
                <c:pt idx="657">
                  <c:v>46101</c:v>
                </c:pt>
                <c:pt idx="658">
                  <c:v>46104</c:v>
                </c:pt>
                <c:pt idx="659">
                  <c:v>46105</c:v>
                </c:pt>
                <c:pt idx="660">
                  <c:v>46106</c:v>
                </c:pt>
                <c:pt idx="661">
                  <c:v>46107</c:v>
                </c:pt>
                <c:pt idx="662">
                  <c:v>46108</c:v>
                </c:pt>
                <c:pt idx="663">
                  <c:v>46111</c:v>
                </c:pt>
                <c:pt idx="664">
                  <c:v>46112</c:v>
                </c:pt>
                <c:pt idx="665">
                  <c:v>46113</c:v>
                </c:pt>
                <c:pt idx="666">
                  <c:v>46114</c:v>
                </c:pt>
                <c:pt idx="667">
                  <c:v>46115</c:v>
                </c:pt>
                <c:pt idx="668">
                  <c:v>46118</c:v>
                </c:pt>
                <c:pt idx="669">
                  <c:v>46119</c:v>
                </c:pt>
                <c:pt idx="670">
                  <c:v>46120</c:v>
                </c:pt>
                <c:pt idx="671">
                  <c:v>46121</c:v>
                </c:pt>
                <c:pt idx="672">
                  <c:v>46122</c:v>
                </c:pt>
                <c:pt idx="673">
                  <c:v>46125</c:v>
                </c:pt>
                <c:pt idx="674">
                  <c:v>46126</c:v>
                </c:pt>
                <c:pt idx="675">
                  <c:v>46127</c:v>
                </c:pt>
                <c:pt idx="676">
                  <c:v>46128</c:v>
                </c:pt>
                <c:pt idx="677">
                  <c:v>46129</c:v>
                </c:pt>
                <c:pt idx="678">
                  <c:v>46132</c:v>
                </c:pt>
                <c:pt idx="679">
                  <c:v>46133</c:v>
                </c:pt>
                <c:pt idx="680">
                  <c:v>46134</c:v>
                </c:pt>
                <c:pt idx="681">
                  <c:v>46135</c:v>
                </c:pt>
                <c:pt idx="682">
                  <c:v>46136</c:v>
                </c:pt>
                <c:pt idx="683">
                  <c:v>46139</c:v>
                </c:pt>
                <c:pt idx="684">
                  <c:v>46140</c:v>
                </c:pt>
                <c:pt idx="685">
                  <c:v>46141</c:v>
                </c:pt>
                <c:pt idx="686">
                  <c:v>46142</c:v>
                </c:pt>
                <c:pt idx="687">
                  <c:v>46143</c:v>
                </c:pt>
                <c:pt idx="688">
                  <c:v>46146</c:v>
                </c:pt>
                <c:pt idx="689">
                  <c:v>46147</c:v>
                </c:pt>
                <c:pt idx="690">
                  <c:v>46148</c:v>
                </c:pt>
                <c:pt idx="691">
                  <c:v>46149</c:v>
                </c:pt>
                <c:pt idx="692">
                  <c:v>46150</c:v>
                </c:pt>
                <c:pt idx="693">
                  <c:v>46153</c:v>
                </c:pt>
                <c:pt idx="694">
                  <c:v>46154</c:v>
                </c:pt>
                <c:pt idx="695">
                  <c:v>46155</c:v>
                </c:pt>
                <c:pt idx="696">
                  <c:v>46156</c:v>
                </c:pt>
                <c:pt idx="697">
                  <c:v>46157</c:v>
                </c:pt>
                <c:pt idx="698">
                  <c:v>46160</c:v>
                </c:pt>
                <c:pt idx="699">
                  <c:v>46161</c:v>
                </c:pt>
                <c:pt idx="700">
                  <c:v>46162</c:v>
                </c:pt>
                <c:pt idx="701">
                  <c:v>46163</c:v>
                </c:pt>
                <c:pt idx="702">
                  <c:v>46164</c:v>
                </c:pt>
                <c:pt idx="703">
                  <c:v>46167</c:v>
                </c:pt>
                <c:pt idx="704">
                  <c:v>46168</c:v>
                </c:pt>
                <c:pt idx="705">
                  <c:v>46169</c:v>
                </c:pt>
                <c:pt idx="706">
                  <c:v>46170</c:v>
                </c:pt>
                <c:pt idx="707">
                  <c:v>46171</c:v>
                </c:pt>
                <c:pt idx="708">
                  <c:v>46174</c:v>
                </c:pt>
                <c:pt idx="709">
                  <c:v>46175</c:v>
                </c:pt>
                <c:pt idx="710">
                  <c:v>46176</c:v>
                </c:pt>
                <c:pt idx="711">
                  <c:v>46177</c:v>
                </c:pt>
                <c:pt idx="712">
                  <c:v>46178</c:v>
                </c:pt>
                <c:pt idx="713">
                  <c:v>46181</c:v>
                </c:pt>
                <c:pt idx="714">
                  <c:v>46182</c:v>
                </c:pt>
                <c:pt idx="715">
                  <c:v>46183</c:v>
                </c:pt>
                <c:pt idx="716">
                  <c:v>46184</c:v>
                </c:pt>
                <c:pt idx="717">
                  <c:v>46185</c:v>
                </c:pt>
                <c:pt idx="718">
                  <c:v>46188</c:v>
                </c:pt>
                <c:pt idx="719">
                  <c:v>46189</c:v>
                </c:pt>
                <c:pt idx="720">
                  <c:v>46190</c:v>
                </c:pt>
                <c:pt idx="721">
                  <c:v>46191</c:v>
                </c:pt>
                <c:pt idx="722">
                  <c:v>46192</c:v>
                </c:pt>
                <c:pt idx="723">
                  <c:v>46195</c:v>
                </c:pt>
                <c:pt idx="724">
                  <c:v>46196</c:v>
                </c:pt>
                <c:pt idx="725">
                  <c:v>46197</c:v>
                </c:pt>
                <c:pt idx="726">
                  <c:v>46198</c:v>
                </c:pt>
                <c:pt idx="727">
                  <c:v>46199</c:v>
                </c:pt>
                <c:pt idx="728">
                  <c:v>46202</c:v>
                </c:pt>
                <c:pt idx="729">
                  <c:v>46203</c:v>
                </c:pt>
                <c:pt idx="730">
                  <c:v>46204</c:v>
                </c:pt>
                <c:pt idx="731">
                  <c:v>46205</c:v>
                </c:pt>
                <c:pt idx="732">
                  <c:v>46206</c:v>
                </c:pt>
                <c:pt idx="733">
                  <c:v>46209</c:v>
                </c:pt>
                <c:pt idx="734">
                  <c:v>46210</c:v>
                </c:pt>
                <c:pt idx="735">
                  <c:v>46211</c:v>
                </c:pt>
                <c:pt idx="736">
                  <c:v>46212</c:v>
                </c:pt>
                <c:pt idx="737">
                  <c:v>46213</c:v>
                </c:pt>
                <c:pt idx="738">
                  <c:v>46216</c:v>
                </c:pt>
                <c:pt idx="739">
                  <c:v>46217</c:v>
                </c:pt>
                <c:pt idx="740">
                  <c:v>46218</c:v>
                </c:pt>
                <c:pt idx="741">
                  <c:v>46219</c:v>
                </c:pt>
                <c:pt idx="742">
                  <c:v>46220</c:v>
                </c:pt>
                <c:pt idx="743">
                  <c:v>46223</c:v>
                </c:pt>
                <c:pt idx="744">
                  <c:v>46224</c:v>
                </c:pt>
                <c:pt idx="745">
                  <c:v>46225</c:v>
                </c:pt>
                <c:pt idx="746">
                  <c:v>46226</c:v>
                </c:pt>
                <c:pt idx="747">
                  <c:v>46227</c:v>
                </c:pt>
                <c:pt idx="748">
                  <c:v>46230</c:v>
                </c:pt>
                <c:pt idx="749">
                  <c:v>46231</c:v>
                </c:pt>
                <c:pt idx="750">
                  <c:v>46232</c:v>
                </c:pt>
                <c:pt idx="751">
                  <c:v>46233</c:v>
                </c:pt>
                <c:pt idx="752">
                  <c:v>46234</c:v>
                </c:pt>
                <c:pt idx="753">
                  <c:v>46237</c:v>
                </c:pt>
                <c:pt idx="754">
                  <c:v>46238</c:v>
                </c:pt>
                <c:pt idx="755">
                  <c:v>46239</c:v>
                </c:pt>
                <c:pt idx="756">
                  <c:v>46240</c:v>
                </c:pt>
                <c:pt idx="757">
                  <c:v>46241</c:v>
                </c:pt>
                <c:pt idx="758">
                  <c:v>46244</c:v>
                </c:pt>
                <c:pt idx="759">
                  <c:v>46245</c:v>
                </c:pt>
                <c:pt idx="760">
                  <c:v>46246</c:v>
                </c:pt>
                <c:pt idx="761">
                  <c:v>46247</c:v>
                </c:pt>
                <c:pt idx="762">
                  <c:v>46248</c:v>
                </c:pt>
                <c:pt idx="763">
                  <c:v>46251</c:v>
                </c:pt>
                <c:pt idx="764">
                  <c:v>46252</c:v>
                </c:pt>
                <c:pt idx="765">
                  <c:v>46253</c:v>
                </c:pt>
                <c:pt idx="766">
                  <c:v>46254</c:v>
                </c:pt>
                <c:pt idx="767">
                  <c:v>46255</c:v>
                </c:pt>
                <c:pt idx="768">
                  <c:v>46258</c:v>
                </c:pt>
                <c:pt idx="769">
                  <c:v>46259</c:v>
                </c:pt>
                <c:pt idx="770">
                  <c:v>46260</c:v>
                </c:pt>
                <c:pt idx="771">
                  <c:v>46261</c:v>
                </c:pt>
                <c:pt idx="772">
                  <c:v>46262</c:v>
                </c:pt>
                <c:pt idx="773">
                  <c:v>46265</c:v>
                </c:pt>
                <c:pt idx="774">
                  <c:v>46266</c:v>
                </c:pt>
                <c:pt idx="775">
                  <c:v>46267</c:v>
                </c:pt>
                <c:pt idx="776">
                  <c:v>46268</c:v>
                </c:pt>
                <c:pt idx="777">
                  <c:v>46269</c:v>
                </c:pt>
                <c:pt idx="778">
                  <c:v>46272</c:v>
                </c:pt>
                <c:pt idx="779">
                  <c:v>46273</c:v>
                </c:pt>
                <c:pt idx="780">
                  <c:v>46274</c:v>
                </c:pt>
                <c:pt idx="781">
                  <c:v>46275</c:v>
                </c:pt>
                <c:pt idx="782">
                  <c:v>46276</c:v>
                </c:pt>
                <c:pt idx="783">
                  <c:v>46279</c:v>
                </c:pt>
                <c:pt idx="784">
                  <c:v>46280</c:v>
                </c:pt>
                <c:pt idx="785">
                  <c:v>46281</c:v>
                </c:pt>
                <c:pt idx="786">
                  <c:v>46282</c:v>
                </c:pt>
                <c:pt idx="787">
                  <c:v>46283</c:v>
                </c:pt>
                <c:pt idx="788">
                  <c:v>46286</c:v>
                </c:pt>
                <c:pt idx="789">
                  <c:v>46287</c:v>
                </c:pt>
                <c:pt idx="790">
                  <c:v>46288</c:v>
                </c:pt>
                <c:pt idx="791">
                  <c:v>46289</c:v>
                </c:pt>
                <c:pt idx="792">
                  <c:v>46290</c:v>
                </c:pt>
                <c:pt idx="793">
                  <c:v>46293</c:v>
                </c:pt>
                <c:pt idx="794">
                  <c:v>46294</c:v>
                </c:pt>
                <c:pt idx="795">
                  <c:v>46295</c:v>
                </c:pt>
                <c:pt idx="796">
                  <c:v>46296</c:v>
                </c:pt>
                <c:pt idx="797">
                  <c:v>46297</c:v>
                </c:pt>
                <c:pt idx="798">
                  <c:v>46300</c:v>
                </c:pt>
                <c:pt idx="799">
                  <c:v>46301</c:v>
                </c:pt>
                <c:pt idx="800">
                  <c:v>46302</c:v>
                </c:pt>
                <c:pt idx="801">
                  <c:v>46303</c:v>
                </c:pt>
                <c:pt idx="802">
                  <c:v>46304</c:v>
                </c:pt>
                <c:pt idx="803">
                  <c:v>46307</c:v>
                </c:pt>
                <c:pt idx="804">
                  <c:v>46308</c:v>
                </c:pt>
                <c:pt idx="805">
                  <c:v>46309</c:v>
                </c:pt>
                <c:pt idx="806">
                  <c:v>46310</c:v>
                </c:pt>
                <c:pt idx="807">
                  <c:v>46311</c:v>
                </c:pt>
                <c:pt idx="808">
                  <c:v>46314</c:v>
                </c:pt>
                <c:pt idx="809">
                  <c:v>46315</c:v>
                </c:pt>
                <c:pt idx="810">
                  <c:v>46316</c:v>
                </c:pt>
                <c:pt idx="811">
                  <c:v>46317</c:v>
                </c:pt>
                <c:pt idx="812">
                  <c:v>46318</c:v>
                </c:pt>
                <c:pt idx="813">
                  <c:v>46321</c:v>
                </c:pt>
                <c:pt idx="814">
                  <c:v>46322</c:v>
                </c:pt>
                <c:pt idx="815">
                  <c:v>46323</c:v>
                </c:pt>
                <c:pt idx="816">
                  <c:v>46324</c:v>
                </c:pt>
                <c:pt idx="817">
                  <c:v>46325</c:v>
                </c:pt>
                <c:pt idx="818">
                  <c:v>46328</c:v>
                </c:pt>
                <c:pt idx="819">
                  <c:v>46329</c:v>
                </c:pt>
                <c:pt idx="820">
                  <c:v>46330</c:v>
                </c:pt>
                <c:pt idx="821">
                  <c:v>46331</c:v>
                </c:pt>
                <c:pt idx="822">
                  <c:v>46332</c:v>
                </c:pt>
                <c:pt idx="823">
                  <c:v>46335</c:v>
                </c:pt>
                <c:pt idx="824">
                  <c:v>46336</c:v>
                </c:pt>
                <c:pt idx="825">
                  <c:v>46337</c:v>
                </c:pt>
                <c:pt idx="826">
                  <c:v>46338</c:v>
                </c:pt>
                <c:pt idx="827">
                  <c:v>46339</c:v>
                </c:pt>
                <c:pt idx="828">
                  <c:v>46342</c:v>
                </c:pt>
                <c:pt idx="829">
                  <c:v>46343</c:v>
                </c:pt>
                <c:pt idx="830">
                  <c:v>46344</c:v>
                </c:pt>
                <c:pt idx="831">
                  <c:v>46345</c:v>
                </c:pt>
                <c:pt idx="832">
                  <c:v>46346</c:v>
                </c:pt>
                <c:pt idx="833">
                  <c:v>46349</c:v>
                </c:pt>
                <c:pt idx="834">
                  <c:v>46350</c:v>
                </c:pt>
                <c:pt idx="835">
                  <c:v>46351</c:v>
                </c:pt>
                <c:pt idx="836">
                  <c:v>46352</c:v>
                </c:pt>
                <c:pt idx="837">
                  <c:v>46353</c:v>
                </c:pt>
                <c:pt idx="838">
                  <c:v>46356</c:v>
                </c:pt>
                <c:pt idx="839">
                  <c:v>46357</c:v>
                </c:pt>
                <c:pt idx="840">
                  <c:v>46358</c:v>
                </c:pt>
                <c:pt idx="841">
                  <c:v>46359</c:v>
                </c:pt>
                <c:pt idx="842">
                  <c:v>46360</c:v>
                </c:pt>
                <c:pt idx="843">
                  <c:v>46363</c:v>
                </c:pt>
                <c:pt idx="844">
                  <c:v>46364</c:v>
                </c:pt>
                <c:pt idx="845">
                  <c:v>46365</c:v>
                </c:pt>
                <c:pt idx="846">
                  <c:v>46366</c:v>
                </c:pt>
                <c:pt idx="847">
                  <c:v>46367</c:v>
                </c:pt>
                <c:pt idx="848">
                  <c:v>46370</c:v>
                </c:pt>
                <c:pt idx="849">
                  <c:v>46371</c:v>
                </c:pt>
                <c:pt idx="850">
                  <c:v>46372</c:v>
                </c:pt>
                <c:pt idx="851">
                  <c:v>46373</c:v>
                </c:pt>
                <c:pt idx="852">
                  <c:v>46374</c:v>
                </c:pt>
                <c:pt idx="853">
                  <c:v>46377</c:v>
                </c:pt>
                <c:pt idx="854">
                  <c:v>46378</c:v>
                </c:pt>
                <c:pt idx="855">
                  <c:v>46379</c:v>
                </c:pt>
                <c:pt idx="856">
                  <c:v>46380</c:v>
                </c:pt>
                <c:pt idx="857">
                  <c:v>46381</c:v>
                </c:pt>
                <c:pt idx="858">
                  <c:v>46384</c:v>
                </c:pt>
                <c:pt idx="859">
                  <c:v>46385</c:v>
                </c:pt>
                <c:pt idx="860">
                  <c:v>46386</c:v>
                </c:pt>
                <c:pt idx="861">
                  <c:v>46387</c:v>
                </c:pt>
                <c:pt idx="862">
                  <c:v>46388</c:v>
                </c:pt>
                <c:pt idx="863">
                  <c:v>46391</c:v>
                </c:pt>
                <c:pt idx="864">
                  <c:v>46392</c:v>
                </c:pt>
                <c:pt idx="865">
                  <c:v>46393</c:v>
                </c:pt>
                <c:pt idx="866">
                  <c:v>46394</c:v>
                </c:pt>
                <c:pt idx="867">
                  <c:v>46395</c:v>
                </c:pt>
                <c:pt idx="868">
                  <c:v>46398</c:v>
                </c:pt>
                <c:pt idx="869">
                  <c:v>46399</c:v>
                </c:pt>
                <c:pt idx="870">
                  <c:v>46400</c:v>
                </c:pt>
                <c:pt idx="871">
                  <c:v>46401</c:v>
                </c:pt>
                <c:pt idx="872">
                  <c:v>46402</c:v>
                </c:pt>
                <c:pt idx="873">
                  <c:v>46405</c:v>
                </c:pt>
                <c:pt idx="874">
                  <c:v>46406</c:v>
                </c:pt>
                <c:pt idx="875">
                  <c:v>46407</c:v>
                </c:pt>
                <c:pt idx="876">
                  <c:v>46408</c:v>
                </c:pt>
                <c:pt idx="877">
                  <c:v>46409</c:v>
                </c:pt>
                <c:pt idx="878">
                  <c:v>46412</c:v>
                </c:pt>
                <c:pt idx="879">
                  <c:v>46413</c:v>
                </c:pt>
                <c:pt idx="880">
                  <c:v>46414</c:v>
                </c:pt>
                <c:pt idx="881">
                  <c:v>46415</c:v>
                </c:pt>
                <c:pt idx="882">
                  <c:v>46416</c:v>
                </c:pt>
                <c:pt idx="883">
                  <c:v>46419</c:v>
                </c:pt>
                <c:pt idx="884">
                  <c:v>46420</c:v>
                </c:pt>
                <c:pt idx="885">
                  <c:v>46421</c:v>
                </c:pt>
                <c:pt idx="886">
                  <c:v>46422</c:v>
                </c:pt>
                <c:pt idx="887">
                  <c:v>46423</c:v>
                </c:pt>
                <c:pt idx="888">
                  <c:v>46426</c:v>
                </c:pt>
                <c:pt idx="889">
                  <c:v>46427</c:v>
                </c:pt>
                <c:pt idx="890">
                  <c:v>46428</c:v>
                </c:pt>
                <c:pt idx="891">
                  <c:v>46429</c:v>
                </c:pt>
                <c:pt idx="892">
                  <c:v>46430</c:v>
                </c:pt>
                <c:pt idx="893">
                  <c:v>46433</c:v>
                </c:pt>
                <c:pt idx="894">
                  <c:v>46434</c:v>
                </c:pt>
                <c:pt idx="895">
                  <c:v>46435</c:v>
                </c:pt>
                <c:pt idx="896">
                  <c:v>46436</c:v>
                </c:pt>
                <c:pt idx="897">
                  <c:v>46437</c:v>
                </c:pt>
                <c:pt idx="898">
                  <c:v>46440</c:v>
                </c:pt>
                <c:pt idx="899">
                  <c:v>46441</c:v>
                </c:pt>
                <c:pt idx="900">
                  <c:v>46442</c:v>
                </c:pt>
                <c:pt idx="901">
                  <c:v>46443</c:v>
                </c:pt>
                <c:pt idx="902">
                  <c:v>46444</c:v>
                </c:pt>
                <c:pt idx="903">
                  <c:v>46447</c:v>
                </c:pt>
                <c:pt idx="904">
                  <c:v>46448</c:v>
                </c:pt>
                <c:pt idx="905">
                  <c:v>46449</c:v>
                </c:pt>
                <c:pt idx="906">
                  <c:v>46450</c:v>
                </c:pt>
                <c:pt idx="907">
                  <c:v>46451</c:v>
                </c:pt>
                <c:pt idx="908">
                  <c:v>46454</c:v>
                </c:pt>
                <c:pt idx="909">
                  <c:v>46455</c:v>
                </c:pt>
                <c:pt idx="910">
                  <c:v>46456</c:v>
                </c:pt>
                <c:pt idx="911">
                  <c:v>46457</c:v>
                </c:pt>
                <c:pt idx="912">
                  <c:v>46458</c:v>
                </c:pt>
                <c:pt idx="913">
                  <c:v>46461</c:v>
                </c:pt>
                <c:pt idx="914">
                  <c:v>46462</c:v>
                </c:pt>
                <c:pt idx="915">
                  <c:v>46463</c:v>
                </c:pt>
                <c:pt idx="916">
                  <c:v>46464</c:v>
                </c:pt>
                <c:pt idx="917">
                  <c:v>46465</c:v>
                </c:pt>
                <c:pt idx="918">
                  <c:v>46468</c:v>
                </c:pt>
                <c:pt idx="919">
                  <c:v>46469</c:v>
                </c:pt>
                <c:pt idx="920">
                  <c:v>46470</c:v>
                </c:pt>
                <c:pt idx="921">
                  <c:v>46471</c:v>
                </c:pt>
                <c:pt idx="922">
                  <c:v>46472</c:v>
                </c:pt>
                <c:pt idx="923">
                  <c:v>46475</c:v>
                </c:pt>
                <c:pt idx="924">
                  <c:v>46476</c:v>
                </c:pt>
                <c:pt idx="925">
                  <c:v>46477</c:v>
                </c:pt>
                <c:pt idx="926">
                  <c:v>46478</c:v>
                </c:pt>
                <c:pt idx="927">
                  <c:v>46479</c:v>
                </c:pt>
                <c:pt idx="928">
                  <c:v>46482</c:v>
                </c:pt>
                <c:pt idx="929">
                  <c:v>46483</c:v>
                </c:pt>
                <c:pt idx="930">
                  <c:v>46484</c:v>
                </c:pt>
                <c:pt idx="931">
                  <c:v>46485</c:v>
                </c:pt>
                <c:pt idx="932">
                  <c:v>46486</c:v>
                </c:pt>
                <c:pt idx="933">
                  <c:v>46489</c:v>
                </c:pt>
                <c:pt idx="934">
                  <c:v>46490</c:v>
                </c:pt>
                <c:pt idx="935">
                  <c:v>46491</c:v>
                </c:pt>
                <c:pt idx="936">
                  <c:v>46492</c:v>
                </c:pt>
                <c:pt idx="937">
                  <c:v>46493</c:v>
                </c:pt>
                <c:pt idx="938">
                  <c:v>46496</c:v>
                </c:pt>
                <c:pt idx="939">
                  <c:v>46497</c:v>
                </c:pt>
                <c:pt idx="940">
                  <c:v>46498</c:v>
                </c:pt>
                <c:pt idx="941">
                  <c:v>46499</c:v>
                </c:pt>
                <c:pt idx="942">
                  <c:v>46500</c:v>
                </c:pt>
                <c:pt idx="943">
                  <c:v>46503</c:v>
                </c:pt>
                <c:pt idx="944">
                  <c:v>46504</c:v>
                </c:pt>
                <c:pt idx="945">
                  <c:v>46505</c:v>
                </c:pt>
                <c:pt idx="946">
                  <c:v>46506</c:v>
                </c:pt>
                <c:pt idx="947">
                  <c:v>46507</c:v>
                </c:pt>
                <c:pt idx="948">
                  <c:v>46510</c:v>
                </c:pt>
                <c:pt idx="949">
                  <c:v>46511</c:v>
                </c:pt>
                <c:pt idx="950">
                  <c:v>46512</c:v>
                </c:pt>
                <c:pt idx="951">
                  <c:v>46513</c:v>
                </c:pt>
                <c:pt idx="952">
                  <c:v>46514</c:v>
                </c:pt>
                <c:pt idx="953">
                  <c:v>46517</c:v>
                </c:pt>
                <c:pt idx="954">
                  <c:v>46518</c:v>
                </c:pt>
                <c:pt idx="955">
                  <c:v>46519</c:v>
                </c:pt>
                <c:pt idx="956">
                  <c:v>46520</c:v>
                </c:pt>
                <c:pt idx="957">
                  <c:v>46521</c:v>
                </c:pt>
                <c:pt idx="958">
                  <c:v>46524</c:v>
                </c:pt>
                <c:pt idx="959">
                  <c:v>46525</c:v>
                </c:pt>
                <c:pt idx="960">
                  <c:v>46526</c:v>
                </c:pt>
                <c:pt idx="961">
                  <c:v>46527</c:v>
                </c:pt>
                <c:pt idx="962">
                  <c:v>46528</c:v>
                </c:pt>
                <c:pt idx="963">
                  <c:v>46531</c:v>
                </c:pt>
                <c:pt idx="964">
                  <c:v>46532</c:v>
                </c:pt>
                <c:pt idx="965">
                  <c:v>46533</c:v>
                </c:pt>
                <c:pt idx="966">
                  <c:v>46534</c:v>
                </c:pt>
                <c:pt idx="967">
                  <c:v>46535</c:v>
                </c:pt>
                <c:pt idx="968">
                  <c:v>46538</c:v>
                </c:pt>
                <c:pt idx="969">
                  <c:v>46539</c:v>
                </c:pt>
                <c:pt idx="970">
                  <c:v>46540</c:v>
                </c:pt>
                <c:pt idx="971">
                  <c:v>46541</c:v>
                </c:pt>
                <c:pt idx="972">
                  <c:v>46542</c:v>
                </c:pt>
                <c:pt idx="973">
                  <c:v>46545</c:v>
                </c:pt>
                <c:pt idx="974">
                  <c:v>46546</c:v>
                </c:pt>
                <c:pt idx="975">
                  <c:v>46547</c:v>
                </c:pt>
                <c:pt idx="976">
                  <c:v>46548</c:v>
                </c:pt>
                <c:pt idx="977">
                  <c:v>46549</c:v>
                </c:pt>
                <c:pt idx="978">
                  <c:v>46552</c:v>
                </c:pt>
                <c:pt idx="979">
                  <c:v>46553</c:v>
                </c:pt>
                <c:pt idx="980">
                  <c:v>46554</c:v>
                </c:pt>
                <c:pt idx="981">
                  <c:v>46555</c:v>
                </c:pt>
                <c:pt idx="982">
                  <c:v>46556</c:v>
                </c:pt>
                <c:pt idx="983">
                  <c:v>46559</c:v>
                </c:pt>
                <c:pt idx="984">
                  <c:v>46560</c:v>
                </c:pt>
                <c:pt idx="985">
                  <c:v>46561</c:v>
                </c:pt>
                <c:pt idx="986">
                  <c:v>46562</c:v>
                </c:pt>
                <c:pt idx="987">
                  <c:v>46563</c:v>
                </c:pt>
                <c:pt idx="988">
                  <c:v>46566</c:v>
                </c:pt>
                <c:pt idx="989">
                  <c:v>46567</c:v>
                </c:pt>
                <c:pt idx="990">
                  <c:v>46568</c:v>
                </c:pt>
                <c:pt idx="991">
                  <c:v>46569</c:v>
                </c:pt>
                <c:pt idx="992">
                  <c:v>46570</c:v>
                </c:pt>
                <c:pt idx="993">
                  <c:v>46573</c:v>
                </c:pt>
                <c:pt idx="994">
                  <c:v>46574</c:v>
                </c:pt>
                <c:pt idx="995">
                  <c:v>46575</c:v>
                </c:pt>
                <c:pt idx="996">
                  <c:v>46576</c:v>
                </c:pt>
                <c:pt idx="997">
                  <c:v>46577</c:v>
                </c:pt>
                <c:pt idx="998">
                  <c:v>46580</c:v>
                </c:pt>
              </c:numCache>
            </c:numRef>
          </c:cat>
          <c:val>
            <c:numRef>
              <c:f>Daily!$Y$2:$Y$1057</c:f>
            </c:numRef>
          </c:val>
          <c:smooth val="0"/>
          <c:extLst>
            <c:ext xmlns:c16="http://schemas.microsoft.com/office/drawing/2014/chart" uri="{C3380CC4-5D6E-409C-BE32-E72D297353CC}">
              <c16:uniqueId val="{0000001A-094D-4E29-B010-D717A2A1A293}"/>
            </c:ext>
          </c:extLst>
        </c:ser>
        <c:ser>
          <c:idx val="21"/>
          <c:order val="21"/>
          <c:tx>
            <c:strRef>
              <c:f>Daily!$Z$1</c:f>
              <c:strCache>
                <c:ptCount val="1"/>
                <c:pt idx="0">
                  <c:v>M+8</c:v>
                </c:pt>
              </c:strCache>
            </c:strRef>
          </c:tx>
          <c:spPr>
            <a:ln w="28575" cap="rnd" cmpd="sng" algn="ctr">
              <a:solidFill>
                <a:schemeClr val="accent4">
                  <a:lumMod val="80000"/>
                  <a:shade val="95000"/>
                  <a:satMod val="105000"/>
                </a:schemeClr>
              </a:solidFill>
              <a:prstDash val="solid"/>
              <a:round/>
            </a:ln>
            <a:effectLst/>
          </c:spPr>
          <c:marker>
            <c:symbol val="none"/>
          </c:marker>
          <c:cat>
            <c:numRef>
              <c:f>Daily!$A$2:$A$1000</c:f>
              <c:numCache>
                <c:formatCode>d\-mmm\-yy</c:formatCode>
                <c:ptCount val="999"/>
                <c:pt idx="0">
                  <c:v>45128</c:v>
                </c:pt>
                <c:pt idx="1">
                  <c:v>45131</c:v>
                </c:pt>
                <c:pt idx="2">
                  <c:v>45132</c:v>
                </c:pt>
                <c:pt idx="3">
                  <c:v>45133</c:v>
                </c:pt>
                <c:pt idx="4">
                  <c:v>45134</c:v>
                </c:pt>
                <c:pt idx="5">
                  <c:v>45135</c:v>
                </c:pt>
                <c:pt idx="6">
                  <c:v>45138</c:v>
                </c:pt>
                <c:pt idx="7">
                  <c:v>45139</c:v>
                </c:pt>
                <c:pt idx="8">
                  <c:v>45140</c:v>
                </c:pt>
                <c:pt idx="9">
                  <c:v>45141</c:v>
                </c:pt>
                <c:pt idx="10">
                  <c:v>45142</c:v>
                </c:pt>
                <c:pt idx="11">
                  <c:v>45145</c:v>
                </c:pt>
                <c:pt idx="12">
                  <c:v>45146</c:v>
                </c:pt>
                <c:pt idx="13">
                  <c:v>45147</c:v>
                </c:pt>
                <c:pt idx="14">
                  <c:v>45148</c:v>
                </c:pt>
                <c:pt idx="15">
                  <c:v>45149</c:v>
                </c:pt>
                <c:pt idx="16">
                  <c:v>45152</c:v>
                </c:pt>
                <c:pt idx="17">
                  <c:v>45153</c:v>
                </c:pt>
                <c:pt idx="18">
                  <c:v>45154</c:v>
                </c:pt>
                <c:pt idx="19">
                  <c:v>45155</c:v>
                </c:pt>
                <c:pt idx="20">
                  <c:v>45156</c:v>
                </c:pt>
                <c:pt idx="21">
                  <c:v>45159</c:v>
                </c:pt>
                <c:pt idx="22">
                  <c:v>45160</c:v>
                </c:pt>
                <c:pt idx="23">
                  <c:v>45161</c:v>
                </c:pt>
                <c:pt idx="24">
                  <c:v>45162</c:v>
                </c:pt>
                <c:pt idx="25">
                  <c:v>45163</c:v>
                </c:pt>
                <c:pt idx="26">
                  <c:v>45166</c:v>
                </c:pt>
                <c:pt idx="27">
                  <c:v>45167</c:v>
                </c:pt>
                <c:pt idx="28">
                  <c:v>45168</c:v>
                </c:pt>
                <c:pt idx="29">
                  <c:v>45169</c:v>
                </c:pt>
                <c:pt idx="30">
                  <c:v>45170</c:v>
                </c:pt>
                <c:pt idx="31">
                  <c:v>45173</c:v>
                </c:pt>
                <c:pt idx="32">
                  <c:v>45174</c:v>
                </c:pt>
                <c:pt idx="33">
                  <c:v>45175</c:v>
                </c:pt>
                <c:pt idx="34">
                  <c:v>45176</c:v>
                </c:pt>
                <c:pt idx="35">
                  <c:v>45177</c:v>
                </c:pt>
                <c:pt idx="36">
                  <c:v>45180</c:v>
                </c:pt>
                <c:pt idx="37">
                  <c:v>45181</c:v>
                </c:pt>
                <c:pt idx="38">
                  <c:v>45182</c:v>
                </c:pt>
                <c:pt idx="39">
                  <c:v>45183</c:v>
                </c:pt>
                <c:pt idx="40">
                  <c:v>45184</c:v>
                </c:pt>
                <c:pt idx="41">
                  <c:v>45187</c:v>
                </c:pt>
                <c:pt idx="42">
                  <c:v>45188</c:v>
                </c:pt>
                <c:pt idx="43">
                  <c:v>45189</c:v>
                </c:pt>
                <c:pt idx="44">
                  <c:v>45190</c:v>
                </c:pt>
                <c:pt idx="45">
                  <c:v>45191</c:v>
                </c:pt>
                <c:pt idx="46">
                  <c:v>45194</c:v>
                </c:pt>
                <c:pt idx="47">
                  <c:v>45195</c:v>
                </c:pt>
                <c:pt idx="48">
                  <c:v>45196</c:v>
                </c:pt>
                <c:pt idx="49">
                  <c:v>45197</c:v>
                </c:pt>
                <c:pt idx="50">
                  <c:v>45208</c:v>
                </c:pt>
                <c:pt idx="51">
                  <c:v>45209</c:v>
                </c:pt>
                <c:pt idx="52">
                  <c:v>45210</c:v>
                </c:pt>
                <c:pt idx="53">
                  <c:v>45211</c:v>
                </c:pt>
                <c:pt idx="54">
                  <c:v>45212</c:v>
                </c:pt>
                <c:pt idx="55">
                  <c:v>45215</c:v>
                </c:pt>
                <c:pt idx="56">
                  <c:v>45216</c:v>
                </c:pt>
                <c:pt idx="57">
                  <c:v>45217</c:v>
                </c:pt>
                <c:pt idx="58">
                  <c:v>45218</c:v>
                </c:pt>
                <c:pt idx="59">
                  <c:v>45219</c:v>
                </c:pt>
                <c:pt idx="60">
                  <c:v>45222</c:v>
                </c:pt>
                <c:pt idx="61">
                  <c:v>45223</c:v>
                </c:pt>
                <c:pt idx="62">
                  <c:v>45224</c:v>
                </c:pt>
                <c:pt idx="63">
                  <c:v>45225</c:v>
                </c:pt>
                <c:pt idx="64">
                  <c:v>45226</c:v>
                </c:pt>
                <c:pt idx="65">
                  <c:v>45229</c:v>
                </c:pt>
                <c:pt idx="66">
                  <c:v>45230</c:v>
                </c:pt>
                <c:pt idx="67">
                  <c:v>45231</c:v>
                </c:pt>
                <c:pt idx="68">
                  <c:v>45232</c:v>
                </c:pt>
                <c:pt idx="69">
                  <c:v>45233</c:v>
                </c:pt>
                <c:pt idx="70">
                  <c:v>45236</c:v>
                </c:pt>
                <c:pt idx="71">
                  <c:v>45237</c:v>
                </c:pt>
                <c:pt idx="72">
                  <c:v>45238</c:v>
                </c:pt>
                <c:pt idx="73">
                  <c:v>45239</c:v>
                </c:pt>
                <c:pt idx="74">
                  <c:v>45240</c:v>
                </c:pt>
                <c:pt idx="75">
                  <c:v>45243</c:v>
                </c:pt>
                <c:pt idx="76">
                  <c:v>45244</c:v>
                </c:pt>
                <c:pt idx="77">
                  <c:v>45245</c:v>
                </c:pt>
                <c:pt idx="78">
                  <c:v>45246</c:v>
                </c:pt>
                <c:pt idx="79">
                  <c:v>45247</c:v>
                </c:pt>
                <c:pt idx="80">
                  <c:v>45250</c:v>
                </c:pt>
                <c:pt idx="81">
                  <c:v>45251</c:v>
                </c:pt>
                <c:pt idx="82">
                  <c:v>45252</c:v>
                </c:pt>
                <c:pt idx="83">
                  <c:v>45253</c:v>
                </c:pt>
                <c:pt idx="84">
                  <c:v>45254</c:v>
                </c:pt>
                <c:pt idx="85">
                  <c:v>45257</c:v>
                </c:pt>
                <c:pt idx="86">
                  <c:v>45258</c:v>
                </c:pt>
                <c:pt idx="87">
                  <c:v>45259</c:v>
                </c:pt>
                <c:pt idx="88">
                  <c:v>45260</c:v>
                </c:pt>
                <c:pt idx="89">
                  <c:v>45261</c:v>
                </c:pt>
                <c:pt idx="90">
                  <c:v>45264</c:v>
                </c:pt>
                <c:pt idx="91">
                  <c:v>45265</c:v>
                </c:pt>
                <c:pt idx="92">
                  <c:v>45266</c:v>
                </c:pt>
                <c:pt idx="93">
                  <c:v>45267</c:v>
                </c:pt>
                <c:pt idx="94">
                  <c:v>45268</c:v>
                </c:pt>
                <c:pt idx="95">
                  <c:v>45271</c:v>
                </c:pt>
                <c:pt idx="96">
                  <c:v>45272</c:v>
                </c:pt>
                <c:pt idx="97">
                  <c:v>45273</c:v>
                </c:pt>
                <c:pt idx="98">
                  <c:v>45274</c:v>
                </c:pt>
                <c:pt idx="99">
                  <c:v>45275</c:v>
                </c:pt>
                <c:pt idx="100">
                  <c:v>45278</c:v>
                </c:pt>
                <c:pt idx="101">
                  <c:v>45279</c:v>
                </c:pt>
                <c:pt idx="102">
                  <c:v>45280</c:v>
                </c:pt>
                <c:pt idx="103">
                  <c:v>45281</c:v>
                </c:pt>
                <c:pt idx="104">
                  <c:v>45282</c:v>
                </c:pt>
                <c:pt idx="105">
                  <c:v>45285</c:v>
                </c:pt>
                <c:pt idx="106">
                  <c:v>45286</c:v>
                </c:pt>
                <c:pt idx="107">
                  <c:v>45287</c:v>
                </c:pt>
                <c:pt idx="108">
                  <c:v>45288</c:v>
                </c:pt>
                <c:pt idx="109">
                  <c:v>45289</c:v>
                </c:pt>
                <c:pt idx="110">
                  <c:v>45293</c:v>
                </c:pt>
                <c:pt idx="111">
                  <c:v>45294</c:v>
                </c:pt>
                <c:pt idx="112">
                  <c:v>45295</c:v>
                </c:pt>
                <c:pt idx="113">
                  <c:v>45296</c:v>
                </c:pt>
                <c:pt idx="114">
                  <c:v>45299</c:v>
                </c:pt>
                <c:pt idx="115">
                  <c:v>45300</c:v>
                </c:pt>
                <c:pt idx="116">
                  <c:v>45301</c:v>
                </c:pt>
                <c:pt idx="117">
                  <c:v>45302</c:v>
                </c:pt>
                <c:pt idx="118">
                  <c:v>45303</c:v>
                </c:pt>
                <c:pt idx="119">
                  <c:v>45306</c:v>
                </c:pt>
                <c:pt idx="120">
                  <c:v>45307</c:v>
                </c:pt>
                <c:pt idx="121">
                  <c:v>45308</c:v>
                </c:pt>
                <c:pt idx="122">
                  <c:v>45309</c:v>
                </c:pt>
                <c:pt idx="123">
                  <c:v>45310</c:v>
                </c:pt>
                <c:pt idx="124">
                  <c:v>45313</c:v>
                </c:pt>
                <c:pt idx="125">
                  <c:v>45314</c:v>
                </c:pt>
                <c:pt idx="126">
                  <c:v>45315</c:v>
                </c:pt>
                <c:pt idx="127">
                  <c:v>45316</c:v>
                </c:pt>
                <c:pt idx="128">
                  <c:v>45317</c:v>
                </c:pt>
                <c:pt idx="129">
                  <c:v>45320</c:v>
                </c:pt>
                <c:pt idx="130">
                  <c:v>45321</c:v>
                </c:pt>
                <c:pt idx="131">
                  <c:v>45322</c:v>
                </c:pt>
                <c:pt idx="132">
                  <c:v>45323</c:v>
                </c:pt>
                <c:pt idx="133">
                  <c:v>45324</c:v>
                </c:pt>
                <c:pt idx="134">
                  <c:v>45327</c:v>
                </c:pt>
                <c:pt idx="135">
                  <c:v>45328</c:v>
                </c:pt>
                <c:pt idx="136">
                  <c:v>45329</c:v>
                </c:pt>
                <c:pt idx="137">
                  <c:v>45330</c:v>
                </c:pt>
                <c:pt idx="138">
                  <c:v>45341</c:v>
                </c:pt>
                <c:pt idx="139">
                  <c:v>45342</c:v>
                </c:pt>
                <c:pt idx="140">
                  <c:v>45343</c:v>
                </c:pt>
                <c:pt idx="141">
                  <c:v>45344</c:v>
                </c:pt>
                <c:pt idx="142">
                  <c:v>45345</c:v>
                </c:pt>
                <c:pt idx="143">
                  <c:v>45348</c:v>
                </c:pt>
                <c:pt idx="144">
                  <c:v>45349</c:v>
                </c:pt>
                <c:pt idx="145">
                  <c:v>45350</c:v>
                </c:pt>
                <c:pt idx="146">
                  <c:v>45351</c:v>
                </c:pt>
                <c:pt idx="147">
                  <c:v>45352</c:v>
                </c:pt>
                <c:pt idx="148">
                  <c:v>45355</c:v>
                </c:pt>
                <c:pt idx="149">
                  <c:v>45356</c:v>
                </c:pt>
                <c:pt idx="150">
                  <c:v>45357</c:v>
                </c:pt>
                <c:pt idx="151">
                  <c:v>45358</c:v>
                </c:pt>
                <c:pt idx="152">
                  <c:v>45359</c:v>
                </c:pt>
                <c:pt idx="153">
                  <c:v>45362</c:v>
                </c:pt>
                <c:pt idx="154">
                  <c:v>45363</c:v>
                </c:pt>
                <c:pt idx="155">
                  <c:v>45364</c:v>
                </c:pt>
                <c:pt idx="156">
                  <c:v>45365</c:v>
                </c:pt>
                <c:pt idx="157">
                  <c:v>45366</c:v>
                </c:pt>
                <c:pt idx="158">
                  <c:v>45369</c:v>
                </c:pt>
                <c:pt idx="159">
                  <c:v>45370</c:v>
                </c:pt>
                <c:pt idx="160">
                  <c:v>45371</c:v>
                </c:pt>
                <c:pt idx="161">
                  <c:v>45372</c:v>
                </c:pt>
                <c:pt idx="162">
                  <c:v>45373</c:v>
                </c:pt>
                <c:pt idx="163">
                  <c:v>45376</c:v>
                </c:pt>
                <c:pt idx="164">
                  <c:v>45377</c:v>
                </c:pt>
                <c:pt idx="165">
                  <c:v>45378</c:v>
                </c:pt>
                <c:pt idx="166">
                  <c:v>45379</c:v>
                </c:pt>
                <c:pt idx="167">
                  <c:v>45380</c:v>
                </c:pt>
                <c:pt idx="168">
                  <c:v>45383</c:v>
                </c:pt>
                <c:pt idx="169">
                  <c:v>45384</c:v>
                </c:pt>
                <c:pt idx="170">
                  <c:v>45385</c:v>
                </c:pt>
                <c:pt idx="171">
                  <c:v>45390</c:v>
                </c:pt>
                <c:pt idx="172">
                  <c:v>45391</c:v>
                </c:pt>
                <c:pt idx="173">
                  <c:v>45392</c:v>
                </c:pt>
                <c:pt idx="174">
                  <c:v>45393</c:v>
                </c:pt>
                <c:pt idx="175">
                  <c:v>45394</c:v>
                </c:pt>
                <c:pt idx="176">
                  <c:v>45397</c:v>
                </c:pt>
                <c:pt idx="177">
                  <c:v>45398</c:v>
                </c:pt>
                <c:pt idx="178">
                  <c:v>45399</c:v>
                </c:pt>
                <c:pt idx="179">
                  <c:v>45400</c:v>
                </c:pt>
                <c:pt idx="180">
                  <c:v>45401</c:v>
                </c:pt>
                <c:pt idx="181">
                  <c:v>45404</c:v>
                </c:pt>
                <c:pt idx="182">
                  <c:v>45405</c:v>
                </c:pt>
                <c:pt idx="183">
                  <c:v>45406</c:v>
                </c:pt>
                <c:pt idx="184">
                  <c:v>45407</c:v>
                </c:pt>
                <c:pt idx="185">
                  <c:v>45408</c:v>
                </c:pt>
                <c:pt idx="186">
                  <c:v>45411</c:v>
                </c:pt>
                <c:pt idx="187">
                  <c:v>45412</c:v>
                </c:pt>
                <c:pt idx="188">
                  <c:v>45418</c:v>
                </c:pt>
                <c:pt idx="189">
                  <c:v>45419</c:v>
                </c:pt>
                <c:pt idx="190">
                  <c:v>45420</c:v>
                </c:pt>
                <c:pt idx="191">
                  <c:v>45421</c:v>
                </c:pt>
                <c:pt idx="192">
                  <c:v>45422</c:v>
                </c:pt>
                <c:pt idx="193">
                  <c:v>45425</c:v>
                </c:pt>
                <c:pt idx="194">
                  <c:v>45426</c:v>
                </c:pt>
                <c:pt idx="195">
                  <c:v>45427</c:v>
                </c:pt>
                <c:pt idx="196">
                  <c:v>45428</c:v>
                </c:pt>
                <c:pt idx="197">
                  <c:v>45429</c:v>
                </c:pt>
                <c:pt idx="198">
                  <c:v>45432</c:v>
                </c:pt>
                <c:pt idx="199">
                  <c:v>45433</c:v>
                </c:pt>
                <c:pt idx="200">
                  <c:v>45434</c:v>
                </c:pt>
                <c:pt idx="201">
                  <c:v>45435</c:v>
                </c:pt>
                <c:pt idx="202">
                  <c:v>45436</c:v>
                </c:pt>
                <c:pt idx="203">
                  <c:v>45439</c:v>
                </c:pt>
                <c:pt idx="204">
                  <c:v>45440</c:v>
                </c:pt>
                <c:pt idx="205">
                  <c:v>45441</c:v>
                </c:pt>
                <c:pt idx="206">
                  <c:v>45442</c:v>
                </c:pt>
                <c:pt idx="207">
                  <c:v>45443</c:v>
                </c:pt>
                <c:pt idx="208">
                  <c:v>45446</c:v>
                </c:pt>
                <c:pt idx="209">
                  <c:v>45447</c:v>
                </c:pt>
                <c:pt idx="210">
                  <c:v>45448</c:v>
                </c:pt>
                <c:pt idx="211">
                  <c:v>45449</c:v>
                </c:pt>
                <c:pt idx="212">
                  <c:v>45450</c:v>
                </c:pt>
                <c:pt idx="213">
                  <c:v>45454</c:v>
                </c:pt>
                <c:pt idx="214">
                  <c:v>45455</c:v>
                </c:pt>
                <c:pt idx="215">
                  <c:v>45456</c:v>
                </c:pt>
                <c:pt idx="216">
                  <c:v>45457</c:v>
                </c:pt>
                <c:pt idx="217">
                  <c:v>45460</c:v>
                </c:pt>
                <c:pt idx="218">
                  <c:v>45461</c:v>
                </c:pt>
                <c:pt idx="219">
                  <c:v>45462</c:v>
                </c:pt>
                <c:pt idx="220">
                  <c:v>45463</c:v>
                </c:pt>
                <c:pt idx="221">
                  <c:v>45464</c:v>
                </c:pt>
                <c:pt idx="222">
                  <c:v>45467</c:v>
                </c:pt>
                <c:pt idx="223">
                  <c:v>45468</c:v>
                </c:pt>
                <c:pt idx="224">
                  <c:v>45469</c:v>
                </c:pt>
                <c:pt idx="225">
                  <c:v>45470</c:v>
                </c:pt>
                <c:pt idx="226">
                  <c:v>45471</c:v>
                </c:pt>
                <c:pt idx="227">
                  <c:v>45474</c:v>
                </c:pt>
                <c:pt idx="228">
                  <c:v>45475</c:v>
                </c:pt>
                <c:pt idx="229">
                  <c:v>45476</c:v>
                </c:pt>
                <c:pt idx="230">
                  <c:v>45477</c:v>
                </c:pt>
                <c:pt idx="231">
                  <c:v>45478</c:v>
                </c:pt>
                <c:pt idx="232">
                  <c:v>45481</c:v>
                </c:pt>
                <c:pt idx="233">
                  <c:v>45482</c:v>
                </c:pt>
                <c:pt idx="234">
                  <c:v>45483</c:v>
                </c:pt>
                <c:pt idx="235">
                  <c:v>45484</c:v>
                </c:pt>
                <c:pt idx="236">
                  <c:v>45485</c:v>
                </c:pt>
                <c:pt idx="237">
                  <c:v>45488</c:v>
                </c:pt>
                <c:pt idx="238">
                  <c:v>45489</c:v>
                </c:pt>
                <c:pt idx="239">
                  <c:v>45490</c:v>
                </c:pt>
                <c:pt idx="240">
                  <c:v>45491</c:v>
                </c:pt>
                <c:pt idx="241">
                  <c:v>45492</c:v>
                </c:pt>
                <c:pt idx="242">
                  <c:v>45495</c:v>
                </c:pt>
                <c:pt idx="243">
                  <c:v>45496</c:v>
                </c:pt>
                <c:pt idx="244">
                  <c:v>45497</c:v>
                </c:pt>
                <c:pt idx="245">
                  <c:v>45498</c:v>
                </c:pt>
                <c:pt idx="246">
                  <c:v>45499</c:v>
                </c:pt>
                <c:pt idx="247">
                  <c:v>45502</c:v>
                </c:pt>
                <c:pt idx="248">
                  <c:v>45503</c:v>
                </c:pt>
                <c:pt idx="249">
                  <c:v>45504</c:v>
                </c:pt>
                <c:pt idx="250">
                  <c:v>45505</c:v>
                </c:pt>
                <c:pt idx="251">
                  <c:v>45506</c:v>
                </c:pt>
                <c:pt idx="252">
                  <c:v>45509</c:v>
                </c:pt>
                <c:pt idx="253">
                  <c:v>45510</c:v>
                </c:pt>
                <c:pt idx="254">
                  <c:v>45511</c:v>
                </c:pt>
                <c:pt idx="255">
                  <c:v>45512</c:v>
                </c:pt>
                <c:pt idx="256">
                  <c:v>45513</c:v>
                </c:pt>
                <c:pt idx="257">
                  <c:v>45516</c:v>
                </c:pt>
                <c:pt idx="258">
                  <c:v>45517</c:v>
                </c:pt>
                <c:pt idx="259">
                  <c:v>45518</c:v>
                </c:pt>
                <c:pt idx="260">
                  <c:v>45519</c:v>
                </c:pt>
                <c:pt idx="261">
                  <c:v>45520</c:v>
                </c:pt>
                <c:pt idx="262">
                  <c:v>45523</c:v>
                </c:pt>
                <c:pt idx="263">
                  <c:v>45524</c:v>
                </c:pt>
                <c:pt idx="264">
                  <c:v>45525</c:v>
                </c:pt>
                <c:pt idx="265">
                  <c:v>45526</c:v>
                </c:pt>
                <c:pt idx="266">
                  <c:v>45527</c:v>
                </c:pt>
                <c:pt idx="267">
                  <c:v>45530</c:v>
                </c:pt>
                <c:pt idx="268">
                  <c:v>45531</c:v>
                </c:pt>
                <c:pt idx="269">
                  <c:v>45532</c:v>
                </c:pt>
                <c:pt idx="270">
                  <c:v>45533</c:v>
                </c:pt>
                <c:pt idx="271">
                  <c:v>45534</c:v>
                </c:pt>
                <c:pt idx="272">
                  <c:v>45537</c:v>
                </c:pt>
                <c:pt idx="273">
                  <c:v>45538</c:v>
                </c:pt>
                <c:pt idx="274">
                  <c:v>45539</c:v>
                </c:pt>
                <c:pt idx="275">
                  <c:v>45540</c:v>
                </c:pt>
                <c:pt idx="276">
                  <c:v>45541</c:v>
                </c:pt>
                <c:pt idx="277">
                  <c:v>45544</c:v>
                </c:pt>
                <c:pt idx="278">
                  <c:v>45545</c:v>
                </c:pt>
                <c:pt idx="279">
                  <c:v>45546</c:v>
                </c:pt>
                <c:pt idx="280">
                  <c:v>45547</c:v>
                </c:pt>
                <c:pt idx="281">
                  <c:v>45548</c:v>
                </c:pt>
                <c:pt idx="282">
                  <c:v>45553</c:v>
                </c:pt>
                <c:pt idx="283">
                  <c:v>45554</c:v>
                </c:pt>
                <c:pt idx="284">
                  <c:v>45555</c:v>
                </c:pt>
                <c:pt idx="285">
                  <c:v>45558</c:v>
                </c:pt>
                <c:pt idx="286">
                  <c:v>45559</c:v>
                </c:pt>
                <c:pt idx="287">
                  <c:v>45560</c:v>
                </c:pt>
                <c:pt idx="288">
                  <c:v>45561</c:v>
                </c:pt>
                <c:pt idx="289">
                  <c:v>45562</c:v>
                </c:pt>
                <c:pt idx="290">
                  <c:v>45565</c:v>
                </c:pt>
                <c:pt idx="291">
                  <c:v>45573</c:v>
                </c:pt>
                <c:pt idx="292">
                  <c:v>45574</c:v>
                </c:pt>
                <c:pt idx="293">
                  <c:v>45575</c:v>
                </c:pt>
                <c:pt idx="294">
                  <c:v>45576</c:v>
                </c:pt>
                <c:pt idx="295">
                  <c:v>45579</c:v>
                </c:pt>
                <c:pt idx="296">
                  <c:v>45580</c:v>
                </c:pt>
                <c:pt idx="297">
                  <c:v>45581</c:v>
                </c:pt>
                <c:pt idx="298">
                  <c:v>45582</c:v>
                </c:pt>
                <c:pt idx="299">
                  <c:v>45583</c:v>
                </c:pt>
                <c:pt idx="300">
                  <c:v>45586</c:v>
                </c:pt>
                <c:pt idx="301">
                  <c:v>45587</c:v>
                </c:pt>
                <c:pt idx="302">
                  <c:v>45588</c:v>
                </c:pt>
                <c:pt idx="303">
                  <c:v>45589</c:v>
                </c:pt>
                <c:pt idx="304">
                  <c:v>45590</c:v>
                </c:pt>
                <c:pt idx="305">
                  <c:v>45593</c:v>
                </c:pt>
                <c:pt idx="306">
                  <c:v>45594</c:v>
                </c:pt>
                <c:pt idx="307">
                  <c:v>45595</c:v>
                </c:pt>
                <c:pt idx="308">
                  <c:v>45596</c:v>
                </c:pt>
                <c:pt idx="309">
                  <c:v>45597</c:v>
                </c:pt>
                <c:pt idx="310">
                  <c:v>45600</c:v>
                </c:pt>
                <c:pt idx="311">
                  <c:v>45601</c:v>
                </c:pt>
                <c:pt idx="312">
                  <c:v>45602</c:v>
                </c:pt>
                <c:pt idx="313">
                  <c:v>45603</c:v>
                </c:pt>
                <c:pt idx="314">
                  <c:v>45604</c:v>
                </c:pt>
                <c:pt idx="315">
                  <c:v>45607</c:v>
                </c:pt>
                <c:pt idx="316">
                  <c:v>45608</c:v>
                </c:pt>
                <c:pt idx="317">
                  <c:v>45609</c:v>
                </c:pt>
                <c:pt idx="318">
                  <c:v>45610</c:v>
                </c:pt>
                <c:pt idx="319">
                  <c:v>45611</c:v>
                </c:pt>
                <c:pt idx="320">
                  <c:v>45614</c:v>
                </c:pt>
                <c:pt idx="321">
                  <c:v>45615</c:v>
                </c:pt>
                <c:pt idx="322">
                  <c:v>45616</c:v>
                </c:pt>
                <c:pt idx="323">
                  <c:v>45617</c:v>
                </c:pt>
                <c:pt idx="324">
                  <c:v>45618</c:v>
                </c:pt>
                <c:pt idx="325">
                  <c:v>45621</c:v>
                </c:pt>
                <c:pt idx="326">
                  <c:v>45622</c:v>
                </c:pt>
                <c:pt idx="327">
                  <c:v>45623</c:v>
                </c:pt>
                <c:pt idx="328">
                  <c:v>45624</c:v>
                </c:pt>
                <c:pt idx="329">
                  <c:v>45625</c:v>
                </c:pt>
                <c:pt idx="330">
                  <c:v>45628</c:v>
                </c:pt>
                <c:pt idx="331">
                  <c:v>45629</c:v>
                </c:pt>
                <c:pt idx="332">
                  <c:v>45630</c:v>
                </c:pt>
                <c:pt idx="333">
                  <c:v>45631</c:v>
                </c:pt>
                <c:pt idx="334">
                  <c:v>45632</c:v>
                </c:pt>
                <c:pt idx="335">
                  <c:v>45635</c:v>
                </c:pt>
                <c:pt idx="336">
                  <c:v>45636</c:v>
                </c:pt>
                <c:pt idx="337">
                  <c:v>45637</c:v>
                </c:pt>
                <c:pt idx="338">
                  <c:v>45638</c:v>
                </c:pt>
                <c:pt idx="339">
                  <c:v>45639</c:v>
                </c:pt>
                <c:pt idx="340">
                  <c:v>45642</c:v>
                </c:pt>
                <c:pt idx="341">
                  <c:v>45643</c:v>
                </c:pt>
                <c:pt idx="342">
                  <c:v>45644</c:v>
                </c:pt>
                <c:pt idx="343">
                  <c:v>45645</c:v>
                </c:pt>
                <c:pt idx="344">
                  <c:v>45646</c:v>
                </c:pt>
                <c:pt idx="345">
                  <c:v>45649</c:v>
                </c:pt>
                <c:pt idx="346">
                  <c:v>45650</c:v>
                </c:pt>
                <c:pt idx="347">
                  <c:v>45651</c:v>
                </c:pt>
                <c:pt idx="348">
                  <c:v>45652</c:v>
                </c:pt>
                <c:pt idx="349">
                  <c:v>45653</c:v>
                </c:pt>
                <c:pt idx="350">
                  <c:v>45656</c:v>
                </c:pt>
                <c:pt idx="351">
                  <c:v>45657</c:v>
                </c:pt>
                <c:pt idx="352">
                  <c:v>45659</c:v>
                </c:pt>
                <c:pt idx="353">
                  <c:v>45660</c:v>
                </c:pt>
                <c:pt idx="354">
                  <c:v>45663</c:v>
                </c:pt>
                <c:pt idx="355">
                  <c:v>45664</c:v>
                </c:pt>
                <c:pt idx="356">
                  <c:v>45665</c:v>
                </c:pt>
                <c:pt idx="357">
                  <c:v>45666</c:v>
                </c:pt>
                <c:pt idx="358">
                  <c:v>45667</c:v>
                </c:pt>
                <c:pt idx="359">
                  <c:v>45670</c:v>
                </c:pt>
                <c:pt idx="360">
                  <c:v>45671</c:v>
                </c:pt>
                <c:pt idx="361">
                  <c:v>45672</c:v>
                </c:pt>
                <c:pt idx="362">
                  <c:v>45673</c:v>
                </c:pt>
                <c:pt idx="363">
                  <c:v>45674</c:v>
                </c:pt>
                <c:pt idx="364">
                  <c:v>45677</c:v>
                </c:pt>
                <c:pt idx="365">
                  <c:v>45678</c:v>
                </c:pt>
                <c:pt idx="366">
                  <c:v>45679</c:v>
                </c:pt>
                <c:pt idx="367">
                  <c:v>45680</c:v>
                </c:pt>
                <c:pt idx="368">
                  <c:v>45681</c:v>
                </c:pt>
                <c:pt idx="369">
                  <c:v>45684</c:v>
                </c:pt>
                <c:pt idx="370">
                  <c:v>45693</c:v>
                </c:pt>
                <c:pt idx="371">
                  <c:v>45694</c:v>
                </c:pt>
                <c:pt idx="372">
                  <c:v>45695</c:v>
                </c:pt>
                <c:pt idx="373">
                  <c:v>45698</c:v>
                </c:pt>
                <c:pt idx="374">
                  <c:v>45699</c:v>
                </c:pt>
                <c:pt idx="375">
                  <c:v>45700</c:v>
                </c:pt>
                <c:pt idx="376">
                  <c:v>45701</c:v>
                </c:pt>
                <c:pt idx="377">
                  <c:v>45702</c:v>
                </c:pt>
                <c:pt idx="378">
                  <c:v>45705</c:v>
                </c:pt>
                <c:pt idx="379">
                  <c:v>45706</c:v>
                </c:pt>
                <c:pt idx="380">
                  <c:v>45707</c:v>
                </c:pt>
                <c:pt idx="381">
                  <c:v>45708</c:v>
                </c:pt>
                <c:pt idx="382">
                  <c:v>45709</c:v>
                </c:pt>
                <c:pt idx="383">
                  <c:v>45712</c:v>
                </c:pt>
                <c:pt idx="384">
                  <c:v>45713</c:v>
                </c:pt>
                <c:pt idx="385">
                  <c:v>45714</c:v>
                </c:pt>
                <c:pt idx="386">
                  <c:v>45715</c:v>
                </c:pt>
                <c:pt idx="387">
                  <c:v>45716</c:v>
                </c:pt>
                <c:pt idx="388">
                  <c:v>45719</c:v>
                </c:pt>
                <c:pt idx="389">
                  <c:v>45720</c:v>
                </c:pt>
                <c:pt idx="390">
                  <c:v>45721</c:v>
                </c:pt>
                <c:pt idx="391">
                  <c:v>45722</c:v>
                </c:pt>
                <c:pt idx="392">
                  <c:v>45723</c:v>
                </c:pt>
                <c:pt idx="393">
                  <c:v>45726</c:v>
                </c:pt>
                <c:pt idx="394">
                  <c:v>45727</c:v>
                </c:pt>
                <c:pt idx="395">
                  <c:v>45728</c:v>
                </c:pt>
                <c:pt idx="396">
                  <c:v>45729</c:v>
                </c:pt>
                <c:pt idx="397">
                  <c:v>45730</c:v>
                </c:pt>
                <c:pt idx="398">
                  <c:v>45733</c:v>
                </c:pt>
                <c:pt idx="399">
                  <c:v>45734</c:v>
                </c:pt>
                <c:pt idx="400">
                  <c:v>45735</c:v>
                </c:pt>
                <c:pt idx="401">
                  <c:v>45736</c:v>
                </c:pt>
                <c:pt idx="402">
                  <c:v>45737</c:v>
                </c:pt>
                <c:pt idx="403">
                  <c:v>45740</c:v>
                </c:pt>
                <c:pt idx="404">
                  <c:v>45741</c:v>
                </c:pt>
                <c:pt idx="405">
                  <c:v>45742</c:v>
                </c:pt>
                <c:pt idx="406">
                  <c:v>45743</c:v>
                </c:pt>
                <c:pt idx="407">
                  <c:v>45744</c:v>
                </c:pt>
                <c:pt idx="408">
                  <c:v>45747</c:v>
                </c:pt>
                <c:pt idx="409">
                  <c:v>45748</c:v>
                </c:pt>
                <c:pt idx="410">
                  <c:v>45749</c:v>
                </c:pt>
                <c:pt idx="411">
                  <c:v>45750</c:v>
                </c:pt>
                <c:pt idx="412">
                  <c:v>45754</c:v>
                </c:pt>
                <c:pt idx="413">
                  <c:v>45755</c:v>
                </c:pt>
                <c:pt idx="414">
                  <c:v>45756</c:v>
                </c:pt>
                <c:pt idx="415">
                  <c:v>45757</c:v>
                </c:pt>
                <c:pt idx="416">
                  <c:v>45758</c:v>
                </c:pt>
                <c:pt idx="417">
                  <c:v>45761</c:v>
                </c:pt>
                <c:pt idx="418">
                  <c:v>45762</c:v>
                </c:pt>
                <c:pt idx="419">
                  <c:v>45763</c:v>
                </c:pt>
                <c:pt idx="420">
                  <c:v>45764</c:v>
                </c:pt>
                <c:pt idx="421">
                  <c:v>45765</c:v>
                </c:pt>
                <c:pt idx="422">
                  <c:v>45768</c:v>
                </c:pt>
                <c:pt idx="423">
                  <c:v>45769</c:v>
                </c:pt>
                <c:pt idx="424">
                  <c:v>45770</c:v>
                </c:pt>
                <c:pt idx="425">
                  <c:v>45771</c:v>
                </c:pt>
                <c:pt idx="426">
                  <c:v>45772</c:v>
                </c:pt>
                <c:pt idx="427">
                  <c:v>45775</c:v>
                </c:pt>
                <c:pt idx="428">
                  <c:v>45776</c:v>
                </c:pt>
                <c:pt idx="429">
                  <c:v>45777</c:v>
                </c:pt>
                <c:pt idx="430">
                  <c:v>45783</c:v>
                </c:pt>
                <c:pt idx="431">
                  <c:v>45784</c:v>
                </c:pt>
                <c:pt idx="432">
                  <c:v>45785</c:v>
                </c:pt>
                <c:pt idx="433">
                  <c:v>45786</c:v>
                </c:pt>
                <c:pt idx="434">
                  <c:v>45789</c:v>
                </c:pt>
                <c:pt idx="435">
                  <c:v>45790</c:v>
                </c:pt>
                <c:pt idx="436">
                  <c:v>45791</c:v>
                </c:pt>
                <c:pt idx="437">
                  <c:v>45792</c:v>
                </c:pt>
                <c:pt idx="438">
                  <c:v>45793</c:v>
                </c:pt>
                <c:pt idx="439">
                  <c:v>45796</c:v>
                </c:pt>
                <c:pt idx="440">
                  <c:v>45797</c:v>
                </c:pt>
                <c:pt idx="441">
                  <c:v>45798</c:v>
                </c:pt>
                <c:pt idx="442">
                  <c:v>45799</c:v>
                </c:pt>
                <c:pt idx="443">
                  <c:v>45800</c:v>
                </c:pt>
                <c:pt idx="444">
                  <c:v>45803</c:v>
                </c:pt>
                <c:pt idx="445">
                  <c:v>45804</c:v>
                </c:pt>
                <c:pt idx="446">
                  <c:v>45805</c:v>
                </c:pt>
                <c:pt idx="447">
                  <c:v>45806</c:v>
                </c:pt>
                <c:pt idx="448">
                  <c:v>45807</c:v>
                </c:pt>
                <c:pt idx="449">
                  <c:v>45811</c:v>
                </c:pt>
                <c:pt idx="450">
                  <c:v>45812</c:v>
                </c:pt>
                <c:pt idx="451">
                  <c:v>45813</c:v>
                </c:pt>
                <c:pt idx="452">
                  <c:v>45814</c:v>
                </c:pt>
                <c:pt idx="453">
                  <c:v>45817</c:v>
                </c:pt>
                <c:pt idx="454">
                  <c:v>45818</c:v>
                </c:pt>
                <c:pt idx="455">
                  <c:v>45819</c:v>
                </c:pt>
                <c:pt idx="456">
                  <c:v>45820</c:v>
                </c:pt>
                <c:pt idx="457">
                  <c:v>45821</c:v>
                </c:pt>
                <c:pt idx="458">
                  <c:v>45824</c:v>
                </c:pt>
                <c:pt idx="459">
                  <c:v>45825</c:v>
                </c:pt>
                <c:pt idx="460">
                  <c:v>45826</c:v>
                </c:pt>
                <c:pt idx="461">
                  <c:v>45827</c:v>
                </c:pt>
                <c:pt idx="462">
                  <c:v>45828</c:v>
                </c:pt>
                <c:pt idx="463">
                  <c:v>45831</c:v>
                </c:pt>
                <c:pt idx="464">
                  <c:v>45832</c:v>
                </c:pt>
                <c:pt idx="465">
                  <c:v>45833</c:v>
                </c:pt>
                <c:pt idx="466">
                  <c:v>45834</c:v>
                </c:pt>
                <c:pt idx="467">
                  <c:v>45835</c:v>
                </c:pt>
                <c:pt idx="468">
                  <c:v>45838</c:v>
                </c:pt>
                <c:pt idx="469">
                  <c:v>45839</c:v>
                </c:pt>
                <c:pt idx="470">
                  <c:v>45840</c:v>
                </c:pt>
                <c:pt idx="471">
                  <c:v>45841</c:v>
                </c:pt>
                <c:pt idx="472">
                  <c:v>45842</c:v>
                </c:pt>
                <c:pt idx="473">
                  <c:v>45845</c:v>
                </c:pt>
                <c:pt idx="474">
                  <c:v>45846</c:v>
                </c:pt>
                <c:pt idx="475">
                  <c:v>45847</c:v>
                </c:pt>
                <c:pt idx="476">
                  <c:v>45848</c:v>
                </c:pt>
                <c:pt idx="477">
                  <c:v>45849</c:v>
                </c:pt>
                <c:pt idx="478">
                  <c:v>45852</c:v>
                </c:pt>
                <c:pt idx="479">
                  <c:v>45853</c:v>
                </c:pt>
                <c:pt idx="480">
                  <c:v>45854</c:v>
                </c:pt>
                <c:pt idx="481">
                  <c:v>45855</c:v>
                </c:pt>
                <c:pt idx="482">
                  <c:v>45856</c:v>
                </c:pt>
                <c:pt idx="483">
                  <c:v>45859</c:v>
                </c:pt>
                <c:pt idx="484">
                  <c:v>45860</c:v>
                </c:pt>
                <c:pt idx="485">
                  <c:v>45861</c:v>
                </c:pt>
                <c:pt idx="486">
                  <c:v>45862</c:v>
                </c:pt>
                <c:pt idx="487">
                  <c:v>45863</c:v>
                </c:pt>
                <c:pt idx="488">
                  <c:v>45866</c:v>
                </c:pt>
                <c:pt idx="489">
                  <c:v>45867</c:v>
                </c:pt>
                <c:pt idx="490">
                  <c:v>45868</c:v>
                </c:pt>
                <c:pt idx="491">
                  <c:v>45869</c:v>
                </c:pt>
                <c:pt idx="492">
                  <c:v>45870</c:v>
                </c:pt>
                <c:pt idx="493">
                  <c:v>45873</c:v>
                </c:pt>
                <c:pt idx="494">
                  <c:v>45874</c:v>
                </c:pt>
                <c:pt idx="495">
                  <c:v>45875</c:v>
                </c:pt>
                <c:pt idx="496">
                  <c:v>45876</c:v>
                </c:pt>
                <c:pt idx="497">
                  <c:v>45877</c:v>
                </c:pt>
                <c:pt idx="498">
                  <c:v>45880</c:v>
                </c:pt>
                <c:pt idx="499">
                  <c:v>45881</c:v>
                </c:pt>
                <c:pt idx="500">
                  <c:v>45882</c:v>
                </c:pt>
                <c:pt idx="501">
                  <c:v>45883</c:v>
                </c:pt>
                <c:pt idx="502">
                  <c:v>45884</c:v>
                </c:pt>
                <c:pt idx="503">
                  <c:v>45887</c:v>
                </c:pt>
                <c:pt idx="504">
                  <c:v>45888</c:v>
                </c:pt>
                <c:pt idx="505">
                  <c:v>45889</c:v>
                </c:pt>
                <c:pt idx="506">
                  <c:v>45890</c:v>
                </c:pt>
                <c:pt idx="507">
                  <c:v>45891</c:v>
                </c:pt>
                <c:pt idx="508">
                  <c:v>45894</c:v>
                </c:pt>
                <c:pt idx="509">
                  <c:v>45895</c:v>
                </c:pt>
                <c:pt idx="510">
                  <c:v>45896</c:v>
                </c:pt>
                <c:pt idx="511">
                  <c:v>45897</c:v>
                </c:pt>
                <c:pt idx="512">
                  <c:v>45898</c:v>
                </c:pt>
                <c:pt idx="513">
                  <c:v>45901</c:v>
                </c:pt>
                <c:pt idx="514">
                  <c:v>45902</c:v>
                </c:pt>
                <c:pt idx="515">
                  <c:v>45903</c:v>
                </c:pt>
                <c:pt idx="516">
                  <c:v>45904</c:v>
                </c:pt>
                <c:pt idx="517">
                  <c:v>45905</c:v>
                </c:pt>
                <c:pt idx="518">
                  <c:v>45908</c:v>
                </c:pt>
                <c:pt idx="519">
                  <c:v>45909</c:v>
                </c:pt>
                <c:pt idx="520">
                  <c:v>45910</c:v>
                </c:pt>
                <c:pt idx="521">
                  <c:v>45911</c:v>
                </c:pt>
                <c:pt idx="522">
                  <c:v>45912</c:v>
                </c:pt>
                <c:pt idx="523">
                  <c:v>45915</c:v>
                </c:pt>
                <c:pt idx="524">
                  <c:v>45916</c:v>
                </c:pt>
                <c:pt idx="525">
                  <c:v>45917</c:v>
                </c:pt>
                <c:pt idx="526">
                  <c:v>45918</c:v>
                </c:pt>
                <c:pt idx="527">
                  <c:v>45919</c:v>
                </c:pt>
                <c:pt idx="528">
                  <c:v>45922</c:v>
                </c:pt>
                <c:pt idx="529">
                  <c:v>45923</c:v>
                </c:pt>
                <c:pt idx="530">
                  <c:v>45924</c:v>
                </c:pt>
                <c:pt idx="531">
                  <c:v>45925</c:v>
                </c:pt>
                <c:pt idx="532">
                  <c:v>45926</c:v>
                </c:pt>
                <c:pt idx="533">
                  <c:v>45929</c:v>
                </c:pt>
                <c:pt idx="534">
                  <c:v>45930</c:v>
                </c:pt>
                <c:pt idx="535">
                  <c:v>45931</c:v>
                </c:pt>
                <c:pt idx="536">
                  <c:v>45932</c:v>
                </c:pt>
                <c:pt idx="537">
                  <c:v>45933</c:v>
                </c:pt>
                <c:pt idx="538">
                  <c:v>45936</c:v>
                </c:pt>
                <c:pt idx="539">
                  <c:v>45937</c:v>
                </c:pt>
                <c:pt idx="540">
                  <c:v>45938</c:v>
                </c:pt>
                <c:pt idx="541">
                  <c:v>45939</c:v>
                </c:pt>
                <c:pt idx="542">
                  <c:v>45940</c:v>
                </c:pt>
                <c:pt idx="543">
                  <c:v>45943</c:v>
                </c:pt>
                <c:pt idx="544">
                  <c:v>45944</c:v>
                </c:pt>
                <c:pt idx="545">
                  <c:v>45945</c:v>
                </c:pt>
                <c:pt idx="546">
                  <c:v>45946</c:v>
                </c:pt>
                <c:pt idx="547">
                  <c:v>45947</c:v>
                </c:pt>
                <c:pt idx="548">
                  <c:v>45950</c:v>
                </c:pt>
                <c:pt idx="549">
                  <c:v>45951</c:v>
                </c:pt>
                <c:pt idx="550">
                  <c:v>45952</c:v>
                </c:pt>
                <c:pt idx="551">
                  <c:v>45953</c:v>
                </c:pt>
                <c:pt idx="552">
                  <c:v>45954</c:v>
                </c:pt>
                <c:pt idx="553">
                  <c:v>45957</c:v>
                </c:pt>
                <c:pt idx="554">
                  <c:v>45958</c:v>
                </c:pt>
                <c:pt idx="555">
                  <c:v>45959</c:v>
                </c:pt>
                <c:pt idx="556">
                  <c:v>45960</c:v>
                </c:pt>
                <c:pt idx="557">
                  <c:v>45961</c:v>
                </c:pt>
                <c:pt idx="558">
                  <c:v>45964</c:v>
                </c:pt>
                <c:pt idx="559">
                  <c:v>45965</c:v>
                </c:pt>
                <c:pt idx="560">
                  <c:v>45966</c:v>
                </c:pt>
                <c:pt idx="561">
                  <c:v>45967</c:v>
                </c:pt>
                <c:pt idx="562">
                  <c:v>45968</c:v>
                </c:pt>
                <c:pt idx="563">
                  <c:v>45971</c:v>
                </c:pt>
                <c:pt idx="564">
                  <c:v>45972</c:v>
                </c:pt>
                <c:pt idx="565">
                  <c:v>45973</c:v>
                </c:pt>
                <c:pt idx="566">
                  <c:v>45974</c:v>
                </c:pt>
                <c:pt idx="567">
                  <c:v>45975</c:v>
                </c:pt>
                <c:pt idx="568">
                  <c:v>45978</c:v>
                </c:pt>
                <c:pt idx="569">
                  <c:v>45979</c:v>
                </c:pt>
                <c:pt idx="570">
                  <c:v>45980</c:v>
                </c:pt>
                <c:pt idx="571">
                  <c:v>45981</c:v>
                </c:pt>
                <c:pt idx="572">
                  <c:v>45982</c:v>
                </c:pt>
                <c:pt idx="573">
                  <c:v>45985</c:v>
                </c:pt>
                <c:pt idx="574">
                  <c:v>45986</c:v>
                </c:pt>
                <c:pt idx="575">
                  <c:v>45987</c:v>
                </c:pt>
                <c:pt idx="576">
                  <c:v>45988</c:v>
                </c:pt>
                <c:pt idx="577">
                  <c:v>45989</c:v>
                </c:pt>
                <c:pt idx="578">
                  <c:v>45992</c:v>
                </c:pt>
                <c:pt idx="579">
                  <c:v>45993</c:v>
                </c:pt>
                <c:pt idx="580">
                  <c:v>45994</c:v>
                </c:pt>
                <c:pt idx="581">
                  <c:v>45995</c:v>
                </c:pt>
                <c:pt idx="582">
                  <c:v>45996</c:v>
                </c:pt>
                <c:pt idx="583">
                  <c:v>45999</c:v>
                </c:pt>
                <c:pt idx="584">
                  <c:v>46000</c:v>
                </c:pt>
                <c:pt idx="585">
                  <c:v>46001</c:v>
                </c:pt>
                <c:pt idx="586">
                  <c:v>46002</c:v>
                </c:pt>
                <c:pt idx="587">
                  <c:v>46003</c:v>
                </c:pt>
                <c:pt idx="588">
                  <c:v>46006</c:v>
                </c:pt>
                <c:pt idx="589">
                  <c:v>46007</c:v>
                </c:pt>
                <c:pt idx="590">
                  <c:v>46008</c:v>
                </c:pt>
                <c:pt idx="591">
                  <c:v>46009</c:v>
                </c:pt>
                <c:pt idx="592">
                  <c:v>46010</c:v>
                </c:pt>
                <c:pt idx="593">
                  <c:v>46013</c:v>
                </c:pt>
                <c:pt idx="594">
                  <c:v>46014</c:v>
                </c:pt>
                <c:pt idx="595">
                  <c:v>46015</c:v>
                </c:pt>
                <c:pt idx="596">
                  <c:v>46016</c:v>
                </c:pt>
                <c:pt idx="597">
                  <c:v>46017</c:v>
                </c:pt>
                <c:pt idx="598">
                  <c:v>46020</c:v>
                </c:pt>
                <c:pt idx="599">
                  <c:v>46021</c:v>
                </c:pt>
                <c:pt idx="600">
                  <c:v>46022</c:v>
                </c:pt>
                <c:pt idx="601">
                  <c:v>46023</c:v>
                </c:pt>
                <c:pt idx="602">
                  <c:v>46024</c:v>
                </c:pt>
                <c:pt idx="603">
                  <c:v>46027</c:v>
                </c:pt>
                <c:pt idx="604">
                  <c:v>46028</c:v>
                </c:pt>
                <c:pt idx="605">
                  <c:v>46029</c:v>
                </c:pt>
                <c:pt idx="606">
                  <c:v>46030</c:v>
                </c:pt>
                <c:pt idx="607">
                  <c:v>46031</c:v>
                </c:pt>
                <c:pt idx="608">
                  <c:v>46034</c:v>
                </c:pt>
                <c:pt idx="609">
                  <c:v>46035</c:v>
                </c:pt>
                <c:pt idx="610">
                  <c:v>46036</c:v>
                </c:pt>
                <c:pt idx="611">
                  <c:v>46037</c:v>
                </c:pt>
                <c:pt idx="612">
                  <c:v>46038</c:v>
                </c:pt>
                <c:pt idx="613">
                  <c:v>46041</c:v>
                </c:pt>
                <c:pt idx="614">
                  <c:v>46042</c:v>
                </c:pt>
                <c:pt idx="615">
                  <c:v>46043</c:v>
                </c:pt>
                <c:pt idx="616">
                  <c:v>46044</c:v>
                </c:pt>
                <c:pt idx="617">
                  <c:v>46045</c:v>
                </c:pt>
                <c:pt idx="618">
                  <c:v>46048</c:v>
                </c:pt>
                <c:pt idx="619">
                  <c:v>46049</c:v>
                </c:pt>
                <c:pt idx="620">
                  <c:v>46050</c:v>
                </c:pt>
                <c:pt idx="621">
                  <c:v>46051</c:v>
                </c:pt>
                <c:pt idx="622">
                  <c:v>46052</c:v>
                </c:pt>
                <c:pt idx="623">
                  <c:v>46055</c:v>
                </c:pt>
                <c:pt idx="624">
                  <c:v>46056</c:v>
                </c:pt>
                <c:pt idx="625">
                  <c:v>46057</c:v>
                </c:pt>
                <c:pt idx="626">
                  <c:v>46058</c:v>
                </c:pt>
                <c:pt idx="627">
                  <c:v>46059</c:v>
                </c:pt>
                <c:pt idx="628">
                  <c:v>46062</c:v>
                </c:pt>
                <c:pt idx="629">
                  <c:v>46063</c:v>
                </c:pt>
                <c:pt idx="630">
                  <c:v>46064</c:v>
                </c:pt>
                <c:pt idx="631">
                  <c:v>46065</c:v>
                </c:pt>
                <c:pt idx="632">
                  <c:v>46066</c:v>
                </c:pt>
                <c:pt idx="633">
                  <c:v>46069</c:v>
                </c:pt>
                <c:pt idx="634">
                  <c:v>46070</c:v>
                </c:pt>
                <c:pt idx="635">
                  <c:v>46071</c:v>
                </c:pt>
                <c:pt idx="636">
                  <c:v>46072</c:v>
                </c:pt>
                <c:pt idx="637">
                  <c:v>46073</c:v>
                </c:pt>
                <c:pt idx="638">
                  <c:v>46076</c:v>
                </c:pt>
                <c:pt idx="639">
                  <c:v>46077</c:v>
                </c:pt>
                <c:pt idx="640">
                  <c:v>46078</c:v>
                </c:pt>
                <c:pt idx="641">
                  <c:v>46079</c:v>
                </c:pt>
                <c:pt idx="642">
                  <c:v>46080</c:v>
                </c:pt>
                <c:pt idx="643">
                  <c:v>46083</c:v>
                </c:pt>
                <c:pt idx="644">
                  <c:v>46084</c:v>
                </c:pt>
                <c:pt idx="645">
                  <c:v>46085</c:v>
                </c:pt>
                <c:pt idx="646">
                  <c:v>46086</c:v>
                </c:pt>
                <c:pt idx="647">
                  <c:v>46087</c:v>
                </c:pt>
                <c:pt idx="648">
                  <c:v>46090</c:v>
                </c:pt>
                <c:pt idx="649">
                  <c:v>46091</c:v>
                </c:pt>
                <c:pt idx="650">
                  <c:v>46092</c:v>
                </c:pt>
                <c:pt idx="651">
                  <c:v>46093</c:v>
                </c:pt>
                <c:pt idx="652">
                  <c:v>46094</c:v>
                </c:pt>
                <c:pt idx="653">
                  <c:v>46097</c:v>
                </c:pt>
                <c:pt idx="654">
                  <c:v>46098</c:v>
                </c:pt>
                <c:pt idx="655">
                  <c:v>46099</c:v>
                </c:pt>
                <c:pt idx="656">
                  <c:v>46100</c:v>
                </c:pt>
                <c:pt idx="657">
                  <c:v>46101</c:v>
                </c:pt>
                <c:pt idx="658">
                  <c:v>46104</c:v>
                </c:pt>
                <c:pt idx="659">
                  <c:v>46105</c:v>
                </c:pt>
                <c:pt idx="660">
                  <c:v>46106</c:v>
                </c:pt>
                <c:pt idx="661">
                  <c:v>46107</c:v>
                </c:pt>
                <c:pt idx="662">
                  <c:v>46108</c:v>
                </c:pt>
                <c:pt idx="663">
                  <c:v>46111</c:v>
                </c:pt>
                <c:pt idx="664">
                  <c:v>46112</c:v>
                </c:pt>
                <c:pt idx="665">
                  <c:v>46113</c:v>
                </c:pt>
                <c:pt idx="666">
                  <c:v>46114</c:v>
                </c:pt>
                <c:pt idx="667">
                  <c:v>46115</c:v>
                </c:pt>
                <c:pt idx="668">
                  <c:v>46118</c:v>
                </c:pt>
                <c:pt idx="669">
                  <c:v>46119</c:v>
                </c:pt>
                <c:pt idx="670">
                  <c:v>46120</c:v>
                </c:pt>
                <c:pt idx="671">
                  <c:v>46121</c:v>
                </c:pt>
                <c:pt idx="672">
                  <c:v>46122</c:v>
                </c:pt>
                <c:pt idx="673">
                  <c:v>46125</c:v>
                </c:pt>
                <c:pt idx="674">
                  <c:v>46126</c:v>
                </c:pt>
                <c:pt idx="675">
                  <c:v>46127</c:v>
                </c:pt>
                <c:pt idx="676">
                  <c:v>46128</c:v>
                </c:pt>
                <c:pt idx="677">
                  <c:v>46129</c:v>
                </c:pt>
                <c:pt idx="678">
                  <c:v>46132</c:v>
                </c:pt>
                <c:pt idx="679">
                  <c:v>46133</c:v>
                </c:pt>
                <c:pt idx="680">
                  <c:v>46134</c:v>
                </c:pt>
                <c:pt idx="681">
                  <c:v>46135</c:v>
                </c:pt>
                <c:pt idx="682">
                  <c:v>46136</c:v>
                </c:pt>
                <c:pt idx="683">
                  <c:v>46139</c:v>
                </c:pt>
                <c:pt idx="684">
                  <c:v>46140</c:v>
                </c:pt>
                <c:pt idx="685">
                  <c:v>46141</c:v>
                </c:pt>
                <c:pt idx="686">
                  <c:v>46142</c:v>
                </c:pt>
                <c:pt idx="687">
                  <c:v>46143</c:v>
                </c:pt>
                <c:pt idx="688">
                  <c:v>46146</c:v>
                </c:pt>
                <c:pt idx="689">
                  <c:v>46147</c:v>
                </c:pt>
                <c:pt idx="690">
                  <c:v>46148</c:v>
                </c:pt>
                <c:pt idx="691">
                  <c:v>46149</c:v>
                </c:pt>
                <c:pt idx="692">
                  <c:v>46150</c:v>
                </c:pt>
                <c:pt idx="693">
                  <c:v>46153</c:v>
                </c:pt>
                <c:pt idx="694">
                  <c:v>46154</c:v>
                </c:pt>
                <c:pt idx="695">
                  <c:v>46155</c:v>
                </c:pt>
                <c:pt idx="696">
                  <c:v>46156</c:v>
                </c:pt>
                <c:pt idx="697">
                  <c:v>46157</c:v>
                </c:pt>
                <c:pt idx="698">
                  <c:v>46160</c:v>
                </c:pt>
                <c:pt idx="699">
                  <c:v>46161</c:v>
                </c:pt>
                <c:pt idx="700">
                  <c:v>46162</c:v>
                </c:pt>
                <c:pt idx="701">
                  <c:v>46163</c:v>
                </c:pt>
                <c:pt idx="702">
                  <c:v>46164</c:v>
                </c:pt>
                <c:pt idx="703">
                  <c:v>46167</c:v>
                </c:pt>
                <c:pt idx="704">
                  <c:v>46168</c:v>
                </c:pt>
                <c:pt idx="705">
                  <c:v>46169</c:v>
                </c:pt>
                <c:pt idx="706">
                  <c:v>46170</c:v>
                </c:pt>
                <c:pt idx="707">
                  <c:v>46171</c:v>
                </c:pt>
                <c:pt idx="708">
                  <c:v>46174</c:v>
                </c:pt>
                <c:pt idx="709">
                  <c:v>46175</c:v>
                </c:pt>
                <c:pt idx="710">
                  <c:v>46176</c:v>
                </c:pt>
                <c:pt idx="711">
                  <c:v>46177</c:v>
                </c:pt>
                <c:pt idx="712">
                  <c:v>46178</c:v>
                </c:pt>
                <c:pt idx="713">
                  <c:v>46181</c:v>
                </c:pt>
                <c:pt idx="714">
                  <c:v>46182</c:v>
                </c:pt>
                <c:pt idx="715">
                  <c:v>46183</c:v>
                </c:pt>
                <c:pt idx="716">
                  <c:v>46184</c:v>
                </c:pt>
                <c:pt idx="717">
                  <c:v>46185</c:v>
                </c:pt>
                <c:pt idx="718">
                  <c:v>46188</c:v>
                </c:pt>
                <c:pt idx="719">
                  <c:v>46189</c:v>
                </c:pt>
                <c:pt idx="720">
                  <c:v>46190</c:v>
                </c:pt>
                <c:pt idx="721">
                  <c:v>46191</c:v>
                </c:pt>
                <c:pt idx="722">
                  <c:v>46192</c:v>
                </c:pt>
                <c:pt idx="723">
                  <c:v>46195</c:v>
                </c:pt>
                <c:pt idx="724">
                  <c:v>46196</c:v>
                </c:pt>
                <c:pt idx="725">
                  <c:v>46197</c:v>
                </c:pt>
                <c:pt idx="726">
                  <c:v>46198</c:v>
                </c:pt>
                <c:pt idx="727">
                  <c:v>46199</c:v>
                </c:pt>
                <c:pt idx="728">
                  <c:v>46202</c:v>
                </c:pt>
                <c:pt idx="729">
                  <c:v>46203</c:v>
                </c:pt>
                <c:pt idx="730">
                  <c:v>46204</c:v>
                </c:pt>
                <c:pt idx="731">
                  <c:v>46205</c:v>
                </c:pt>
                <c:pt idx="732">
                  <c:v>46206</c:v>
                </c:pt>
                <c:pt idx="733">
                  <c:v>46209</c:v>
                </c:pt>
                <c:pt idx="734">
                  <c:v>46210</c:v>
                </c:pt>
                <c:pt idx="735">
                  <c:v>46211</c:v>
                </c:pt>
                <c:pt idx="736">
                  <c:v>46212</c:v>
                </c:pt>
                <c:pt idx="737">
                  <c:v>46213</c:v>
                </c:pt>
                <c:pt idx="738">
                  <c:v>46216</c:v>
                </c:pt>
                <c:pt idx="739">
                  <c:v>46217</c:v>
                </c:pt>
                <c:pt idx="740">
                  <c:v>46218</c:v>
                </c:pt>
                <c:pt idx="741">
                  <c:v>46219</c:v>
                </c:pt>
                <c:pt idx="742">
                  <c:v>46220</c:v>
                </c:pt>
                <c:pt idx="743">
                  <c:v>46223</c:v>
                </c:pt>
                <c:pt idx="744">
                  <c:v>46224</c:v>
                </c:pt>
                <c:pt idx="745">
                  <c:v>46225</c:v>
                </c:pt>
                <c:pt idx="746">
                  <c:v>46226</c:v>
                </c:pt>
                <c:pt idx="747">
                  <c:v>46227</c:v>
                </c:pt>
                <c:pt idx="748">
                  <c:v>46230</c:v>
                </c:pt>
                <c:pt idx="749">
                  <c:v>46231</c:v>
                </c:pt>
                <c:pt idx="750">
                  <c:v>46232</c:v>
                </c:pt>
                <c:pt idx="751">
                  <c:v>46233</c:v>
                </c:pt>
                <c:pt idx="752">
                  <c:v>46234</c:v>
                </c:pt>
                <c:pt idx="753">
                  <c:v>46237</c:v>
                </c:pt>
                <c:pt idx="754">
                  <c:v>46238</c:v>
                </c:pt>
                <c:pt idx="755">
                  <c:v>46239</c:v>
                </c:pt>
                <c:pt idx="756">
                  <c:v>46240</c:v>
                </c:pt>
                <c:pt idx="757">
                  <c:v>46241</c:v>
                </c:pt>
                <c:pt idx="758">
                  <c:v>46244</c:v>
                </c:pt>
                <c:pt idx="759">
                  <c:v>46245</c:v>
                </c:pt>
                <c:pt idx="760">
                  <c:v>46246</c:v>
                </c:pt>
                <c:pt idx="761">
                  <c:v>46247</c:v>
                </c:pt>
                <c:pt idx="762">
                  <c:v>46248</c:v>
                </c:pt>
                <c:pt idx="763">
                  <c:v>46251</c:v>
                </c:pt>
                <c:pt idx="764">
                  <c:v>46252</c:v>
                </c:pt>
                <c:pt idx="765">
                  <c:v>46253</c:v>
                </c:pt>
                <c:pt idx="766">
                  <c:v>46254</c:v>
                </c:pt>
                <c:pt idx="767">
                  <c:v>46255</c:v>
                </c:pt>
                <c:pt idx="768">
                  <c:v>46258</c:v>
                </c:pt>
                <c:pt idx="769">
                  <c:v>46259</c:v>
                </c:pt>
                <c:pt idx="770">
                  <c:v>46260</c:v>
                </c:pt>
                <c:pt idx="771">
                  <c:v>46261</c:v>
                </c:pt>
                <c:pt idx="772">
                  <c:v>46262</c:v>
                </c:pt>
                <c:pt idx="773">
                  <c:v>46265</c:v>
                </c:pt>
                <c:pt idx="774">
                  <c:v>46266</c:v>
                </c:pt>
                <c:pt idx="775">
                  <c:v>46267</c:v>
                </c:pt>
                <c:pt idx="776">
                  <c:v>46268</c:v>
                </c:pt>
                <c:pt idx="777">
                  <c:v>46269</c:v>
                </c:pt>
                <c:pt idx="778">
                  <c:v>46272</c:v>
                </c:pt>
                <c:pt idx="779">
                  <c:v>46273</c:v>
                </c:pt>
                <c:pt idx="780">
                  <c:v>46274</c:v>
                </c:pt>
                <c:pt idx="781">
                  <c:v>46275</c:v>
                </c:pt>
                <c:pt idx="782">
                  <c:v>46276</c:v>
                </c:pt>
                <c:pt idx="783">
                  <c:v>46279</c:v>
                </c:pt>
                <c:pt idx="784">
                  <c:v>46280</c:v>
                </c:pt>
                <c:pt idx="785">
                  <c:v>46281</c:v>
                </c:pt>
                <c:pt idx="786">
                  <c:v>46282</c:v>
                </c:pt>
                <c:pt idx="787">
                  <c:v>46283</c:v>
                </c:pt>
                <c:pt idx="788">
                  <c:v>46286</c:v>
                </c:pt>
                <c:pt idx="789">
                  <c:v>46287</c:v>
                </c:pt>
                <c:pt idx="790">
                  <c:v>46288</c:v>
                </c:pt>
                <c:pt idx="791">
                  <c:v>46289</c:v>
                </c:pt>
                <c:pt idx="792">
                  <c:v>46290</c:v>
                </c:pt>
                <c:pt idx="793">
                  <c:v>46293</c:v>
                </c:pt>
                <c:pt idx="794">
                  <c:v>46294</c:v>
                </c:pt>
                <c:pt idx="795">
                  <c:v>46295</c:v>
                </c:pt>
                <c:pt idx="796">
                  <c:v>46296</c:v>
                </c:pt>
                <c:pt idx="797">
                  <c:v>46297</c:v>
                </c:pt>
                <c:pt idx="798">
                  <c:v>46300</c:v>
                </c:pt>
                <c:pt idx="799">
                  <c:v>46301</c:v>
                </c:pt>
                <c:pt idx="800">
                  <c:v>46302</c:v>
                </c:pt>
                <c:pt idx="801">
                  <c:v>46303</c:v>
                </c:pt>
                <c:pt idx="802">
                  <c:v>46304</c:v>
                </c:pt>
                <c:pt idx="803">
                  <c:v>46307</c:v>
                </c:pt>
                <c:pt idx="804">
                  <c:v>46308</c:v>
                </c:pt>
                <c:pt idx="805">
                  <c:v>46309</c:v>
                </c:pt>
                <c:pt idx="806">
                  <c:v>46310</c:v>
                </c:pt>
                <c:pt idx="807">
                  <c:v>46311</c:v>
                </c:pt>
                <c:pt idx="808">
                  <c:v>46314</c:v>
                </c:pt>
                <c:pt idx="809">
                  <c:v>46315</c:v>
                </c:pt>
                <c:pt idx="810">
                  <c:v>46316</c:v>
                </c:pt>
                <c:pt idx="811">
                  <c:v>46317</c:v>
                </c:pt>
                <c:pt idx="812">
                  <c:v>46318</c:v>
                </c:pt>
                <c:pt idx="813">
                  <c:v>46321</c:v>
                </c:pt>
                <c:pt idx="814">
                  <c:v>46322</c:v>
                </c:pt>
                <c:pt idx="815">
                  <c:v>46323</c:v>
                </c:pt>
                <c:pt idx="816">
                  <c:v>46324</c:v>
                </c:pt>
                <c:pt idx="817">
                  <c:v>46325</c:v>
                </c:pt>
                <c:pt idx="818">
                  <c:v>46328</c:v>
                </c:pt>
                <c:pt idx="819">
                  <c:v>46329</c:v>
                </c:pt>
                <c:pt idx="820">
                  <c:v>46330</c:v>
                </c:pt>
                <c:pt idx="821">
                  <c:v>46331</c:v>
                </c:pt>
                <c:pt idx="822">
                  <c:v>46332</c:v>
                </c:pt>
                <c:pt idx="823">
                  <c:v>46335</c:v>
                </c:pt>
                <c:pt idx="824">
                  <c:v>46336</c:v>
                </c:pt>
                <c:pt idx="825">
                  <c:v>46337</c:v>
                </c:pt>
                <c:pt idx="826">
                  <c:v>46338</c:v>
                </c:pt>
                <c:pt idx="827">
                  <c:v>46339</c:v>
                </c:pt>
                <c:pt idx="828">
                  <c:v>46342</c:v>
                </c:pt>
                <c:pt idx="829">
                  <c:v>46343</c:v>
                </c:pt>
                <c:pt idx="830">
                  <c:v>46344</c:v>
                </c:pt>
                <c:pt idx="831">
                  <c:v>46345</c:v>
                </c:pt>
                <c:pt idx="832">
                  <c:v>46346</c:v>
                </c:pt>
                <c:pt idx="833">
                  <c:v>46349</c:v>
                </c:pt>
                <c:pt idx="834">
                  <c:v>46350</c:v>
                </c:pt>
                <c:pt idx="835">
                  <c:v>46351</c:v>
                </c:pt>
                <c:pt idx="836">
                  <c:v>46352</c:v>
                </c:pt>
                <c:pt idx="837">
                  <c:v>46353</c:v>
                </c:pt>
                <c:pt idx="838">
                  <c:v>46356</c:v>
                </c:pt>
                <c:pt idx="839">
                  <c:v>46357</c:v>
                </c:pt>
                <c:pt idx="840">
                  <c:v>46358</c:v>
                </c:pt>
                <c:pt idx="841">
                  <c:v>46359</c:v>
                </c:pt>
                <c:pt idx="842">
                  <c:v>46360</c:v>
                </c:pt>
                <c:pt idx="843">
                  <c:v>46363</c:v>
                </c:pt>
                <c:pt idx="844">
                  <c:v>46364</c:v>
                </c:pt>
                <c:pt idx="845">
                  <c:v>46365</c:v>
                </c:pt>
                <c:pt idx="846">
                  <c:v>46366</c:v>
                </c:pt>
                <c:pt idx="847">
                  <c:v>46367</c:v>
                </c:pt>
                <c:pt idx="848">
                  <c:v>46370</c:v>
                </c:pt>
                <c:pt idx="849">
                  <c:v>46371</c:v>
                </c:pt>
                <c:pt idx="850">
                  <c:v>46372</c:v>
                </c:pt>
                <c:pt idx="851">
                  <c:v>46373</c:v>
                </c:pt>
                <c:pt idx="852">
                  <c:v>46374</c:v>
                </c:pt>
                <c:pt idx="853">
                  <c:v>46377</c:v>
                </c:pt>
                <c:pt idx="854">
                  <c:v>46378</c:v>
                </c:pt>
                <c:pt idx="855">
                  <c:v>46379</c:v>
                </c:pt>
                <c:pt idx="856">
                  <c:v>46380</c:v>
                </c:pt>
                <c:pt idx="857">
                  <c:v>46381</c:v>
                </c:pt>
                <c:pt idx="858">
                  <c:v>46384</c:v>
                </c:pt>
                <c:pt idx="859">
                  <c:v>46385</c:v>
                </c:pt>
                <c:pt idx="860">
                  <c:v>46386</c:v>
                </c:pt>
                <c:pt idx="861">
                  <c:v>46387</c:v>
                </c:pt>
                <c:pt idx="862">
                  <c:v>46388</c:v>
                </c:pt>
                <c:pt idx="863">
                  <c:v>46391</c:v>
                </c:pt>
                <c:pt idx="864">
                  <c:v>46392</c:v>
                </c:pt>
                <c:pt idx="865">
                  <c:v>46393</c:v>
                </c:pt>
                <c:pt idx="866">
                  <c:v>46394</c:v>
                </c:pt>
                <c:pt idx="867">
                  <c:v>46395</c:v>
                </c:pt>
                <c:pt idx="868">
                  <c:v>46398</c:v>
                </c:pt>
                <c:pt idx="869">
                  <c:v>46399</c:v>
                </c:pt>
                <c:pt idx="870">
                  <c:v>46400</c:v>
                </c:pt>
                <c:pt idx="871">
                  <c:v>46401</c:v>
                </c:pt>
                <c:pt idx="872">
                  <c:v>46402</c:v>
                </c:pt>
                <c:pt idx="873">
                  <c:v>46405</c:v>
                </c:pt>
                <c:pt idx="874">
                  <c:v>46406</c:v>
                </c:pt>
                <c:pt idx="875">
                  <c:v>46407</c:v>
                </c:pt>
                <c:pt idx="876">
                  <c:v>46408</c:v>
                </c:pt>
                <c:pt idx="877">
                  <c:v>46409</c:v>
                </c:pt>
                <c:pt idx="878">
                  <c:v>46412</c:v>
                </c:pt>
                <c:pt idx="879">
                  <c:v>46413</c:v>
                </c:pt>
                <c:pt idx="880">
                  <c:v>46414</c:v>
                </c:pt>
                <c:pt idx="881">
                  <c:v>46415</c:v>
                </c:pt>
                <c:pt idx="882">
                  <c:v>46416</c:v>
                </c:pt>
                <c:pt idx="883">
                  <c:v>46419</c:v>
                </c:pt>
                <c:pt idx="884">
                  <c:v>46420</c:v>
                </c:pt>
                <c:pt idx="885">
                  <c:v>46421</c:v>
                </c:pt>
                <c:pt idx="886">
                  <c:v>46422</c:v>
                </c:pt>
                <c:pt idx="887">
                  <c:v>46423</c:v>
                </c:pt>
                <c:pt idx="888">
                  <c:v>46426</c:v>
                </c:pt>
                <c:pt idx="889">
                  <c:v>46427</c:v>
                </c:pt>
                <c:pt idx="890">
                  <c:v>46428</c:v>
                </c:pt>
                <c:pt idx="891">
                  <c:v>46429</c:v>
                </c:pt>
                <c:pt idx="892">
                  <c:v>46430</c:v>
                </c:pt>
                <c:pt idx="893">
                  <c:v>46433</c:v>
                </c:pt>
                <c:pt idx="894">
                  <c:v>46434</c:v>
                </c:pt>
                <c:pt idx="895">
                  <c:v>46435</c:v>
                </c:pt>
                <c:pt idx="896">
                  <c:v>46436</c:v>
                </c:pt>
                <c:pt idx="897">
                  <c:v>46437</c:v>
                </c:pt>
                <c:pt idx="898">
                  <c:v>46440</c:v>
                </c:pt>
                <c:pt idx="899">
                  <c:v>46441</c:v>
                </c:pt>
                <c:pt idx="900">
                  <c:v>46442</c:v>
                </c:pt>
                <c:pt idx="901">
                  <c:v>46443</c:v>
                </c:pt>
                <c:pt idx="902">
                  <c:v>46444</c:v>
                </c:pt>
                <c:pt idx="903">
                  <c:v>46447</c:v>
                </c:pt>
                <c:pt idx="904">
                  <c:v>46448</c:v>
                </c:pt>
                <c:pt idx="905">
                  <c:v>46449</c:v>
                </c:pt>
                <c:pt idx="906">
                  <c:v>46450</c:v>
                </c:pt>
                <c:pt idx="907">
                  <c:v>46451</c:v>
                </c:pt>
                <c:pt idx="908">
                  <c:v>46454</c:v>
                </c:pt>
                <c:pt idx="909">
                  <c:v>46455</c:v>
                </c:pt>
                <c:pt idx="910">
                  <c:v>46456</c:v>
                </c:pt>
                <c:pt idx="911">
                  <c:v>46457</c:v>
                </c:pt>
                <c:pt idx="912">
                  <c:v>46458</c:v>
                </c:pt>
                <c:pt idx="913">
                  <c:v>46461</c:v>
                </c:pt>
                <c:pt idx="914">
                  <c:v>46462</c:v>
                </c:pt>
                <c:pt idx="915">
                  <c:v>46463</c:v>
                </c:pt>
                <c:pt idx="916">
                  <c:v>46464</c:v>
                </c:pt>
                <c:pt idx="917">
                  <c:v>46465</c:v>
                </c:pt>
                <c:pt idx="918">
                  <c:v>46468</c:v>
                </c:pt>
                <c:pt idx="919">
                  <c:v>46469</c:v>
                </c:pt>
                <c:pt idx="920">
                  <c:v>46470</c:v>
                </c:pt>
                <c:pt idx="921">
                  <c:v>46471</c:v>
                </c:pt>
                <c:pt idx="922">
                  <c:v>46472</c:v>
                </c:pt>
                <c:pt idx="923">
                  <c:v>46475</c:v>
                </c:pt>
                <c:pt idx="924">
                  <c:v>46476</c:v>
                </c:pt>
                <c:pt idx="925">
                  <c:v>46477</c:v>
                </c:pt>
                <c:pt idx="926">
                  <c:v>46478</c:v>
                </c:pt>
                <c:pt idx="927">
                  <c:v>46479</c:v>
                </c:pt>
                <c:pt idx="928">
                  <c:v>46482</c:v>
                </c:pt>
                <c:pt idx="929">
                  <c:v>46483</c:v>
                </c:pt>
                <c:pt idx="930">
                  <c:v>46484</c:v>
                </c:pt>
                <c:pt idx="931">
                  <c:v>46485</c:v>
                </c:pt>
                <c:pt idx="932">
                  <c:v>46486</c:v>
                </c:pt>
                <c:pt idx="933">
                  <c:v>46489</c:v>
                </c:pt>
                <c:pt idx="934">
                  <c:v>46490</c:v>
                </c:pt>
                <c:pt idx="935">
                  <c:v>46491</c:v>
                </c:pt>
                <c:pt idx="936">
                  <c:v>46492</c:v>
                </c:pt>
                <c:pt idx="937">
                  <c:v>46493</c:v>
                </c:pt>
                <c:pt idx="938">
                  <c:v>46496</c:v>
                </c:pt>
                <c:pt idx="939">
                  <c:v>46497</c:v>
                </c:pt>
                <c:pt idx="940">
                  <c:v>46498</c:v>
                </c:pt>
                <c:pt idx="941">
                  <c:v>46499</c:v>
                </c:pt>
                <c:pt idx="942">
                  <c:v>46500</c:v>
                </c:pt>
                <c:pt idx="943">
                  <c:v>46503</c:v>
                </c:pt>
                <c:pt idx="944">
                  <c:v>46504</c:v>
                </c:pt>
                <c:pt idx="945">
                  <c:v>46505</c:v>
                </c:pt>
                <c:pt idx="946">
                  <c:v>46506</c:v>
                </c:pt>
                <c:pt idx="947">
                  <c:v>46507</c:v>
                </c:pt>
                <c:pt idx="948">
                  <c:v>46510</c:v>
                </c:pt>
                <c:pt idx="949">
                  <c:v>46511</c:v>
                </c:pt>
                <c:pt idx="950">
                  <c:v>46512</c:v>
                </c:pt>
                <c:pt idx="951">
                  <c:v>46513</c:v>
                </c:pt>
                <c:pt idx="952">
                  <c:v>46514</c:v>
                </c:pt>
                <c:pt idx="953">
                  <c:v>46517</c:v>
                </c:pt>
                <c:pt idx="954">
                  <c:v>46518</c:v>
                </c:pt>
                <c:pt idx="955">
                  <c:v>46519</c:v>
                </c:pt>
                <c:pt idx="956">
                  <c:v>46520</c:v>
                </c:pt>
                <c:pt idx="957">
                  <c:v>46521</c:v>
                </c:pt>
                <c:pt idx="958">
                  <c:v>46524</c:v>
                </c:pt>
                <c:pt idx="959">
                  <c:v>46525</c:v>
                </c:pt>
                <c:pt idx="960">
                  <c:v>46526</c:v>
                </c:pt>
                <c:pt idx="961">
                  <c:v>46527</c:v>
                </c:pt>
                <c:pt idx="962">
                  <c:v>46528</c:v>
                </c:pt>
                <c:pt idx="963">
                  <c:v>46531</c:v>
                </c:pt>
                <c:pt idx="964">
                  <c:v>46532</c:v>
                </c:pt>
                <c:pt idx="965">
                  <c:v>46533</c:v>
                </c:pt>
                <c:pt idx="966">
                  <c:v>46534</c:v>
                </c:pt>
                <c:pt idx="967">
                  <c:v>46535</c:v>
                </c:pt>
                <c:pt idx="968">
                  <c:v>46538</c:v>
                </c:pt>
                <c:pt idx="969">
                  <c:v>46539</c:v>
                </c:pt>
                <c:pt idx="970">
                  <c:v>46540</c:v>
                </c:pt>
                <c:pt idx="971">
                  <c:v>46541</c:v>
                </c:pt>
                <c:pt idx="972">
                  <c:v>46542</c:v>
                </c:pt>
                <c:pt idx="973">
                  <c:v>46545</c:v>
                </c:pt>
                <c:pt idx="974">
                  <c:v>46546</c:v>
                </c:pt>
                <c:pt idx="975">
                  <c:v>46547</c:v>
                </c:pt>
                <c:pt idx="976">
                  <c:v>46548</c:v>
                </c:pt>
                <c:pt idx="977">
                  <c:v>46549</c:v>
                </c:pt>
                <c:pt idx="978">
                  <c:v>46552</c:v>
                </c:pt>
                <c:pt idx="979">
                  <c:v>46553</c:v>
                </c:pt>
                <c:pt idx="980">
                  <c:v>46554</c:v>
                </c:pt>
                <c:pt idx="981">
                  <c:v>46555</c:v>
                </c:pt>
                <c:pt idx="982">
                  <c:v>46556</c:v>
                </c:pt>
                <c:pt idx="983">
                  <c:v>46559</c:v>
                </c:pt>
                <c:pt idx="984">
                  <c:v>46560</c:v>
                </c:pt>
                <c:pt idx="985">
                  <c:v>46561</c:v>
                </c:pt>
                <c:pt idx="986">
                  <c:v>46562</c:v>
                </c:pt>
                <c:pt idx="987">
                  <c:v>46563</c:v>
                </c:pt>
                <c:pt idx="988">
                  <c:v>46566</c:v>
                </c:pt>
                <c:pt idx="989">
                  <c:v>46567</c:v>
                </c:pt>
                <c:pt idx="990">
                  <c:v>46568</c:v>
                </c:pt>
                <c:pt idx="991">
                  <c:v>46569</c:v>
                </c:pt>
                <c:pt idx="992">
                  <c:v>46570</c:v>
                </c:pt>
                <c:pt idx="993">
                  <c:v>46573</c:v>
                </c:pt>
                <c:pt idx="994">
                  <c:v>46574</c:v>
                </c:pt>
                <c:pt idx="995">
                  <c:v>46575</c:v>
                </c:pt>
                <c:pt idx="996">
                  <c:v>46576</c:v>
                </c:pt>
                <c:pt idx="997">
                  <c:v>46577</c:v>
                </c:pt>
                <c:pt idx="998">
                  <c:v>46580</c:v>
                </c:pt>
              </c:numCache>
            </c:numRef>
          </c:cat>
          <c:val>
            <c:numRef>
              <c:f>Daily!$Z$2:$Z$1057</c:f>
            </c:numRef>
          </c:val>
          <c:smooth val="0"/>
          <c:extLst>
            <c:ext xmlns:c16="http://schemas.microsoft.com/office/drawing/2014/chart" uri="{C3380CC4-5D6E-409C-BE32-E72D297353CC}">
              <c16:uniqueId val="{0000001B-094D-4E29-B010-D717A2A1A293}"/>
            </c:ext>
          </c:extLst>
        </c:ser>
        <c:ser>
          <c:idx val="22"/>
          <c:order val="22"/>
          <c:tx>
            <c:strRef>
              <c:f>Daily!$AA$1</c:f>
              <c:strCache>
                <c:ptCount val="1"/>
                <c:pt idx="0">
                  <c:v>M+9</c:v>
                </c:pt>
              </c:strCache>
            </c:strRef>
          </c:tx>
          <c:spPr>
            <a:ln w="28575" cap="rnd" cmpd="sng" algn="ctr">
              <a:solidFill>
                <a:schemeClr val="accent5">
                  <a:lumMod val="80000"/>
                  <a:shade val="95000"/>
                  <a:satMod val="105000"/>
                </a:schemeClr>
              </a:solidFill>
              <a:prstDash val="solid"/>
              <a:round/>
            </a:ln>
            <a:effectLst/>
          </c:spPr>
          <c:marker>
            <c:symbol val="none"/>
          </c:marker>
          <c:cat>
            <c:numRef>
              <c:f>Daily!$A$2:$A$1000</c:f>
              <c:numCache>
                <c:formatCode>d\-mmm\-yy</c:formatCode>
                <c:ptCount val="999"/>
                <c:pt idx="0">
                  <c:v>45128</c:v>
                </c:pt>
                <c:pt idx="1">
                  <c:v>45131</c:v>
                </c:pt>
                <c:pt idx="2">
                  <c:v>45132</c:v>
                </c:pt>
                <c:pt idx="3">
                  <c:v>45133</c:v>
                </c:pt>
                <c:pt idx="4">
                  <c:v>45134</c:v>
                </c:pt>
                <c:pt idx="5">
                  <c:v>45135</c:v>
                </c:pt>
                <c:pt idx="6">
                  <c:v>45138</c:v>
                </c:pt>
                <c:pt idx="7">
                  <c:v>45139</c:v>
                </c:pt>
                <c:pt idx="8">
                  <c:v>45140</c:v>
                </c:pt>
                <c:pt idx="9">
                  <c:v>45141</c:v>
                </c:pt>
                <c:pt idx="10">
                  <c:v>45142</c:v>
                </c:pt>
                <c:pt idx="11">
                  <c:v>45145</c:v>
                </c:pt>
                <c:pt idx="12">
                  <c:v>45146</c:v>
                </c:pt>
                <c:pt idx="13">
                  <c:v>45147</c:v>
                </c:pt>
                <c:pt idx="14">
                  <c:v>45148</c:v>
                </c:pt>
                <c:pt idx="15">
                  <c:v>45149</c:v>
                </c:pt>
                <c:pt idx="16">
                  <c:v>45152</c:v>
                </c:pt>
                <c:pt idx="17">
                  <c:v>45153</c:v>
                </c:pt>
                <c:pt idx="18">
                  <c:v>45154</c:v>
                </c:pt>
                <c:pt idx="19">
                  <c:v>45155</c:v>
                </c:pt>
                <c:pt idx="20">
                  <c:v>45156</c:v>
                </c:pt>
                <c:pt idx="21">
                  <c:v>45159</c:v>
                </c:pt>
                <c:pt idx="22">
                  <c:v>45160</c:v>
                </c:pt>
                <c:pt idx="23">
                  <c:v>45161</c:v>
                </c:pt>
                <c:pt idx="24">
                  <c:v>45162</c:v>
                </c:pt>
                <c:pt idx="25">
                  <c:v>45163</c:v>
                </c:pt>
                <c:pt idx="26">
                  <c:v>45166</c:v>
                </c:pt>
                <c:pt idx="27">
                  <c:v>45167</c:v>
                </c:pt>
                <c:pt idx="28">
                  <c:v>45168</c:v>
                </c:pt>
                <c:pt idx="29">
                  <c:v>45169</c:v>
                </c:pt>
                <c:pt idx="30">
                  <c:v>45170</c:v>
                </c:pt>
                <c:pt idx="31">
                  <c:v>45173</c:v>
                </c:pt>
                <c:pt idx="32">
                  <c:v>45174</c:v>
                </c:pt>
                <c:pt idx="33">
                  <c:v>45175</c:v>
                </c:pt>
                <c:pt idx="34">
                  <c:v>45176</c:v>
                </c:pt>
                <c:pt idx="35">
                  <c:v>45177</c:v>
                </c:pt>
                <c:pt idx="36">
                  <c:v>45180</c:v>
                </c:pt>
                <c:pt idx="37">
                  <c:v>45181</c:v>
                </c:pt>
                <c:pt idx="38">
                  <c:v>45182</c:v>
                </c:pt>
                <c:pt idx="39">
                  <c:v>45183</c:v>
                </c:pt>
                <c:pt idx="40">
                  <c:v>45184</c:v>
                </c:pt>
                <c:pt idx="41">
                  <c:v>45187</c:v>
                </c:pt>
                <c:pt idx="42">
                  <c:v>45188</c:v>
                </c:pt>
                <c:pt idx="43">
                  <c:v>45189</c:v>
                </c:pt>
                <c:pt idx="44">
                  <c:v>45190</c:v>
                </c:pt>
                <c:pt idx="45">
                  <c:v>45191</c:v>
                </c:pt>
                <c:pt idx="46">
                  <c:v>45194</c:v>
                </c:pt>
                <c:pt idx="47">
                  <c:v>45195</c:v>
                </c:pt>
                <c:pt idx="48">
                  <c:v>45196</c:v>
                </c:pt>
                <c:pt idx="49">
                  <c:v>45197</c:v>
                </c:pt>
                <c:pt idx="50">
                  <c:v>45208</c:v>
                </c:pt>
                <c:pt idx="51">
                  <c:v>45209</c:v>
                </c:pt>
                <c:pt idx="52">
                  <c:v>45210</c:v>
                </c:pt>
                <c:pt idx="53">
                  <c:v>45211</c:v>
                </c:pt>
                <c:pt idx="54">
                  <c:v>45212</c:v>
                </c:pt>
                <c:pt idx="55">
                  <c:v>45215</c:v>
                </c:pt>
                <c:pt idx="56">
                  <c:v>45216</c:v>
                </c:pt>
                <c:pt idx="57">
                  <c:v>45217</c:v>
                </c:pt>
                <c:pt idx="58">
                  <c:v>45218</c:v>
                </c:pt>
                <c:pt idx="59">
                  <c:v>45219</c:v>
                </c:pt>
                <c:pt idx="60">
                  <c:v>45222</c:v>
                </c:pt>
                <c:pt idx="61">
                  <c:v>45223</c:v>
                </c:pt>
                <c:pt idx="62">
                  <c:v>45224</c:v>
                </c:pt>
                <c:pt idx="63">
                  <c:v>45225</c:v>
                </c:pt>
                <c:pt idx="64">
                  <c:v>45226</c:v>
                </c:pt>
                <c:pt idx="65">
                  <c:v>45229</c:v>
                </c:pt>
                <c:pt idx="66">
                  <c:v>45230</c:v>
                </c:pt>
                <c:pt idx="67">
                  <c:v>45231</c:v>
                </c:pt>
                <c:pt idx="68">
                  <c:v>45232</c:v>
                </c:pt>
                <c:pt idx="69">
                  <c:v>45233</c:v>
                </c:pt>
                <c:pt idx="70">
                  <c:v>45236</c:v>
                </c:pt>
                <c:pt idx="71">
                  <c:v>45237</c:v>
                </c:pt>
                <c:pt idx="72">
                  <c:v>45238</c:v>
                </c:pt>
                <c:pt idx="73">
                  <c:v>45239</c:v>
                </c:pt>
                <c:pt idx="74">
                  <c:v>45240</c:v>
                </c:pt>
                <c:pt idx="75">
                  <c:v>45243</c:v>
                </c:pt>
                <c:pt idx="76">
                  <c:v>45244</c:v>
                </c:pt>
                <c:pt idx="77">
                  <c:v>45245</c:v>
                </c:pt>
                <c:pt idx="78">
                  <c:v>45246</c:v>
                </c:pt>
                <c:pt idx="79">
                  <c:v>45247</c:v>
                </c:pt>
                <c:pt idx="80">
                  <c:v>45250</c:v>
                </c:pt>
                <c:pt idx="81">
                  <c:v>45251</c:v>
                </c:pt>
                <c:pt idx="82">
                  <c:v>45252</c:v>
                </c:pt>
                <c:pt idx="83">
                  <c:v>45253</c:v>
                </c:pt>
                <c:pt idx="84">
                  <c:v>45254</c:v>
                </c:pt>
                <c:pt idx="85">
                  <c:v>45257</c:v>
                </c:pt>
                <c:pt idx="86">
                  <c:v>45258</c:v>
                </c:pt>
                <c:pt idx="87">
                  <c:v>45259</c:v>
                </c:pt>
                <c:pt idx="88">
                  <c:v>45260</c:v>
                </c:pt>
                <c:pt idx="89">
                  <c:v>45261</c:v>
                </c:pt>
                <c:pt idx="90">
                  <c:v>45264</c:v>
                </c:pt>
                <c:pt idx="91">
                  <c:v>45265</c:v>
                </c:pt>
                <c:pt idx="92">
                  <c:v>45266</c:v>
                </c:pt>
                <c:pt idx="93">
                  <c:v>45267</c:v>
                </c:pt>
                <c:pt idx="94">
                  <c:v>45268</c:v>
                </c:pt>
                <c:pt idx="95">
                  <c:v>45271</c:v>
                </c:pt>
                <c:pt idx="96">
                  <c:v>45272</c:v>
                </c:pt>
                <c:pt idx="97">
                  <c:v>45273</c:v>
                </c:pt>
                <c:pt idx="98">
                  <c:v>45274</c:v>
                </c:pt>
                <c:pt idx="99">
                  <c:v>45275</c:v>
                </c:pt>
                <c:pt idx="100">
                  <c:v>45278</c:v>
                </c:pt>
                <c:pt idx="101">
                  <c:v>45279</c:v>
                </c:pt>
                <c:pt idx="102">
                  <c:v>45280</c:v>
                </c:pt>
                <c:pt idx="103">
                  <c:v>45281</c:v>
                </c:pt>
                <c:pt idx="104">
                  <c:v>45282</c:v>
                </c:pt>
                <c:pt idx="105">
                  <c:v>45285</c:v>
                </c:pt>
                <c:pt idx="106">
                  <c:v>45286</c:v>
                </c:pt>
                <c:pt idx="107">
                  <c:v>45287</c:v>
                </c:pt>
                <c:pt idx="108">
                  <c:v>45288</c:v>
                </c:pt>
                <c:pt idx="109">
                  <c:v>45289</c:v>
                </c:pt>
                <c:pt idx="110">
                  <c:v>45293</c:v>
                </c:pt>
                <c:pt idx="111">
                  <c:v>45294</c:v>
                </c:pt>
                <c:pt idx="112">
                  <c:v>45295</c:v>
                </c:pt>
                <c:pt idx="113">
                  <c:v>45296</c:v>
                </c:pt>
                <c:pt idx="114">
                  <c:v>45299</c:v>
                </c:pt>
                <c:pt idx="115">
                  <c:v>45300</c:v>
                </c:pt>
                <c:pt idx="116">
                  <c:v>45301</c:v>
                </c:pt>
                <c:pt idx="117">
                  <c:v>45302</c:v>
                </c:pt>
                <c:pt idx="118">
                  <c:v>45303</c:v>
                </c:pt>
                <c:pt idx="119">
                  <c:v>45306</c:v>
                </c:pt>
                <c:pt idx="120">
                  <c:v>45307</c:v>
                </c:pt>
                <c:pt idx="121">
                  <c:v>45308</c:v>
                </c:pt>
                <c:pt idx="122">
                  <c:v>45309</c:v>
                </c:pt>
                <c:pt idx="123">
                  <c:v>45310</c:v>
                </c:pt>
                <c:pt idx="124">
                  <c:v>45313</c:v>
                </c:pt>
                <c:pt idx="125">
                  <c:v>45314</c:v>
                </c:pt>
                <c:pt idx="126">
                  <c:v>45315</c:v>
                </c:pt>
                <c:pt idx="127">
                  <c:v>45316</c:v>
                </c:pt>
                <c:pt idx="128">
                  <c:v>45317</c:v>
                </c:pt>
                <c:pt idx="129">
                  <c:v>45320</c:v>
                </c:pt>
                <c:pt idx="130">
                  <c:v>45321</c:v>
                </c:pt>
                <c:pt idx="131">
                  <c:v>45322</c:v>
                </c:pt>
                <c:pt idx="132">
                  <c:v>45323</c:v>
                </c:pt>
                <c:pt idx="133">
                  <c:v>45324</c:v>
                </c:pt>
                <c:pt idx="134">
                  <c:v>45327</c:v>
                </c:pt>
                <c:pt idx="135">
                  <c:v>45328</c:v>
                </c:pt>
                <c:pt idx="136">
                  <c:v>45329</c:v>
                </c:pt>
                <c:pt idx="137">
                  <c:v>45330</c:v>
                </c:pt>
                <c:pt idx="138">
                  <c:v>45341</c:v>
                </c:pt>
                <c:pt idx="139">
                  <c:v>45342</c:v>
                </c:pt>
                <c:pt idx="140">
                  <c:v>45343</c:v>
                </c:pt>
                <c:pt idx="141">
                  <c:v>45344</c:v>
                </c:pt>
                <c:pt idx="142">
                  <c:v>45345</c:v>
                </c:pt>
                <c:pt idx="143">
                  <c:v>45348</c:v>
                </c:pt>
                <c:pt idx="144">
                  <c:v>45349</c:v>
                </c:pt>
                <c:pt idx="145">
                  <c:v>45350</c:v>
                </c:pt>
                <c:pt idx="146">
                  <c:v>45351</c:v>
                </c:pt>
                <c:pt idx="147">
                  <c:v>45352</c:v>
                </c:pt>
                <c:pt idx="148">
                  <c:v>45355</c:v>
                </c:pt>
                <c:pt idx="149">
                  <c:v>45356</c:v>
                </c:pt>
                <c:pt idx="150">
                  <c:v>45357</c:v>
                </c:pt>
                <c:pt idx="151">
                  <c:v>45358</c:v>
                </c:pt>
                <c:pt idx="152">
                  <c:v>45359</c:v>
                </c:pt>
                <c:pt idx="153">
                  <c:v>45362</c:v>
                </c:pt>
                <c:pt idx="154">
                  <c:v>45363</c:v>
                </c:pt>
                <c:pt idx="155">
                  <c:v>45364</c:v>
                </c:pt>
                <c:pt idx="156">
                  <c:v>45365</c:v>
                </c:pt>
                <c:pt idx="157">
                  <c:v>45366</c:v>
                </c:pt>
                <c:pt idx="158">
                  <c:v>45369</c:v>
                </c:pt>
                <c:pt idx="159">
                  <c:v>45370</c:v>
                </c:pt>
                <c:pt idx="160">
                  <c:v>45371</c:v>
                </c:pt>
                <c:pt idx="161">
                  <c:v>45372</c:v>
                </c:pt>
                <c:pt idx="162">
                  <c:v>45373</c:v>
                </c:pt>
                <c:pt idx="163">
                  <c:v>45376</c:v>
                </c:pt>
                <c:pt idx="164">
                  <c:v>45377</c:v>
                </c:pt>
                <c:pt idx="165">
                  <c:v>45378</c:v>
                </c:pt>
                <c:pt idx="166">
                  <c:v>45379</c:v>
                </c:pt>
                <c:pt idx="167">
                  <c:v>45380</c:v>
                </c:pt>
                <c:pt idx="168">
                  <c:v>45383</c:v>
                </c:pt>
                <c:pt idx="169">
                  <c:v>45384</c:v>
                </c:pt>
                <c:pt idx="170">
                  <c:v>45385</c:v>
                </c:pt>
                <c:pt idx="171">
                  <c:v>45390</c:v>
                </c:pt>
                <c:pt idx="172">
                  <c:v>45391</c:v>
                </c:pt>
                <c:pt idx="173">
                  <c:v>45392</c:v>
                </c:pt>
                <c:pt idx="174">
                  <c:v>45393</c:v>
                </c:pt>
                <c:pt idx="175">
                  <c:v>45394</c:v>
                </c:pt>
                <c:pt idx="176">
                  <c:v>45397</c:v>
                </c:pt>
                <c:pt idx="177">
                  <c:v>45398</c:v>
                </c:pt>
                <c:pt idx="178">
                  <c:v>45399</c:v>
                </c:pt>
                <c:pt idx="179">
                  <c:v>45400</c:v>
                </c:pt>
                <c:pt idx="180">
                  <c:v>45401</c:v>
                </c:pt>
                <c:pt idx="181">
                  <c:v>45404</c:v>
                </c:pt>
                <c:pt idx="182">
                  <c:v>45405</c:v>
                </c:pt>
                <c:pt idx="183">
                  <c:v>45406</c:v>
                </c:pt>
                <c:pt idx="184">
                  <c:v>45407</c:v>
                </c:pt>
                <c:pt idx="185">
                  <c:v>45408</c:v>
                </c:pt>
                <c:pt idx="186">
                  <c:v>45411</c:v>
                </c:pt>
                <c:pt idx="187">
                  <c:v>45412</c:v>
                </c:pt>
                <c:pt idx="188">
                  <c:v>45418</c:v>
                </c:pt>
                <c:pt idx="189">
                  <c:v>45419</c:v>
                </c:pt>
                <c:pt idx="190">
                  <c:v>45420</c:v>
                </c:pt>
                <c:pt idx="191">
                  <c:v>45421</c:v>
                </c:pt>
                <c:pt idx="192">
                  <c:v>45422</c:v>
                </c:pt>
                <c:pt idx="193">
                  <c:v>45425</c:v>
                </c:pt>
                <c:pt idx="194">
                  <c:v>45426</c:v>
                </c:pt>
                <c:pt idx="195">
                  <c:v>45427</c:v>
                </c:pt>
                <c:pt idx="196">
                  <c:v>45428</c:v>
                </c:pt>
                <c:pt idx="197">
                  <c:v>45429</c:v>
                </c:pt>
                <c:pt idx="198">
                  <c:v>45432</c:v>
                </c:pt>
                <c:pt idx="199">
                  <c:v>45433</c:v>
                </c:pt>
                <c:pt idx="200">
                  <c:v>45434</c:v>
                </c:pt>
                <c:pt idx="201">
                  <c:v>45435</c:v>
                </c:pt>
                <c:pt idx="202">
                  <c:v>45436</c:v>
                </c:pt>
                <c:pt idx="203">
                  <c:v>45439</c:v>
                </c:pt>
                <c:pt idx="204">
                  <c:v>45440</c:v>
                </c:pt>
                <c:pt idx="205">
                  <c:v>45441</c:v>
                </c:pt>
                <c:pt idx="206">
                  <c:v>45442</c:v>
                </c:pt>
                <c:pt idx="207">
                  <c:v>45443</c:v>
                </c:pt>
                <c:pt idx="208">
                  <c:v>45446</c:v>
                </c:pt>
                <c:pt idx="209">
                  <c:v>45447</c:v>
                </c:pt>
                <c:pt idx="210">
                  <c:v>45448</c:v>
                </c:pt>
                <c:pt idx="211">
                  <c:v>45449</c:v>
                </c:pt>
                <c:pt idx="212">
                  <c:v>45450</c:v>
                </c:pt>
                <c:pt idx="213">
                  <c:v>45454</c:v>
                </c:pt>
                <c:pt idx="214">
                  <c:v>45455</c:v>
                </c:pt>
                <c:pt idx="215">
                  <c:v>45456</c:v>
                </c:pt>
                <c:pt idx="216">
                  <c:v>45457</c:v>
                </c:pt>
                <c:pt idx="217">
                  <c:v>45460</c:v>
                </c:pt>
                <c:pt idx="218">
                  <c:v>45461</c:v>
                </c:pt>
                <c:pt idx="219">
                  <c:v>45462</c:v>
                </c:pt>
                <c:pt idx="220">
                  <c:v>45463</c:v>
                </c:pt>
                <c:pt idx="221">
                  <c:v>45464</c:v>
                </c:pt>
                <c:pt idx="222">
                  <c:v>45467</c:v>
                </c:pt>
                <c:pt idx="223">
                  <c:v>45468</c:v>
                </c:pt>
                <c:pt idx="224">
                  <c:v>45469</c:v>
                </c:pt>
                <c:pt idx="225">
                  <c:v>45470</c:v>
                </c:pt>
                <c:pt idx="226">
                  <c:v>45471</c:v>
                </c:pt>
                <c:pt idx="227">
                  <c:v>45474</c:v>
                </c:pt>
                <c:pt idx="228">
                  <c:v>45475</c:v>
                </c:pt>
                <c:pt idx="229">
                  <c:v>45476</c:v>
                </c:pt>
                <c:pt idx="230">
                  <c:v>45477</c:v>
                </c:pt>
                <c:pt idx="231">
                  <c:v>45478</c:v>
                </c:pt>
                <c:pt idx="232">
                  <c:v>45481</c:v>
                </c:pt>
                <c:pt idx="233">
                  <c:v>45482</c:v>
                </c:pt>
                <c:pt idx="234">
                  <c:v>45483</c:v>
                </c:pt>
                <c:pt idx="235">
                  <c:v>45484</c:v>
                </c:pt>
                <c:pt idx="236">
                  <c:v>45485</c:v>
                </c:pt>
                <c:pt idx="237">
                  <c:v>45488</c:v>
                </c:pt>
                <c:pt idx="238">
                  <c:v>45489</c:v>
                </c:pt>
                <c:pt idx="239">
                  <c:v>45490</c:v>
                </c:pt>
                <c:pt idx="240">
                  <c:v>45491</c:v>
                </c:pt>
                <c:pt idx="241">
                  <c:v>45492</c:v>
                </c:pt>
                <c:pt idx="242">
                  <c:v>45495</c:v>
                </c:pt>
                <c:pt idx="243">
                  <c:v>45496</c:v>
                </c:pt>
                <c:pt idx="244">
                  <c:v>45497</c:v>
                </c:pt>
                <c:pt idx="245">
                  <c:v>45498</c:v>
                </c:pt>
                <c:pt idx="246">
                  <c:v>45499</c:v>
                </c:pt>
                <c:pt idx="247">
                  <c:v>45502</c:v>
                </c:pt>
                <c:pt idx="248">
                  <c:v>45503</c:v>
                </c:pt>
                <c:pt idx="249">
                  <c:v>45504</c:v>
                </c:pt>
                <c:pt idx="250">
                  <c:v>45505</c:v>
                </c:pt>
                <c:pt idx="251">
                  <c:v>45506</c:v>
                </c:pt>
                <c:pt idx="252">
                  <c:v>45509</c:v>
                </c:pt>
                <c:pt idx="253">
                  <c:v>45510</c:v>
                </c:pt>
                <c:pt idx="254">
                  <c:v>45511</c:v>
                </c:pt>
                <c:pt idx="255">
                  <c:v>45512</c:v>
                </c:pt>
                <c:pt idx="256">
                  <c:v>45513</c:v>
                </c:pt>
                <c:pt idx="257">
                  <c:v>45516</c:v>
                </c:pt>
                <c:pt idx="258">
                  <c:v>45517</c:v>
                </c:pt>
                <c:pt idx="259">
                  <c:v>45518</c:v>
                </c:pt>
                <c:pt idx="260">
                  <c:v>45519</c:v>
                </c:pt>
                <c:pt idx="261">
                  <c:v>45520</c:v>
                </c:pt>
                <c:pt idx="262">
                  <c:v>45523</c:v>
                </c:pt>
                <c:pt idx="263">
                  <c:v>45524</c:v>
                </c:pt>
                <c:pt idx="264">
                  <c:v>45525</c:v>
                </c:pt>
                <c:pt idx="265">
                  <c:v>45526</c:v>
                </c:pt>
                <c:pt idx="266">
                  <c:v>45527</c:v>
                </c:pt>
                <c:pt idx="267">
                  <c:v>45530</c:v>
                </c:pt>
                <c:pt idx="268">
                  <c:v>45531</c:v>
                </c:pt>
                <c:pt idx="269">
                  <c:v>45532</c:v>
                </c:pt>
                <c:pt idx="270">
                  <c:v>45533</c:v>
                </c:pt>
                <c:pt idx="271">
                  <c:v>45534</c:v>
                </c:pt>
                <c:pt idx="272">
                  <c:v>45537</c:v>
                </c:pt>
                <c:pt idx="273">
                  <c:v>45538</c:v>
                </c:pt>
                <c:pt idx="274">
                  <c:v>45539</c:v>
                </c:pt>
                <c:pt idx="275">
                  <c:v>45540</c:v>
                </c:pt>
                <c:pt idx="276">
                  <c:v>45541</c:v>
                </c:pt>
                <c:pt idx="277">
                  <c:v>45544</c:v>
                </c:pt>
                <c:pt idx="278">
                  <c:v>45545</c:v>
                </c:pt>
                <c:pt idx="279">
                  <c:v>45546</c:v>
                </c:pt>
                <c:pt idx="280">
                  <c:v>45547</c:v>
                </c:pt>
                <c:pt idx="281">
                  <c:v>45548</c:v>
                </c:pt>
                <c:pt idx="282">
                  <c:v>45553</c:v>
                </c:pt>
                <c:pt idx="283">
                  <c:v>45554</c:v>
                </c:pt>
                <c:pt idx="284">
                  <c:v>45555</c:v>
                </c:pt>
                <c:pt idx="285">
                  <c:v>45558</c:v>
                </c:pt>
                <c:pt idx="286">
                  <c:v>45559</c:v>
                </c:pt>
                <c:pt idx="287">
                  <c:v>45560</c:v>
                </c:pt>
                <c:pt idx="288">
                  <c:v>45561</c:v>
                </c:pt>
                <c:pt idx="289">
                  <c:v>45562</c:v>
                </c:pt>
                <c:pt idx="290">
                  <c:v>45565</c:v>
                </c:pt>
                <c:pt idx="291">
                  <c:v>45573</c:v>
                </c:pt>
                <c:pt idx="292">
                  <c:v>45574</c:v>
                </c:pt>
                <c:pt idx="293">
                  <c:v>45575</c:v>
                </c:pt>
                <c:pt idx="294">
                  <c:v>45576</c:v>
                </c:pt>
                <c:pt idx="295">
                  <c:v>45579</c:v>
                </c:pt>
                <c:pt idx="296">
                  <c:v>45580</c:v>
                </c:pt>
                <c:pt idx="297">
                  <c:v>45581</c:v>
                </c:pt>
                <c:pt idx="298">
                  <c:v>45582</c:v>
                </c:pt>
                <c:pt idx="299">
                  <c:v>45583</c:v>
                </c:pt>
                <c:pt idx="300">
                  <c:v>45586</c:v>
                </c:pt>
                <c:pt idx="301">
                  <c:v>45587</c:v>
                </c:pt>
                <c:pt idx="302">
                  <c:v>45588</c:v>
                </c:pt>
                <c:pt idx="303">
                  <c:v>45589</c:v>
                </c:pt>
                <c:pt idx="304">
                  <c:v>45590</c:v>
                </c:pt>
                <c:pt idx="305">
                  <c:v>45593</c:v>
                </c:pt>
                <c:pt idx="306">
                  <c:v>45594</c:v>
                </c:pt>
                <c:pt idx="307">
                  <c:v>45595</c:v>
                </c:pt>
                <c:pt idx="308">
                  <c:v>45596</c:v>
                </c:pt>
                <c:pt idx="309">
                  <c:v>45597</c:v>
                </c:pt>
                <c:pt idx="310">
                  <c:v>45600</c:v>
                </c:pt>
                <c:pt idx="311">
                  <c:v>45601</c:v>
                </c:pt>
                <c:pt idx="312">
                  <c:v>45602</c:v>
                </c:pt>
                <c:pt idx="313">
                  <c:v>45603</c:v>
                </c:pt>
                <c:pt idx="314">
                  <c:v>45604</c:v>
                </c:pt>
                <c:pt idx="315">
                  <c:v>45607</c:v>
                </c:pt>
                <c:pt idx="316">
                  <c:v>45608</c:v>
                </c:pt>
                <c:pt idx="317">
                  <c:v>45609</c:v>
                </c:pt>
                <c:pt idx="318">
                  <c:v>45610</c:v>
                </c:pt>
                <c:pt idx="319">
                  <c:v>45611</c:v>
                </c:pt>
                <c:pt idx="320">
                  <c:v>45614</c:v>
                </c:pt>
                <c:pt idx="321">
                  <c:v>45615</c:v>
                </c:pt>
                <c:pt idx="322">
                  <c:v>45616</c:v>
                </c:pt>
                <c:pt idx="323">
                  <c:v>45617</c:v>
                </c:pt>
                <c:pt idx="324">
                  <c:v>45618</c:v>
                </c:pt>
                <c:pt idx="325">
                  <c:v>45621</c:v>
                </c:pt>
                <c:pt idx="326">
                  <c:v>45622</c:v>
                </c:pt>
                <c:pt idx="327">
                  <c:v>45623</c:v>
                </c:pt>
                <c:pt idx="328">
                  <c:v>45624</c:v>
                </c:pt>
                <c:pt idx="329">
                  <c:v>45625</c:v>
                </c:pt>
                <c:pt idx="330">
                  <c:v>45628</c:v>
                </c:pt>
                <c:pt idx="331">
                  <c:v>45629</c:v>
                </c:pt>
                <c:pt idx="332">
                  <c:v>45630</c:v>
                </c:pt>
                <c:pt idx="333">
                  <c:v>45631</c:v>
                </c:pt>
                <c:pt idx="334">
                  <c:v>45632</c:v>
                </c:pt>
                <c:pt idx="335">
                  <c:v>45635</c:v>
                </c:pt>
                <c:pt idx="336">
                  <c:v>45636</c:v>
                </c:pt>
                <c:pt idx="337">
                  <c:v>45637</c:v>
                </c:pt>
                <c:pt idx="338">
                  <c:v>45638</c:v>
                </c:pt>
                <c:pt idx="339">
                  <c:v>45639</c:v>
                </c:pt>
                <c:pt idx="340">
                  <c:v>45642</c:v>
                </c:pt>
                <c:pt idx="341">
                  <c:v>45643</c:v>
                </c:pt>
                <c:pt idx="342">
                  <c:v>45644</c:v>
                </c:pt>
                <c:pt idx="343">
                  <c:v>45645</c:v>
                </c:pt>
                <c:pt idx="344">
                  <c:v>45646</c:v>
                </c:pt>
                <c:pt idx="345">
                  <c:v>45649</c:v>
                </c:pt>
                <c:pt idx="346">
                  <c:v>45650</c:v>
                </c:pt>
                <c:pt idx="347">
                  <c:v>45651</c:v>
                </c:pt>
                <c:pt idx="348">
                  <c:v>45652</c:v>
                </c:pt>
                <c:pt idx="349">
                  <c:v>45653</c:v>
                </c:pt>
                <c:pt idx="350">
                  <c:v>45656</c:v>
                </c:pt>
                <c:pt idx="351">
                  <c:v>45657</c:v>
                </c:pt>
                <c:pt idx="352">
                  <c:v>45659</c:v>
                </c:pt>
                <c:pt idx="353">
                  <c:v>45660</c:v>
                </c:pt>
                <c:pt idx="354">
                  <c:v>45663</c:v>
                </c:pt>
                <c:pt idx="355">
                  <c:v>45664</c:v>
                </c:pt>
                <c:pt idx="356">
                  <c:v>45665</c:v>
                </c:pt>
                <c:pt idx="357">
                  <c:v>45666</c:v>
                </c:pt>
                <c:pt idx="358">
                  <c:v>45667</c:v>
                </c:pt>
                <c:pt idx="359">
                  <c:v>45670</c:v>
                </c:pt>
                <c:pt idx="360">
                  <c:v>45671</c:v>
                </c:pt>
                <c:pt idx="361">
                  <c:v>45672</c:v>
                </c:pt>
                <c:pt idx="362">
                  <c:v>45673</c:v>
                </c:pt>
                <c:pt idx="363">
                  <c:v>45674</c:v>
                </c:pt>
                <c:pt idx="364">
                  <c:v>45677</c:v>
                </c:pt>
                <c:pt idx="365">
                  <c:v>45678</c:v>
                </c:pt>
                <c:pt idx="366">
                  <c:v>45679</c:v>
                </c:pt>
                <c:pt idx="367">
                  <c:v>45680</c:v>
                </c:pt>
                <c:pt idx="368">
                  <c:v>45681</c:v>
                </c:pt>
                <c:pt idx="369">
                  <c:v>45684</c:v>
                </c:pt>
                <c:pt idx="370">
                  <c:v>45693</c:v>
                </c:pt>
                <c:pt idx="371">
                  <c:v>45694</c:v>
                </c:pt>
                <c:pt idx="372">
                  <c:v>45695</c:v>
                </c:pt>
                <c:pt idx="373">
                  <c:v>45698</c:v>
                </c:pt>
                <c:pt idx="374">
                  <c:v>45699</c:v>
                </c:pt>
                <c:pt idx="375">
                  <c:v>45700</c:v>
                </c:pt>
                <c:pt idx="376">
                  <c:v>45701</c:v>
                </c:pt>
                <c:pt idx="377">
                  <c:v>45702</c:v>
                </c:pt>
                <c:pt idx="378">
                  <c:v>45705</c:v>
                </c:pt>
                <c:pt idx="379">
                  <c:v>45706</c:v>
                </c:pt>
                <c:pt idx="380">
                  <c:v>45707</c:v>
                </c:pt>
                <c:pt idx="381">
                  <c:v>45708</c:v>
                </c:pt>
                <c:pt idx="382">
                  <c:v>45709</c:v>
                </c:pt>
                <c:pt idx="383">
                  <c:v>45712</c:v>
                </c:pt>
                <c:pt idx="384">
                  <c:v>45713</c:v>
                </c:pt>
                <c:pt idx="385">
                  <c:v>45714</c:v>
                </c:pt>
                <c:pt idx="386">
                  <c:v>45715</c:v>
                </c:pt>
                <c:pt idx="387">
                  <c:v>45716</c:v>
                </c:pt>
                <c:pt idx="388">
                  <c:v>45719</c:v>
                </c:pt>
                <c:pt idx="389">
                  <c:v>45720</c:v>
                </c:pt>
                <c:pt idx="390">
                  <c:v>45721</c:v>
                </c:pt>
                <c:pt idx="391">
                  <c:v>45722</c:v>
                </c:pt>
                <c:pt idx="392">
                  <c:v>45723</c:v>
                </c:pt>
                <c:pt idx="393">
                  <c:v>45726</c:v>
                </c:pt>
                <c:pt idx="394">
                  <c:v>45727</c:v>
                </c:pt>
                <c:pt idx="395">
                  <c:v>45728</c:v>
                </c:pt>
                <c:pt idx="396">
                  <c:v>45729</c:v>
                </c:pt>
                <c:pt idx="397">
                  <c:v>45730</c:v>
                </c:pt>
                <c:pt idx="398">
                  <c:v>45733</c:v>
                </c:pt>
                <c:pt idx="399">
                  <c:v>45734</c:v>
                </c:pt>
                <c:pt idx="400">
                  <c:v>45735</c:v>
                </c:pt>
                <c:pt idx="401">
                  <c:v>45736</c:v>
                </c:pt>
                <c:pt idx="402">
                  <c:v>45737</c:v>
                </c:pt>
                <c:pt idx="403">
                  <c:v>45740</c:v>
                </c:pt>
                <c:pt idx="404">
                  <c:v>45741</c:v>
                </c:pt>
                <c:pt idx="405">
                  <c:v>45742</c:v>
                </c:pt>
                <c:pt idx="406">
                  <c:v>45743</c:v>
                </c:pt>
                <c:pt idx="407">
                  <c:v>45744</c:v>
                </c:pt>
                <c:pt idx="408">
                  <c:v>45747</c:v>
                </c:pt>
                <c:pt idx="409">
                  <c:v>45748</c:v>
                </c:pt>
                <c:pt idx="410">
                  <c:v>45749</c:v>
                </c:pt>
                <c:pt idx="411">
                  <c:v>45750</c:v>
                </c:pt>
                <c:pt idx="412">
                  <c:v>45754</c:v>
                </c:pt>
                <c:pt idx="413">
                  <c:v>45755</c:v>
                </c:pt>
                <c:pt idx="414">
                  <c:v>45756</c:v>
                </c:pt>
                <c:pt idx="415">
                  <c:v>45757</c:v>
                </c:pt>
                <c:pt idx="416">
                  <c:v>45758</c:v>
                </c:pt>
                <c:pt idx="417">
                  <c:v>45761</c:v>
                </c:pt>
                <c:pt idx="418">
                  <c:v>45762</c:v>
                </c:pt>
                <c:pt idx="419">
                  <c:v>45763</c:v>
                </c:pt>
                <c:pt idx="420">
                  <c:v>45764</c:v>
                </c:pt>
                <c:pt idx="421">
                  <c:v>45765</c:v>
                </c:pt>
                <c:pt idx="422">
                  <c:v>45768</c:v>
                </c:pt>
                <c:pt idx="423">
                  <c:v>45769</c:v>
                </c:pt>
                <c:pt idx="424">
                  <c:v>45770</c:v>
                </c:pt>
                <c:pt idx="425">
                  <c:v>45771</c:v>
                </c:pt>
                <c:pt idx="426">
                  <c:v>45772</c:v>
                </c:pt>
                <c:pt idx="427">
                  <c:v>45775</c:v>
                </c:pt>
                <c:pt idx="428">
                  <c:v>45776</c:v>
                </c:pt>
                <c:pt idx="429">
                  <c:v>45777</c:v>
                </c:pt>
                <c:pt idx="430">
                  <c:v>45783</c:v>
                </c:pt>
                <c:pt idx="431">
                  <c:v>45784</c:v>
                </c:pt>
                <c:pt idx="432">
                  <c:v>45785</c:v>
                </c:pt>
                <c:pt idx="433">
                  <c:v>45786</c:v>
                </c:pt>
                <c:pt idx="434">
                  <c:v>45789</c:v>
                </c:pt>
                <c:pt idx="435">
                  <c:v>45790</c:v>
                </c:pt>
                <c:pt idx="436">
                  <c:v>45791</c:v>
                </c:pt>
                <c:pt idx="437">
                  <c:v>45792</c:v>
                </c:pt>
                <c:pt idx="438">
                  <c:v>45793</c:v>
                </c:pt>
                <c:pt idx="439">
                  <c:v>45796</c:v>
                </c:pt>
                <c:pt idx="440">
                  <c:v>45797</c:v>
                </c:pt>
                <c:pt idx="441">
                  <c:v>45798</c:v>
                </c:pt>
                <c:pt idx="442">
                  <c:v>45799</c:v>
                </c:pt>
                <c:pt idx="443">
                  <c:v>45800</c:v>
                </c:pt>
                <c:pt idx="444">
                  <c:v>45803</c:v>
                </c:pt>
                <c:pt idx="445">
                  <c:v>45804</c:v>
                </c:pt>
                <c:pt idx="446">
                  <c:v>45805</c:v>
                </c:pt>
                <c:pt idx="447">
                  <c:v>45806</c:v>
                </c:pt>
                <c:pt idx="448">
                  <c:v>45807</c:v>
                </c:pt>
                <c:pt idx="449">
                  <c:v>45811</c:v>
                </c:pt>
                <c:pt idx="450">
                  <c:v>45812</c:v>
                </c:pt>
                <c:pt idx="451">
                  <c:v>45813</c:v>
                </c:pt>
                <c:pt idx="452">
                  <c:v>45814</c:v>
                </c:pt>
                <c:pt idx="453">
                  <c:v>45817</c:v>
                </c:pt>
                <c:pt idx="454">
                  <c:v>45818</c:v>
                </c:pt>
                <c:pt idx="455">
                  <c:v>45819</c:v>
                </c:pt>
                <c:pt idx="456">
                  <c:v>45820</c:v>
                </c:pt>
                <c:pt idx="457">
                  <c:v>45821</c:v>
                </c:pt>
                <c:pt idx="458">
                  <c:v>45824</c:v>
                </c:pt>
                <c:pt idx="459">
                  <c:v>45825</c:v>
                </c:pt>
                <c:pt idx="460">
                  <c:v>45826</c:v>
                </c:pt>
                <c:pt idx="461">
                  <c:v>45827</c:v>
                </c:pt>
                <c:pt idx="462">
                  <c:v>45828</c:v>
                </c:pt>
                <c:pt idx="463">
                  <c:v>45831</c:v>
                </c:pt>
                <c:pt idx="464">
                  <c:v>45832</c:v>
                </c:pt>
                <c:pt idx="465">
                  <c:v>45833</c:v>
                </c:pt>
                <c:pt idx="466">
                  <c:v>45834</c:v>
                </c:pt>
                <c:pt idx="467">
                  <c:v>45835</c:v>
                </c:pt>
                <c:pt idx="468">
                  <c:v>45838</c:v>
                </c:pt>
                <c:pt idx="469">
                  <c:v>45839</c:v>
                </c:pt>
                <c:pt idx="470">
                  <c:v>45840</c:v>
                </c:pt>
                <c:pt idx="471">
                  <c:v>45841</c:v>
                </c:pt>
                <c:pt idx="472">
                  <c:v>45842</c:v>
                </c:pt>
                <c:pt idx="473">
                  <c:v>45845</c:v>
                </c:pt>
                <c:pt idx="474">
                  <c:v>45846</c:v>
                </c:pt>
                <c:pt idx="475">
                  <c:v>45847</c:v>
                </c:pt>
                <c:pt idx="476">
                  <c:v>45848</c:v>
                </c:pt>
                <c:pt idx="477">
                  <c:v>45849</c:v>
                </c:pt>
                <c:pt idx="478">
                  <c:v>45852</c:v>
                </c:pt>
                <c:pt idx="479">
                  <c:v>45853</c:v>
                </c:pt>
                <c:pt idx="480">
                  <c:v>45854</c:v>
                </c:pt>
                <c:pt idx="481">
                  <c:v>45855</c:v>
                </c:pt>
                <c:pt idx="482">
                  <c:v>45856</c:v>
                </c:pt>
                <c:pt idx="483">
                  <c:v>45859</c:v>
                </c:pt>
                <c:pt idx="484">
                  <c:v>45860</c:v>
                </c:pt>
                <c:pt idx="485">
                  <c:v>45861</c:v>
                </c:pt>
                <c:pt idx="486">
                  <c:v>45862</c:v>
                </c:pt>
                <c:pt idx="487">
                  <c:v>45863</c:v>
                </c:pt>
                <c:pt idx="488">
                  <c:v>45866</c:v>
                </c:pt>
                <c:pt idx="489">
                  <c:v>45867</c:v>
                </c:pt>
                <c:pt idx="490">
                  <c:v>45868</c:v>
                </c:pt>
                <c:pt idx="491">
                  <c:v>45869</c:v>
                </c:pt>
                <c:pt idx="492">
                  <c:v>45870</c:v>
                </c:pt>
                <c:pt idx="493">
                  <c:v>45873</c:v>
                </c:pt>
                <c:pt idx="494">
                  <c:v>45874</c:v>
                </c:pt>
                <c:pt idx="495">
                  <c:v>45875</c:v>
                </c:pt>
                <c:pt idx="496">
                  <c:v>45876</c:v>
                </c:pt>
                <c:pt idx="497">
                  <c:v>45877</c:v>
                </c:pt>
                <c:pt idx="498">
                  <c:v>45880</c:v>
                </c:pt>
                <c:pt idx="499">
                  <c:v>45881</c:v>
                </c:pt>
                <c:pt idx="500">
                  <c:v>45882</c:v>
                </c:pt>
                <c:pt idx="501">
                  <c:v>45883</c:v>
                </c:pt>
                <c:pt idx="502">
                  <c:v>45884</c:v>
                </c:pt>
                <c:pt idx="503">
                  <c:v>45887</c:v>
                </c:pt>
                <c:pt idx="504">
                  <c:v>45888</c:v>
                </c:pt>
                <c:pt idx="505">
                  <c:v>45889</c:v>
                </c:pt>
                <c:pt idx="506">
                  <c:v>45890</c:v>
                </c:pt>
                <c:pt idx="507">
                  <c:v>45891</c:v>
                </c:pt>
                <c:pt idx="508">
                  <c:v>45894</c:v>
                </c:pt>
                <c:pt idx="509">
                  <c:v>45895</c:v>
                </c:pt>
                <c:pt idx="510">
                  <c:v>45896</c:v>
                </c:pt>
                <c:pt idx="511">
                  <c:v>45897</c:v>
                </c:pt>
                <c:pt idx="512">
                  <c:v>45898</c:v>
                </c:pt>
                <c:pt idx="513">
                  <c:v>45901</c:v>
                </c:pt>
                <c:pt idx="514">
                  <c:v>45902</c:v>
                </c:pt>
                <c:pt idx="515">
                  <c:v>45903</c:v>
                </c:pt>
                <c:pt idx="516">
                  <c:v>45904</c:v>
                </c:pt>
                <c:pt idx="517">
                  <c:v>45905</c:v>
                </c:pt>
                <c:pt idx="518">
                  <c:v>45908</c:v>
                </c:pt>
                <c:pt idx="519">
                  <c:v>45909</c:v>
                </c:pt>
                <c:pt idx="520">
                  <c:v>45910</c:v>
                </c:pt>
                <c:pt idx="521">
                  <c:v>45911</c:v>
                </c:pt>
                <c:pt idx="522">
                  <c:v>45912</c:v>
                </c:pt>
                <c:pt idx="523">
                  <c:v>45915</c:v>
                </c:pt>
                <c:pt idx="524">
                  <c:v>45916</c:v>
                </c:pt>
                <c:pt idx="525">
                  <c:v>45917</c:v>
                </c:pt>
                <c:pt idx="526">
                  <c:v>45918</c:v>
                </c:pt>
                <c:pt idx="527">
                  <c:v>45919</c:v>
                </c:pt>
                <c:pt idx="528">
                  <c:v>45922</c:v>
                </c:pt>
                <c:pt idx="529">
                  <c:v>45923</c:v>
                </c:pt>
                <c:pt idx="530">
                  <c:v>45924</c:v>
                </c:pt>
                <c:pt idx="531">
                  <c:v>45925</c:v>
                </c:pt>
                <c:pt idx="532">
                  <c:v>45926</c:v>
                </c:pt>
                <c:pt idx="533">
                  <c:v>45929</c:v>
                </c:pt>
                <c:pt idx="534">
                  <c:v>45930</c:v>
                </c:pt>
                <c:pt idx="535">
                  <c:v>45931</c:v>
                </c:pt>
                <c:pt idx="536">
                  <c:v>45932</c:v>
                </c:pt>
                <c:pt idx="537">
                  <c:v>45933</c:v>
                </c:pt>
                <c:pt idx="538">
                  <c:v>45936</c:v>
                </c:pt>
                <c:pt idx="539">
                  <c:v>45937</c:v>
                </c:pt>
                <c:pt idx="540">
                  <c:v>45938</c:v>
                </c:pt>
                <c:pt idx="541">
                  <c:v>45939</c:v>
                </c:pt>
                <c:pt idx="542">
                  <c:v>45940</c:v>
                </c:pt>
                <c:pt idx="543">
                  <c:v>45943</c:v>
                </c:pt>
                <c:pt idx="544">
                  <c:v>45944</c:v>
                </c:pt>
                <c:pt idx="545">
                  <c:v>45945</c:v>
                </c:pt>
                <c:pt idx="546">
                  <c:v>45946</c:v>
                </c:pt>
                <c:pt idx="547">
                  <c:v>45947</c:v>
                </c:pt>
                <c:pt idx="548">
                  <c:v>45950</c:v>
                </c:pt>
                <c:pt idx="549">
                  <c:v>45951</c:v>
                </c:pt>
                <c:pt idx="550">
                  <c:v>45952</c:v>
                </c:pt>
                <c:pt idx="551">
                  <c:v>45953</c:v>
                </c:pt>
                <c:pt idx="552">
                  <c:v>45954</c:v>
                </c:pt>
                <c:pt idx="553">
                  <c:v>45957</c:v>
                </c:pt>
                <c:pt idx="554">
                  <c:v>45958</c:v>
                </c:pt>
                <c:pt idx="555">
                  <c:v>45959</c:v>
                </c:pt>
                <c:pt idx="556">
                  <c:v>45960</c:v>
                </c:pt>
                <c:pt idx="557">
                  <c:v>45961</c:v>
                </c:pt>
                <c:pt idx="558">
                  <c:v>45964</c:v>
                </c:pt>
                <c:pt idx="559">
                  <c:v>45965</c:v>
                </c:pt>
                <c:pt idx="560">
                  <c:v>45966</c:v>
                </c:pt>
                <c:pt idx="561">
                  <c:v>45967</c:v>
                </c:pt>
                <c:pt idx="562">
                  <c:v>45968</c:v>
                </c:pt>
                <c:pt idx="563">
                  <c:v>45971</c:v>
                </c:pt>
                <c:pt idx="564">
                  <c:v>45972</c:v>
                </c:pt>
                <c:pt idx="565">
                  <c:v>45973</c:v>
                </c:pt>
                <c:pt idx="566">
                  <c:v>45974</c:v>
                </c:pt>
                <c:pt idx="567">
                  <c:v>45975</c:v>
                </c:pt>
                <c:pt idx="568">
                  <c:v>45978</c:v>
                </c:pt>
                <c:pt idx="569">
                  <c:v>45979</c:v>
                </c:pt>
                <c:pt idx="570">
                  <c:v>45980</c:v>
                </c:pt>
                <c:pt idx="571">
                  <c:v>45981</c:v>
                </c:pt>
                <c:pt idx="572">
                  <c:v>45982</c:v>
                </c:pt>
                <c:pt idx="573">
                  <c:v>45985</c:v>
                </c:pt>
                <c:pt idx="574">
                  <c:v>45986</c:v>
                </c:pt>
                <c:pt idx="575">
                  <c:v>45987</c:v>
                </c:pt>
                <c:pt idx="576">
                  <c:v>45988</c:v>
                </c:pt>
                <c:pt idx="577">
                  <c:v>45989</c:v>
                </c:pt>
                <c:pt idx="578">
                  <c:v>45992</c:v>
                </c:pt>
                <c:pt idx="579">
                  <c:v>45993</c:v>
                </c:pt>
                <c:pt idx="580">
                  <c:v>45994</c:v>
                </c:pt>
                <c:pt idx="581">
                  <c:v>45995</c:v>
                </c:pt>
                <c:pt idx="582">
                  <c:v>45996</c:v>
                </c:pt>
                <c:pt idx="583">
                  <c:v>45999</c:v>
                </c:pt>
                <c:pt idx="584">
                  <c:v>46000</c:v>
                </c:pt>
                <c:pt idx="585">
                  <c:v>46001</c:v>
                </c:pt>
                <c:pt idx="586">
                  <c:v>46002</c:v>
                </c:pt>
                <c:pt idx="587">
                  <c:v>46003</c:v>
                </c:pt>
                <c:pt idx="588">
                  <c:v>46006</c:v>
                </c:pt>
                <c:pt idx="589">
                  <c:v>46007</c:v>
                </c:pt>
                <c:pt idx="590">
                  <c:v>46008</c:v>
                </c:pt>
                <c:pt idx="591">
                  <c:v>46009</c:v>
                </c:pt>
                <c:pt idx="592">
                  <c:v>46010</c:v>
                </c:pt>
                <c:pt idx="593">
                  <c:v>46013</c:v>
                </c:pt>
                <c:pt idx="594">
                  <c:v>46014</c:v>
                </c:pt>
                <c:pt idx="595">
                  <c:v>46015</c:v>
                </c:pt>
                <c:pt idx="596">
                  <c:v>46016</c:v>
                </c:pt>
                <c:pt idx="597">
                  <c:v>46017</c:v>
                </c:pt>
                <c:pt idx="598">
                  <c:v>46020</c:v>
                </c:pt>
                <c:pt idx="599">
                  <c:v>46021</c:v>
                </c:pt>
                <c:pt idx="600">
                  <c:v>46022</c:v>
                </c:pt>
                <c:pt idx="601">
                  <c:v>46023</c:v>
                </c:pt>
                <c:pt idx="602">
                  <c:v>46024</c:v>
                </c:pt>
                <c:pt idx="603">
                  <c:v>46027</c:v>
                </c:pt>
                <c:pt idx="604">
                  <c:v>46028</c:v>
                </c:pt>
                <c:pt idx="605">
                  <c:v>46029</c:v>
                </c:pt>
                <c:pt idx="606">
                  <c:v>46030</c:v>
                </c:pt>
                <c:pt idx="607">
                  <c:v>46031</c:v>
                </c:pt>
                <c:pt idx="608">
                  <c:v>46034</c:v>
                </c:pt>
                <c:pt idx="609">
                  <c:v>46035</c:v>
                </c:pt>
                <c:pt idx="610">
                  <c:v>46036</c:v>
                </c:pt>
                <c:pt idx="611">
                  <c:v>46037</c:v>
                </c:pt>
                <c:pt idx="612">
                  <c:v>46038</c:v>
                </c:pt>
                <c:pt idx="613">
                  <c:v>46041</c:v>
                </c:pt>
                <c:pt idx="614">
                  <c:v>46042</c:v>
                </c:pt>
                <c:pt idx="615">
                  <c:v>46043</c:v>
                </c:pt>
                <c:pt idx="616">
                  <c:v>46044</c:v>
                </c:pt>
                <c:pt idx="617">
                  <c:v>46045</c:v>
                </c:pt>
                <c:pt idx="618">
                  <c:v>46048</c:v>
                </c:pt>
                <c:pt idx="619">
                  <c:v>46049</c:v>
                </c:pt>
                <c:pt idx="620">
                  <c:v>46050</c:v>
                </c:pt>
                <c:pt idx="621">
                  <c:v>46051</c:v>
                </c:pt>
                <c:pt idx="622">
                  <c:v>46052</c:v>
                </c:pt>
                <c:pt idx="623">
                  <c:v>46055</c:v>
                </c:pt>
                <c:pt idx="624">
                  <c:v>46056</c:v>
                </c:pt>
                <c:pt idx="625">
                  <c:v>46057</c:v>
                </c:pt>
                <c:pt idx="626">
                  <c:v>46058</c:v>
                </c:pt>
                <c:pt idx="627">
                  <c:v>46059</c:v>
                </c:pt>
                <c:pt idx="628">
                  <c:v>46062</c:v>
                </c:pt>
                <c:pt idx="629">
                  <c:v>46063</c:v>
                </c:pt>
                <c:pt idx="630">
                  <c:v>46064</c:v>
                </c:pt>
                <c:pt idx="631">
                  <c:v>46065</c:v>
                </c:pt>
                <c:pt idx="632">
                  <c:v>46066</c:v>
                </c:pt>
                <c:pt idx="633">
                  <c:v>46069</c:v>
                </c:pt>
                <c:pt idx="634">
                  <c:v>46070</c:v>
                </c:pt>
                <c:pt idx="635">
                  <c:v>46071</c:v>
                </c:pt>
                <c:pt idx="636">
                  <c:v>46072</c:v>
                </c:pt>
                <c:pt idx="637">
                  <c:v>46073</c:v>
                </c:pt>
                <c:pt idx="638">
                  <c:v>46076</c:v>
                </c:pt>
                <c:pt idx="639">
                  <c:v>46077</c:v>
                </c:pt>
                <c:pt idx="640">
                  <c:v>46078</c:v>
                </c:pt>
                <c:pt idx="641">
                  <c:v>46079</c:v>
                </c:pt>
                <c:pt idx="642">
                  <c:v>46080</c:v>
                </c:pt>
                <c:pt idx="643">
                  <c:v>46083</c:v>
                </c:pt>
                <c:pt idx="644">
                  <c:v>46084</c:v>
                </c:pt>
                <c:pt idx="645">
                  <c:v>46085</c:v>
                </c:pt>
                <c:pt idx="646">
                  <c:v>46086</c:v>
                </c:pt>
                <c:pt idx="647">
                  <c:v>46087</c:v>
                </c:pt>
                <c:pt idx="648">
                  <c:v>46090</c:v>
                </c:pt>
                <c:pt idx="649">
                  <c:v>46091</c:v>
                </c:pt>
                <c:pt idx="650">
                  <c:v>46092</c:v>
                </c:pt>
                <c:pt idx="651">
                  <c:v>46093</c:v>
                </c:pt>
                <c:pt idx="652">
                  <c:v>46094</c:v>
                </c:pt>
                <c:pt idx="653">
                  <c:v>46097</c:v>
                </c:pt>
                <c:pt idx="654">
                  <c:v>46098</c:v>
                </c:pt>
                <c:pt idx="655">
                  <c:v>46099</c:v>
                </c:pt>
                <c:pt idx="656">
                  <c:v>46100</c:v>
                </c:pt>
                <c:pt idx="657">
                  <c:v>46101</c:v>
                </c:pt>
                <c:pt idx="658">
                  <c:v>46104</c:v>
                </c:pt>
                <c:pt idx="659">
                  <c:v>46105</c:v>
                </c:pt>
                <c:pt idx="660">
                  <c:v>46106</c:v>
                </c:pt>
                <c:pt idx="661">
                  <c:v>46107</c:v>
                </c:pt>
                <c:pt idx="662">
                  <c:v>46108</c:v>
                </c:pt>
                <c:pt idx="663">
                  <c:v>46111</c:v>
                </c:pt>
                <c:pt idx="664">
                  <c:v>46112</c:v>
                </c:pt>
                <c:pt idx="665">
                  <c:v>46113</c:v>
                </c:pt>
                <c:pt idx="666">
                  <c:v>46114</c:v>
                </c:pt>
                <c:pt idx="667">
                  <c:v>46115</c:v>
                </c:pt>
                <c:pt idx="668">
                  <c:v>46118</c:v>
                </c:pt>
                <c:pt idx="669">
                  <c:v>46119</c:v>
                </c:pt>
                <c:pt idx="670">
                  <c:v>46120</c:v>
                </c:pt>
                <c:pt idx="671">
                  <c:v>46121</c:v>
                </c:pt>
                <c:pt idx="672">
                  <c:v>46122</c:v>
                </c:pt>
                <c:pt idx="673">
                  <c:v>46125</c:v>
                </c:pt>
                <c:pt idx="674">
                  <c:v>46126</c:v>
                </c:pt>
                <c:pt idx="675">
                  <c:v>46127</c:v>
                </c:pt>
                <c:pt idx="676">
                  <c:v>46128</c:v>
                </c:pt>
                <c:pt idx="677">
                  <c:v>46129</c:v>
                </c:pt>
                <c:pt idx="678">
                  <c:v>46132</c:v>
                </c:pt>
                <c:pt idx="679">
                  <c:v>46133</c:v>
                </c:pt>
                <c:pt idx="680">
                  <c:v>46134</c:v>
                </c:pt>
                <c:pt idx="681">
                  <c:v>46135</c:v>
                </c:pt>
                <c:pt idx="682">
                  <c:v>46136</c:v>
                </c:pt>
                <c:pt idx="683">
                  <c:v>46139</c:v>
                </c:pt>
                <c:pt idx="684">
                  <c:v>46140</c:v>
                </c:pt>
                <c:pt idx="685">
                  <c:v>46141</c:v>
                </c:pt>
                <c:pt idx="686">
                  <c:v>46142</c:v>
                </c:pt>
                <c:pt idx="687">
                  <c:v>46143</c:v>
                </c:pt>
                <c:pt idx="688">
                  <c:v>46146</c:v>
                </c:pt>
                <c:pt idx="689">
                  <c:v>46147</c:v>
                </c:pt>
                <c:pt idx="690">
                  <c:v>46148</c:v>
                </c:pt>
                <c:pt idx="691">
                  <c:v>46149</c:v>
                </c:pt>
                <c:pt idx="692">
                  <c:v>46150</c:v>
                </c:pt>
                <c:pt idx="693">
                  <c:v>46153</c:v>
                </c:pt>
                <c:pt idx="694">
                  <c:v>46154</c:v>
                </c:pt>
                <c:pt idx="695">
                  <c:v>46155</c:v>
                </c:pt>
                <c:pt idx="696">
                  <c:v>46156</c:v>
                </c:pt>
                <c:pt idx="697">
                  <c:v>46157</c:v>
                </c:pt>
                <c:pt idx="698">
                  <c:v>46160</c:v>
                </c:pt>
                <c:pt idx="699">
                  <c:v>46161</c:v>
                </c:pt>
                <c:pt idx="700">
                  <c:v>46162</c:v>
                </c:pt>
                <c:pt idx="701">
                  <c:v>46163</c:v>
                </c:pt>
                <c:pt idx="702">
                  <c:v>46164</c:v>
                </c:pt>
                <c:pt idx="703">
                  <c:v>46167</c:v>
                </c:pt>
                <c:pt idx="704">
                  <c:v>46168</c:v>
                </c:pt>
                <c:pt idx="705">
                  <c:v>46169</c:v>
                </c:pt>
                <c:pt idx="706">
                  <c:v>46170</c:v>
                </c:pt>
                <c:pt idx="707">
                  <c:v>46171</c:v>
                </c:pt>
                <c:pt idx="708">
                  <c:v>46174</c:v>
                </c:pt>
                <c:pt idx="709">
                  <c:v>46175</c:v>
                </c:pt>
                <c:pt idx="710">
                  <c:v>46176</c:v>
                </c:pt>
                <c:pt idx="711">
                  <c:v>46177</c:v>
                </c:pt>
                <c:pt idx="712">
                  <c:v>46178</c:v>
                </c:pt>
                <c:pt idx="713">
                  <c:v>46181</c:v>
                </c:pt>
                <c:pt idx="714">
                  <c:v>46182</c:v>
                </c:pt>
                <c:pt idx="715">
                  <c:v>46183</c:v>
                </c:pt>
                <c:pt idx="716">
                  <c:v>46184</c:v>
                </c:pt>
                <c:pt idx="717">
                  <c:v>46185</c:v>
                </c:pt>
                <c:pt idx="718">
                  <c:v>46188</c:v>
                </c:pt>
                <c:pt idx="719">
                  <c:v>46189</c:v>
                </c:pt>
                <c:pt idx="720">
                  <c:v>46190</c:v>
                </c:pt>
                <c:pt idx="721">
                  <c:v>46191</c:v>
                </c:pt>
                <c:pt idx="722">
                  <c:v>46192</c:v>
                </c:pt>
                <c:pt idx="723">
                  <c:v>46195</c:v>
                </c:pt>
                <c:pt idx="724">
                  <c:v>46196</c:v>
                </c:pt>
                <c:pt idx="725">
                  <c:v>46197</c:v>
                </c:pt>
                <c:pt idx="726">
                  <c:v>46198</c:v>
                </c:pt>
                <c:pt idx="727">
                  <c:v>46199</c:v>
                </c:pt>
                <c:pt idx="728">
                  <c:v>46202</c:v>
                </c:pt>
                <c:pt idx="729">
                  <c:v>46203</c:v>
                </c:pt>
                <c:pt idx="730">
                  <c:v>46204</c:v>
                </c:pt>
                <c:pt idx="731">
                  <c:v>46205</c:v>
                </c:pt>
                <c:pt idx="732">
                  <c:v>46206</c:v>
                </c:pt>
                <c:pt idx="733">
                  <c:v>46209</c:v>
                </c:pt>
                <c:pt idx="734">
                  <c:v>46210</c:v>
                </c:pt>
                <c:pt idx="735">
                  <c:v>46211</c:v>
                </c:pt>
                <c:pt idx="736">
                  <c:v>46212</c:v>
                </c:pt>
                <c:pt idx="737">
                  <c:v>46213</c:v>
                </c:pt>
                <c:pt idx="738">
                  <c:v>46216</c:v>
                </c:pt>
                <c:pt idx="739">
                  <c:v>46217</c:v>
                </c:pt>
                <c:pt idx="740">
                  <c:v>46218</c:v>
                </c:pt>
                <c:pt idx="741">
                  <c:v>46219</c:v>
                </c:pt>
                <c:pt idx="742">
                  <c:v>46220</c:v>
                </c:pt>
                <c:pt idx="743">
                  <c:v>46223</c:v>
                </c:pt>
                <c:pt idx="744">
                  <c:v>46224</c:v>
                </c:pt>
                <c:pt idx="745">
                  <c:v>46225</c:v>
                </c:pt>
                <c:pt idx="746">
                  <c:v>46226</c:v>
                </c:pt>
                <c:pt idx="747">
                  <c:v>46227</c:v>
                </c:pt>
                <c:pt idx="748">
                  <c:v>46230</c:v>
                </c:pt>
                <c:pt idx="749">
                  <c:v>46231</c:v>
                </c:pt>
                <c:pt idx="750">
                  <c:v>46232</c:v>
                </c:pt>
                <c:pt idx="751">
                  <c:v>46233</c:v>
                </c:pt>
                <c:pt idx="752">
                  <c:v>46234</c:v>
                </c:pt>
                <c:pt idx="753">
                  <c:v>46237</c:v>
                </c:pt>
                <c:pt idx="754">
                  <c:v>46238</c:v>
                </c:pt>
                <c:pt idx="755">
                  <c:v>46239</c:v>
                </c:pt>
                <c:pt idx="756">
                  <c:v>46240</c:v>
                </c:pt>
                <c:pt idx="757">
                  <c:v>46241</c:v>
                </c:pt>
                <c:pt idx="758">
                  <c:v>46244</c:v>
                </c:pt>
                <c:pt idx="759">
                  <c:v>46245</c:v>
                </c:pt>
                <c:pt idx="760">
                  <c:v>46246</c:v>
                </c:pt>
                <c:pt idx="761">
                  <c:v>46247</c:v>
                </c:pt>
                <c:pt idx="762">
                  <c:v>46248</c:v>
                </c:pt>
                <c:pt idx="763">
                  <c:v>46251</c:v>
                </c:pt>
                <c:pt idx="764">
                  <c:v>46252</c:v>
                </c:pt>
                <c:pt idx="765">
                  <c:v>46253</c:v>
                </c:pt>
                <c:pt idx="766">
                  <c:v>46254</c:v>
                </c:pt>
                <c:pt idx="767">
                  <c:v>46255</c:v>
                </c:pt>
                <c:pt idx="768">
                  <c:v>46258</c:v>
                </c:pt>
                <c:pt idx="769">
                  <c:v>46259</c:v>
                </c:pt>
                <c:pt idx="770">
                  <c:v>46260</c:v>
                </c:pt>
                <c:pt idx="771">
                  <c:v>46261</c:v>
                </c:pt>
                <c:pt idx="772">
                  <c:v>46262</c:v>
                </c:pt>
                <c:pt idx="773">
                  <c:v>46265</c:v>
                </c:pt>
                <c:pt idx="774">
                  <c:v>46266</c:v>
                </c:pt>
                <c:pt idx="775">
                  <c:v>46267</c:v>
                </c:pt>
                <c:pt idx="776">
                  <c:v>46268</c:v>
                </c:pt>
                <c:pt idx="777">
                  <c:v>46269</c:v>
                </c:pt>
                <c:pt idx="778">
                  <c:v>46272</c:v>
                </c:pt>
                <c:pt idx="779">
                  <c:v>46273</c:v>
                </c:pt>
                <c:pt idx="780">
                  <c:v>46274</c:v>
                </c:pt>
                <c:pt idx="781">
                  <c:v>46275</c:v>
                </c:pt>
                <c:pt idx="782">
                  <c:v>46276</c:v>
                </c:pt>
                <c:pt idx="783">
                  <c:v>46279</c:v>
                </c:pt>
                <c:pt idx="784">
                  <c:v>46280</c:v>
                </c:pt>
                <c:pt idx="785">
                  <c:v>46281</c:v>
                </c:pt>
                <c:pt idx="786">
                  <c:v>46282</c:v>
                </c:pt>
                <c:pt idx="787">
                  <c:v>46283</c:v>
                </c:pt>
                <c:pt idx="788">
                  <c:v>46286</c:v>
                </c:pt>
                <c:pt idx="789">
                  <c:v>46287</c:v>
                </c:pt>
                <c:pt idx="790">
                  <c:v>46288</c:v>
                </c:pt>
                <c:pt idx="791">
                  <c:v>46289</c:v>
                </c:pt>
                <c:pt idx="792">
                  <c:v>46290</c:v>
                </c:pt>
                <c:pt idx="793">
                  <c:v>46293</c:v>
                </c:pt>
                <c:pt idx="794">
                  <c:v>46294</c:v>
                </c:pt>
                <c:pt idx="795">
                  <c:v>46295</c:v>
                </c:pt>
                <c:pt idx="796">
                  <c:v>46296</c:v>
                </c:pt>
                <c:pt idx="797">
                  <c:v>46297</c:v>
                </c:pt>
                <c:pt idx="798">
                  <c:v>46300</c:v>
                </c:pt>
                <c:pt idx="799">
                  <c:v>46301</c:v>
                </c:pt>
                <c:pt idx="800">
                  <c:v>46302</c:v>
                </c:pt>
                <c:pt idx="801">
                  <c:v>46303</c:v>
                </c:pt>
                <c:pt idx="802">
                  <c:v>46304</c:v>
                </c:pt>
                <c:pt idx="803">
                  <c:v>46307</c:v>
                </c:pt>
                <c:pt idx="804">
                  <c:v>46308</c:v>
                </c:pt>
                <c:pt idx="805">
                  <c:v>46309</c:v>
                </c:pt>
                <c:pt idx="806">
                  <c:v>46310</c:v>
                </c:pt>
                <c:pt idx="807">
                  <c:v>46311</c:v>
                </c:pt>
                <c:pt idx="808">
                  <c:v>46314</c:v>
                </c:pt>
                <c:pt idx="809">
                  <c:v>46315</c:v>
                </c:pt>
                <c:pt idx="810">
                  <c:v>46316</c:v>
                </c:pt>
                <c:pt idx="811">
                  <c:v>46317</c:v>
                </c:pt>
                <c:pt idx="812">
                  <c:v>46318</c:v>
                </c:pt>
                <c:pt idx="813">
                  <c:v>46321</c:v>
                </c:pt>
                <c:pt idx="814">
                  <c:v>46322</c:v>
                </c:pt>
                <c:pt idx="815">
                  <c:v>46323</c:v>
                </c:pt>
                <c:pt idx="816">
                  <c:v>46324</c:v>
                </c:pt>
                <c:pt idx="817">
                  <c:v>46325</c:v>
                </c:pt>
                <c:pt idx="818">
                  <c:v>46328</c:v>
                </c:pt>
                <c:pt idx="819">
                  <c:v>46329</c:v>
                </c:pt>
                <c:pt idx="820">
                  <c:v>46330</c:v>
                </c:pt>
                <c:pt idx="821">
                  <c:v>46331</c:v>
                </c:pt>
                <c:pt idx="822">
                  <c:v>46332</c:v>
                </c:pt>
                <c:pt idx="823">
                  <c:v>46335</c:v>
                </c:pt>
                <c:pt idx="824">
                  <c:v>46336</c:v>
                </c:pt>
                <c:pt idx="825">
                  <c:v>46337</c:v>
                </c:pt>
                <c:pt idx="826">
                  <c:v>46338</c:v>
                </c:pt>
                <c:pt idx="827">
                  <c:v>46339</c:v>
                </c:pt>
                <c:pt idx="828">
                  <c:v>46342</c:v>
                </c:pt>
                <c:pt idx="829">
                  <c:v>46343</c:v>
                </c:pt>
                <c:pt idx="830">
                  <c:v>46344</c:v>
                </c:pt>
                <c:pt idx="831">
                  <c:v>46345</c:v>
                </c:pt>
                <c:pt idx="832">
                  <c:v>46346</c:v>
                </c:pt>
                <c:pt idx="833">
                  <c:v>46349</c:v>
                </c:pt>
                <c:pt idx="834">
                  <c:v>46350</c:v>
                </c:pt>
                <c:pt idx="835">
                  <c:v>46351</c:v>
                </c:pt>
                <c:pt idx="836">
                  <c:v>46352</c:v>
                </c:pt>
                <c:pt idx="837">
                  <c:v>46353</c:v>
                </c:pt>
                <c:pt idx="838">
                  <c:v>46356</c:v>
                </c:pt>
                <c:pt idx="839">
                  <c:v>46357</c:v>
                </c:pt>
                <c:pt idx="840">
                  <c:v>46358</c:v>
                </c:pt>
                <c:pt idx="841">
                  <c:v>46359</c:v>
                </c:pt>
                <c:pt idx="842">
                  <c:v>46360</c:v>
                </c:pt>
                <c:pt idx="843">
                  <c:v>46363</c:v>
                </c:pt>
                <c:pt idx="844">
                  <c:v>46364</c:v>
                </c:pt>
                <c:pt idx="845">
                  <c:v>46365</c:v>
                </c:pt>
                <c:pt idx="846">
                  <c:v>46366</c:v>
                </c:pt>
                <c:pt idx="847">
                  <c:v>46367</c:v>
                </c:pt>
                <c:pt idx="848">
                  <c:v>46370</c:v>
                </c:pt>
                <c:pt idx="849">
                  <c:v>46371</c:v>
                </c:pt>
                <c:pt idx="850">
                  <c:v>46372</c:v>
                </c:pt>
                <c:pt idx="851">
                  <c:v>46373</c:v>
                </c:pt>
                <c:pt idx="852">
                  <c:v>46374</c:v>
                </c:pt>
                <c:pt idx="853">
                  <c:v>46377</c:v>
                </c:pt>
                <c:pt idx="854">
                  <c:v>46378</c:v>
                </c:pt>
                <c:pt idx="855">
                  <c:v>46379</c:v>
                </c:pt>
                <c:pt idx="856">
                  <c:v>46380</c:v>
                </c:pt>
                <c:pt idx="857">
                  <c:v>46381</c:v>
                </c:pt>
                <c:pt idx="858">
                  <c:v>46384</c:v>
                </c:pt>
                <c:pt idx="859">
                  <c:v>46385</c:v>
                </c:pt>
                <c:pt idx="860">
                  <c:v>46386</c:v>
                </c:pt>
                <c:pt idx="861">
                  <c:v>46387</c:v>
                </c:pt>
                <c:pt idx="862">
                  <c:v>46388</c:v>
                </c:pt>
                <c:pt idx="863">
                  <c:v>46391</c:v>
                </c:pt>
                <c:pt idx="864">
                  <c:v>46392</c:v>
                </c:pt>
                <c:pt idx="865">
                  <c:v>46393</c:v>
                </c:pt>
                <c:pt idx="866">
                  <c:v>46394</c:v>
                </c:pt>
                <c:pt idx="867">
                  <c:v>46395</c:v>
                </c:pt>
                <c:pt idx="868">
                  <c:v>46398</c:v>
                </c:pt>
                <c:pt idx="869">
                  <c:v>46399</c:v>
                </c:pt>
                <c:pt idx="870">
                  <c:v>46400</c:v>
                </c:pt>
                <c:pt idx="871">
                  <c:v>46401</c:v>
                </c:pt>
                <c:pt idx="872">
                  <c:v>46402</c:v>
                </c:pt>
                <c:pt idx="873">
                  <c:v>46405</c:v>
                </c:pt>
                <c:pt idx="874">
                  <c:v>46406</c:v>
                </c:pt>
                <c:pt idx="875">
                  <c:v>46407</c:v>
                </c:pt>
                <c:pt idx="876">
                  <c:v>46408</c:v>
                </c:pt>
                <c:pt idx="877">
                  <c:v>46409</c:v>
                </c:pt>
                <c:pt idx="878">
                  <c:v>46412</c:v>
                </c:pt>
                <c:pt idx="879">
                  <c:v>46413</c:v>
                </c:pt>
                <c:pt idx="880">
                  <c:v>46414</c:v>
                </c:pt>
                <c:pt idx="881">
                  <c:v>46415</c:v>
                </c:pt>
                <c:pt idx="882">
                  <c:v>46416</c:v>
                </c:pt>
                <c:pt idx="883">
                  <c:v>46419</c:v>
                </c:pt>
                <c:pt idx="884">
                  <c:v>46420</c:v>
                </c:pt>
                <c:pt idx="885">
                  <c:v>46421</c:v>
                </c:pt>
                <c:pt idx="886">
                  <c:v>46422</c:v>
                </c:pt>
                <c:pt idx="887">
                  <c:v>46423</c:v>
                </c:pt>
                <c:pt idx="888">
                  <c:v>46426</c:v>
                </c:pt>
                <c:pt idx="889">
                  <c:v>46427</c:v>
                </c:pt>
                <c:pt idx="890">
                  <c:v>46428</c:v>
                </c:pt>
                <c:pt idx="891">
                  <c:v>46429</c:v>
                </c:pt>
                <c:pt idx="892">
                  <c:v>46430</c:v>
                </c:pt>
                <c:pt idx="893">
                  <c:v>46433</c:v>
                </c:pt>
                <c:pt idx="894">
                  <c:v>46434</c:v>
                </c:pt>
                <c:pt idx="895">
                  <c:v>46435</c:v>
                </c:pt>
                <c:pt idx="896">
                  <c:v>46436</c:v>
                </c:pt>
                <c:pt idx="897">
                  <c:v>46437</c:v>
                </c:pt>
                <c:pt idx="898">
                  <c:v>46440</c:v>
                </c:pt>
                <c:pt idx="899">
                  <c:v>46441</c:v>
                </c:pt>
                <c:pt idx="900">
                  <c:v>46442</c:v>
                </c:pt>
                <c:pt idx="901">
                  <c:v>46443</c:v>
                </c:pt>
                <c:pt idx="902">
                  <c:v>46444</c:v>
                </c:pt>
                <c:pt idx="903">
                  <c:v>46447</c:v>
                </c:pt>
                <c:pt idx="904">
                  <c:v>46448</c:v>
                </c:pt>
                <c:pt idx="905">
                  <c:v>46449</c:v>
                </c:pt>
                <c:pt idx="906">
                  <c:v>46450</c:v>
                </c:pt>
                <c:pt idx="907">
                  <c:v>46451</c:v>
                </c:pt>
                <c:pt idx="908">
                  <c:v>46454</c:v>
                </c:pt>
                <c:pt idx="909">
                  <c:v>46455</c:v>
                </c:pt>
                <c:pt idx="910">
                  <c:v>46456</c:v>
                </c:pt>
                <c:pt idx="911">
                  <c:v>46457</c:v>
                </c:pt>
                <c:pt idx="912">
                  <c:v>46458</c:v>
                </c:pt>
                <c:pt idx="913">
                  <c:v>46461</c:v>
                </c:pt>
                <c:pt idx="914">
                  <c:v>46462</c:v>
                </c:pt>
                <c:pt idx="915">
                  <c:v>46463</c:v>
                </c:pt>
                <c:pt idx="916">
                  <c:v>46464</c:v>
                </c:pt>
                <c:pt idx="917">
                  <c:v>46465</c:v>
                </c:pt>
                <c:pt idx="918">
                  <c:v>46468</c:v>
                </c:pt>
                <c:pt idx="919">
                  <c:v>46469</c:v>
                </c:pt>
                <c:pt idx="920">
                  <c:v>46470</c:v>
                </c:pt>
                <c:pt idx="921">
                  <c:v>46471</c:v>
                </c:pt>
                <c:pt idx="922">
                  <c:v>46472</c:v>
                </c:pt>
                <c:pt idx="923">
                  <c:v>46475</c:v>
                </c:pt>
                <c:pt idx="924">
                  <c:v>46476</c:v>
                </c:pt>
                <c:pt idx="925">
                  <c:v>46477</c:v>
                </c:pt>
                <c:pt idx="926">
                  <c:v>46478</c:v>
                </c:pt>
                <c:pt idx="927">
                  <c:v>46479</c:v>
                </c:pt>
                <c:pt idx="928">
                  <c:v>46482</c:v>
                </c:pt>
                <c:pt idx="929">
                  <c:v>46483</c:v>
                </c:pt>
                <c:pt idx="930">
                  <c:v>46484</c:v>
                </c:pt>
                <c:pt idx="931">
                  <c:v>46485</c:v>
                </c:pt>
                <c:pt idx="932">
                  <c:v>46486</c:v>
                </c:pt>
                <c:pt idx="933">
                  <c:v>46489</c:v>
                </c:pt>
                <c:pt idx="934">
                  <c:v>46490</c:v>
                </c:pt>
                <c:pt idx="935">
                  <c:v>46491</c:v>
                </c:pt>
                <c:pt idx="936">
                  <c:v>46492</c:v>
                </c:pt>
                <c:pt idx="937">
                  <c:v>46493</c:v>
                </c:pt>
                <c:pt idx="938">
                  <c:v>46496</c:v>
                </c:pt>
                <c:pt idx="939">
                  <c:v>46497</c:v>
                </c:pt>
                <c:pt idx="940">
                  <c:v>46498</c:v>
                </c:pt>
                <c:pt idx="941">
                  <c:v>46499</c:v>
                </c:pt>
                <c:pt idx="942">
                  <c:v>46500</c:v>
                </c:pt>
                <c:pt idx="943">
                  <c:v>46503</c:v>
                </c:pt>
                <c:pt idx="944">
                  <c:v>46504</c:v>
                </c:pt>
                <c:pt idx="945">
                  <c:v>46505</c:v>
                </c:pt>
                <c:pt idx="946">
                  <c:v>46506</c:v>
                </c:pt>
                <c:pt idx="947">
                  <c:v>46507</c:v>
                </c:pt>
                <c:pt idx="948">
                  <c:v>46510</c:v>
                </c:pt>
                <c:pt idx="949">
                  <c:v>46511</c:v>
                </c:pt>
                <c:pt idx="950">
                  <c:v>46512</c:v>
                </c:pt>
                <c:pt idx="951">
                  <c:v>46513</c:v>
                </c:pt>
                <c:pt idx="952">
                  <c:v>46514</c:v>
                </c:pt>
                <c:pt idx="953">
                  <c:v>46517</c:v>
                </c:pt>
                <c:pt idx="954">
                  <c:v>46518</c:v>
                </c:pt>
                <c:pt idx="955">
                  <c:v>46519</c:v>
                </c:pt>
                <c:pt idx="956">
                  <c:v>46520</c:v>
                </c:pt>
                <c:pt idx="957">
                  <c:v>46521</c:v>
                </c:pt>
                <c:pt idx="958">
                  <c:v>46524</c:v>
                </c:pt>
                <c:pt idx="959">
                  <c:v>46525</c:v>
                </c:pt>
                <c:pt idx="960">
                  <c:v>46526</c:v>
                </c:pt>
                <c:pt idx="961">
                  <c:v>46527</c:v>
                </c:pt>
                <c:pt idx="962">
                  <c:v>46528</c:v>
                </c:pt>
                <c:pt idx="963">
                  <c:v>46531</c:v>
                </c:pt>
                <c:pt idx="964">
                  <c:v>46532</c:v>
                </c:pt>
                <c:pt idx="965">
                  <c:v>46533</c:v>
                </c:pt>
                <c:pt idx="966">
                  <c:v>46534</c:v>
                </c:pt>
                <c:pt idx="967">
                  <c:v>46535</c:v>
                </c:pt>
                <c:pt idx="968">
                  <c:v>46538</c:v>
                </c:pt>
                <c:pt idx="969">
                  <c:v>46539</c:v>
                </c:pt>
                <c:pt idx="970">
                  <c:v>46540</c:v>
                </c:pt>
                <c:pt idx="971">
                  <c:v>46541</c:v>
                </c:pt>
                <c:pt idx="972">
                  <c:v>46542</c:v>
                </c:pt>
                <c:pt idx="973">
                  <c:v>46545</c:v>
                </c:pt>
                <c:pt idx="974">
                  <c:v>46546</c:v>
                </c:pt>
                <c:pt idx="975">
                  <c:v>46547</c:v>
                </c:pt>
                <c:pt idx="976">
                  <c:v>46548</c:v>
                </c:pt>
                <c:pt idx="977">
                  <c:v>46549</c:v>
                </c:pt>
                <c:pt idx="978">
                  <c:v>46552</c:v>
                </c:pt>
                <c:pt idx="979">
                  <c:v>46553</c:v>
                </c:pt>
                <c:pt idx="980">
                  <c:v>46554</c:v>
                </c:pt>
                <c:pt idx="981">
                  <c:v>46555</c:v>
                </c:pt>
                <c:pt idx="982">
                  <c:v>46556</c:v>
                </c:pt>
                <c:pt idx="983">
                  <c:v>46559</c:v>
                </c:pt>
                <c:pt idx="984">
                  <c:v>46560</c:v>
                </c:pt>
                <c:pt idx="985">
                  <c:v>46561</c:v>
                </c:pt>
                <c:pt idx="986">
                  <c:v>46562</c:v>
                </c:pt>
                <c:pt idx="987">
                  <c:v>46563</c:v>
                </c:pt>
                <c:pt idx="988">
                  <c:v>46566</c:v>
                </c:pt>
                <c:pt idx="989">
                  <c:v>46567</c:v>
                </c:pt>
                <c:pt idx="990">
                  <c:v>46568</c:v>
                </c:pt>
                <c:pt idx="991">
                  <c:v>46569</c:v>
                </c:pt>
                <c:pt idx="992">
                  <c:v>46570</c:v>
                </c:pt>
                <c:pt idx="993">
                  <c:v>46573</c:v>
                </c:pt>
                <c:pt idx="994">
                  <c:v>46574</c:v>
                </c:pt>
                <c:pt idx="995">
                  <c:v>46575</c:v>
                </c:pt>
                <c:pt idx="996">
                  <c:v>46576</c:v>
                </c:pt>
                <c:pt idx="997">
                  <c:v>46577</c:v>
                </c:pt>
                <c:pt idx="998">
                  <c:v>46580</c:v>
                </c:pt>
              </c:numCache>
            </c:numRef>
          </c:cat>
          <c:val>
            <c:numRef>
              <c:f>Daily!$AA$2:$AA$1057</c:f>
            </c:numRef>
          </c:val>
          <c:smooth val="0"/>
          <c:extLst>
            <c:ext xmlns:c16="http://schemas.microsoft.com/office/drawing/2014/chart" uri="{C3380CC4-5D6E-409C-BE32-E72D297353CC}">
              <c16:uniqueId val="{0000001C-094D-4E29-B010-D717A2A1A293}"/>
            </c:ext>
          </c:extLst>
        </c:ser>
        <c:ser>
          <c:idx val="23"/>
          <c:order val="23"/>
          <c:tx>
            <c:strRef>
              <c:f>Daily!$AB$1</c:f>
              <c:strCache>
                <c:ptCount val="1"/>
                <c:pt idx="0">
                  <c:v>M+10</c:v>
                </c:pt>
              </c:strCache>
            </c:strRef>
          </c:tx>
          <c:spPr>
            <a:ln w="28575" cap="rnd" cmpd="sng" algn="ctr">
              <a:solidFill>
                <a:schemeClr val="accent6">
                  <a:lumMod val="80000"/>
                  <a:shade val="95000"/>
                  <a:satMod val="105000"/>
                </a:schemeClr>
              </a:solidFill>
              <a:prstDash val="solid"/>
              <a:round/>
            </a:ln>
            <a:effectLst/>
          </c:spPr>
          <c:marker>
            <c:symbol val="none"/>
          </c:marker>
          <c:cat>
            <c:numRef>
              <c:f>Daily!$A$2:$A$1000</c:f>
              <c:numCache>
                <c:formatCode>d\-mmm\-yy</c:formatCode>
                <c:ptCount val="999"/>
                <c:pt idx="0">
                  <c:v>45128</c:v>
                </c:pt>
                <c:pt idx="1">
                  <c:v>45131</c:v>
                </c:pt>
                <c:pt idx="2">
                  <c:v>45132</c:v>
                </c:pt>
                <c:pt idx="3">
                  <c:v>45133</c:v>
                </c:pt>
                <c:pt idx="4">
                  <c:v>45134</c:v>
                </c:pt>
                <c:pt idx="5">
                  <c:v>45135</c:v>
                </c:pt>
                <c:pt idx="6">
                  <c:v>45138</c:v>
                </c:pt>
                <c:pt idx="7">
                  <c:v>45139</c:v>
                </c:pt>
                <c:pt idx="8">
                  <c:v>45140</c:v>
                </c:pt>
                <c:pt idx="9">
                  <c:v>45141</c:v>
                </c:pt>
                <c:pt idx="10">
                  <c:v>45142</c:v>
                </c:pt>
                <c:pt idx="11">
                  <c:v>45145</c:v>
                </c:pt>
                <c:pt idx="12">
                  <c:v>45146</c:v>
                </c:pt>
                <c:pt idx="13">
                  <c:v>45147</c:v>
                </c:pt>
                <c:pt idx="14">
                  <c:v>45148</c:v>
                </c:pt>
                <c:pt idx="15">
                  <c:v>45149</c:v>
                </c:pt>
                <c:pt idx="16">
                  <c:v>45152</c:v>
                </c:pt>
                <c:pt idx="17">
                  <c:v>45153</c:v>
                </c:pt>
                <c:pt idx="18">
                  <c:v>45154</c:v>
                </c:pt>
                <c:pt idx="19">
                  <c:v>45155</c:v>
                </c:pt>
                <c:pt idx="20">
                  <c:v>45156</c:v>
                </c:pt>
                <c:pt idx="21">
                  <c:v>45159</c:v>
                </c:pt>
                <c:pt idx="22">
                  <c:v>45160</c:v>
                </c:pt>
                <c:pt idx="23">
                  <c:v>45161</c:v>
                </c:pt>
                <c:pt idx="24">
                  <c:v>45162</c:v>
                </c:pt>
                <c:pt idx="25">
                  <c:v>45163</c:v>
                </c:pt>
                <c:pt idx="26">
                  <c:v>45166</c:v>
                </c:pt>
                <c:pt idx="27">
                  <c:v>45167</c:v>
                </c:pt>
                <c:pt idx="28">
                  <c:v>45168</c:v>
                </c:pt>
                <c:pt idx="29">
                  <c:v>45169</c:v>
                </c:pt>
                <c:pt idx="30">
                  <c:v>45170</c:v>
                </c:pt>
                <c:pt idx="31">
                  <c:v>45173</c:v>
                </c:pt>
                <c:pt idx="32">
                  <c:v>45174</c:v>
                </c:pt>
                <c:pt idx="33">
                  <c:v>45175</c:v>
                </c:pt>
                <c:pt idx="34">
                  <c:v>45176</c:v>
                </c:pt>
                <c:pt idx="35">
                  <c:v>45177</c:v>
                </c:pt>
                <c:pt idx="36">
                  <c:v>45180</c:v>
                </c:pt>
                <c:pt idx="37">
                  <c:v>45181</c:v>
                </c:pt>
                <c:pt idx="38">
                  <c:v>45182</c:v>
                </c:pt>
                <c:pt idx="39">
                  <c:v>45183</c:v>
                </c:pt>
                <c:pt idx="40">
                  <c:v>45184</c:v>
                </c:pt>
                <c:pt idx="41">
                  <c:v>45187</c:v>
                </c:pt>
                <c:pt idx="42">
                  <c:v>45188</c:v>
                </c:pt>
                <c:pt idx="43">
                  <c:v>45189</c:v>
                </c:pt>
                <c:pt idx="44">
                  <c:v>45190</c:v>
                </c:pt>
                <c:pt idx="45">
                  <c:v>45191</c:v>
                </c:pt>
                <c:pt idx="46">
                  <c:v>45194</c:v>
                </c:pt>
                <c:pt idx="47">
                  <c:v>45195</c:v>
                </c:pt>
                <c:pt idx="48">
                  <c:v>45196</c:v>
                </c:pt>
                <c:pt idx="49">
                  <c:v>45197</c:v>
                </c:pt>
                <c:pt idx="50">
                  <c:v>45208</c:v>
                </c:pt>
                <c:pt idx="51">
                  <c:v>45209</c:v>
                </c:pt>
                <c:pt idx="52">
                  <c:v>45210</c:v>
                </c:pt>
                <c:pt idx="53">
                  <c:v>45211</c:v>
                </c:pt>
                <c:pt idx="54">
                  <c:v>45212</c:v>
                </c:pt>
                <c:pt idx="55">
                  <c:v>45215</c:v>
                </c:pt>
                <c:pt idx="56">
                  <c:v>45216</c:v>
                </c:pt>
                <c:pt idx="57">
                  <c:v>45217</c:v>
                </c:pt>
                <c:pt idx="58">
                  <c:v>45218</c:v>
                </c:pt>
                <c:pt idx="59">
                  <c:v>45219</c:v>
                </c:pt>
                <c:pt idx="60">
                  <c:v>45222</c:v>
                </c:pt>
                <c:pt idx="61">
                  <c:v>45223</c:v>
                </c:pt>
                <c:pt idx="62">
                  <c:v>45224</c:v>
                </c:pt>
                <c:pt idx="63">
                  <c:v>45225</c:v>
                </c:pt>
                <c:pt idx="64">
                  <c:v>45226</c:v>
                </c:pt>
                <c:pt idx="65">
                  <c:v>45229</c:v>
                </c:pt>
                <c:pt idx="66">
                  <c:v>45230</c:v>
                </c:pt>
                <c:pt idx="67">
                  <c:v>45231</c:v>
                </c:pt>
                <c:pt idx="68">
                  <c:v>45232</c:v>
                </c:pt>
                <c:pt idx="69">
                  <c:v>45233</c:v>
                </c:pt>
                <c:pt idx="70">
                  <c:v>45236</c:v>
                </c:pt>
                <c:pt idx="71">
                  <c:v>45237</c:v>
                </c:pt>
                <c:pt idx="72">
                  <c:v>45238</c:v>
                </c:pt>
                <c:pt idx="73">
                  <c:v>45239</c:v>
                </c:pt>
                <c:pt idx="74">
                  <c:v>45240</c:v>
                </c:pt>
                <c:pt idx="75">
                  <c:v>45243</c:v>
                </c:pt>
                <c:pt idx="76">
                  <c:v>45244</c:v>
                </c:pt>
                <c:pt idx="77">
                  <c:v>45245</c:v>
                </c:pt>
                <c:pt idx="78">
                  <c:v>45246</c:v>
                </c:pt>
                <c:pt idx="79">
                  <c:v>45247</c:v>
                </c:pt>
                <c:pt idx="80">
                  <c:v>45250</c:v>
                </c:pt>
                <c:pt idx="81">
                  <c:v>45251</c:v>
                </c:pt>
                <c:pt idx="82">
                  <c:v>45252</c:v>
                </c:pt>
                <c:pt idx="83">
                  <c:v>45253</c:v>
                </c:pt>
                <c:pt idx="84">
                  <c:v>45254</c:v>
                </c:pt>
                <c:pt idx="85">
                  <c:v>45257</c:v>
                </c:pt>
                <c:pt idx="86">
                  <c:v>45258</c:v>
                </c:pt>
                <c:pt idx="87">
                  <c:v>45259</c:v>
                </c:pt>
                <c:pt idx="88">
                  <c:v>45260</c:v>
                </c:pt>
                <c:pt idx="89">
                  <c:v>45261</c:v>
                </c:pt>
                <c:pt idx="90">
                  <c:v>45264</c:v>
                </c:pt>
                <c:pt idx="91">
                  <c:v>45265</c:v>
                </c:pt>
                <c:pt idx="92">
                  <c:v>45266</c:v>
                </c:pt>
                <c:pt idx="93">
                  <c:v>45267</c:v>
                </c:pt>
                <c:pt idx="94">
                  <c:v>45268</c:v>
                </c:pt>
                <c:pt idx="95">
                  <c:v>45271</c:v>
                </c:pt>
                <c:pt idx="96">
                  <c:v>45272</c:v>
                </c:pt>
                <c:pt idx="97">
                  <c:v>45273</c:v>
                </c:pt>
                <c:pt idx="98">
                  <c:v>45274</c:v>
                </c:pt>
                <c:pt idx="99">
                  <c:v>45275</c:v>
                </c:pt>
                <c:pt idx="100">
                  <c:v>45278</c:v>
                </c:pt>
                <c:pt idx="101">
                  <c:v>45279</c:v>
                </c:pt>
                <c:pt idx="102">
                  <c:v>45280</c:v>
                </c:pt>
                <c:pt idx="103">
                  <c:v>45281</c:v>
                </c:pt>
                <c:pt idx="104">
                  <c:v>45282</c:v>
                </c:pt>
                <c:pt idx="105">
                  <c:v>45285</c:v>
                </c:pt>
                <c:pt idx="106">
                  <c:v>45286</c:v>
                </c:pt>
                <c:pt idx="107">
                  <c:v>45287</c:v>
                </c:pt>
                <c:pt idx="108">
                  <c:v>45288</c:v>
                </c:pt>
                <c:pt idx="109">
                  <c:v>45289</c:v>
                </c:pt>
                <c:pt idx="110">
                  <c:v>45293</c:v>
                </c:pt>
                <c:pt idx="111">
                  <c:v>45294</c:v>
                </c:pt>
                <c:pt idx="112">
                  <c:v>45295</c:v>
                </c:pt>
                <c:pt idx="113">
                  <c:v>45296</c:v>
                </c:pt>
                <c:pt idx="114">
                  <c:v>45299</c:v>
                </c:pt>
                <c:pt idx="115">
                  <c:v>45300</c:v>
                </c:pt>
                <c:pt idx="116">
                  <c:v>45301</c:v>
                </c:pt>
                <c:pt idx="117">
                  <c:v>45302</c:v>
                </c:pt>
                <c:pt idx="118">
                  <c:v>45303</c:v>
                </c:pt>
                <c:pt idx="119">
                  <c:v>45306</c:v>
                </c:pt>
                <c:pt idx="120">
                  <c:v>45307</c:v>
                </c:pt>
                <c:pt idx="121">
                  <c:v>45308</c:v>
                </c:pt>
                <c:pt idx="122">
                  <c:v>45309</c:v>
                </c:pt>
                <c:pt idx="123">
                  <c:v>45310</c:v>
                </c:pt>
                <c:pt idx="124">
                  <c:v>45313</c:v>
                </c:pt>
                <c:pt idx="125">
                  <c:v>45314</c:v>
                </c:pt>
                <c:pt idx="126">
                  <c:v>45315</c:v>
                </c:pt>
                <c:pt idx="127">
                  <c:v>45316</c:v>
                </c:pt>
                <c:pt idx="128">
                  <c:v>45317</c:v>
                </c:pt>
                <c:pt idx="129">
                  <c:v>45320</c:v>
                </c:pt>
                <c:pt idx="130">
                  <c:v>45321</c:v>
                </c:pt>
                <c:pt idx="131">
                  <c:v>45322</c:v>
                </c:pt>
                <c:pt idx="132">
                  <c:v>45323</c:v>
                </c:pt>
                <c:pt idx="133">
                  <c:v>45324</c:v>
                </c:pt>
                <c:pt idx="134">
                  <c:v>45327</c:v>
                </c:pt>
                <c:pt idx="135">
                  <c:v>45328</c:v>
                </c:pt>
                <c:pt idx="136">
                  <c:v>45329</c:v>
                </c:pt>
                <c:pt idx="137">
                  <c:v>45330</c:v>
                </c:pt>
                <c:pt idx="138">
                  <c:v>45341</c:v>
                </c:pt>
                <c:pt idx="139">
                  <c:v>45342</c:v>
                </c:pt>
                <c:pt idx="140">
                  <c:v>45343</c:v>
                </c:pt>
                <c:pt idx="141">
                  <c:v>45344</c:v>
                </c:pt>
                <c:pt idx="142">
                  <c:v>45345</c:v>
                </c:pt>
                <c:pt idx="143">
                  <c:v>45348</c:v>
                </c:pt>
                <c:pt idx="144">
                  <c:v>45349</c:v>
                </c:pt>
                <c:pt idx="145">
                  <c:v>45350</c:v>
                </c:pt>
                <c:pt idx="146">
                  <c:v>45351</c:v>
                </c:pt>
                <c:pt idx="147">
                  <c:v>45352</c:v>
                </c:pt>
                <c:pt idx="148">
                  <c:v>45355</c:v>
                </c:pt>
                <c:pt idx="149">
                  <c:v>45356</c:v>
                </c:pt>
                <c:pt idx="150">
                  <c:v>45357</c:v>
                </c:pt>
                <c:pt idx="151">
                  <c:v>45358</c:v>
                </c:pt>
                <c:pt idx="152">
                  <c:v>45359</c:v>
                </c:pt>
                <c:pt idx="153">
                  <c:v>45362</c:v>
                </c:pt>
                <c:pt idx="154">
                  <c:v>45363</c:v>
                </c:pt>
                <c:pt idx="155">
                  <c:v>45364</c:v>
                </c:pt>
                <c:pt idx="156">
                  <c:v>45365</c:v>
                </c:pt>
                <c:pt idx="157">
                  <c:v>45366</c:v>
                </c:pt>
                <c:pt idx="158">
                  <c:v>45369</c:v>
                </c:pt>
                <c:pt idx="159">
                  <c:v>45370</c:v>
                </c:pt>
                <c:pt idx="160">
                  <c:v>45371</c:v>
                </c:pt>
                <c:pt idx="161">
                  <c:v>45372</c:v>
                </c:pt>
                <c:pt idx="162">
                  <c:v>45373</c:v>
                </c:pt>
                <c:pt idx="163">
                  <c:v>45376</c:v>
                </c:pt>
                <c:pt idx="164">
                  <c:v>45377</c:v>
                </c:pt>
                <c:pt idx="165">
                  <c:v>45378</c:v>
                </c:pt>
                <c:pt idx="166">
                  <c:v>45379</c:v>
                </c:pt>
                <c:pt idx="167">
                  <c:v>45380</c:v>
                </c:pt>
                <c:pt idx="168">
                  <c:v>45383</c:v>
                </c:pt>
                <c:pt idx="169">
                  <c:v>45384</c:v>
                </c:pt>
                <c:pt idx="170">
                  <c:v>45385</c:v>
                </c:pt>
                <c:pt idx="171">
                  <c:v>45390</c:v>
                </c:pt>
                <c:pt idx="172">
                  <c:v>45391</c:v>
                </c:pt>
                <c:pt idx="173">
                  <c:v>45392</c:v>
                </c:pt>
                <c:pt idx="174">
                  <c:v>45393</c:v>
                </c:pt>
                <c:pt idx="175">
                  <c:v>45394</c:v>
                </c:pt>
                <c:pt idx="176">
                  <c:v>45397</c:v>
                </c:pt>
                <c:pt idx="177">
                  <c:v>45398</c:v>
                </c:pt>
                <c:pt idx="178">
                  <c:v>45399</c:v>
                </c:pt>
                <c:pt idx="179">
                  <c:v>45400</c:v>
                </c:pt>
                <c:pt idx="180">
                  <c:v>45401</c:v>
                </c:pt>
                <c:pt idx="181">
                  <c:v>45404</c:v>
                </c:pt>
                <c:pt idx="182">
                  <c:v>45405</c:v>
                </c:pt>
                <c:pt idx="183">
                  <c:v>45406</c:v>
                </c:pt>
                <c:pt idx="184">
                  <c:v>45407</c:v>
                </c:pt>
                <c:pt idx="185">
                  <c:v>45408</c:v>
                </c:pt>
                <c:pt idx="186">
                  <c:v>45411</c:v>
                </c:pt>
                <c:pt idx="187">
                  <c:v>45412</c:v>
                </c:pt>
                <c:pt idx="188">
                  <c:v>45418</c:v>
                </c:pt>
                <c:pt idx="189">
                  <c:v>45419</c:v>
                </c:pt>
                <c:pt idx="190">
                  <c:v>45420</c:v>
                </c:pt>
                <c:pt idx="191">
                  <c:v>45421</c:v>
                </c:pt>
                <c:pt idx="192">
                  <c:v>45422</c:v>
                </c:pt>
                <c:pt idx="193">
                  <c:v>45425</c:v>
                </c:pt>
                <c:pt idx="194">
                  <c:v>45426</c:v>
                </c:pt>
                <c:pt idx="195">
                  <c:v>45427</c:v>
                </c:pt>
                <c:pt idx="196">
                  <c:v>45428</c:v>
                </c:pt>
                <c:pt idx="197">
                  <c:v>45429</c:v>
                </c:pt>
                <c:pt idx="198">
                  <c:v>45432</c:v>
                </c:pt>
                <c:pt idx="199">
                  <c:v>45433</c:v>
                </c:pt>
                <c:pt idx="200">
                  <c:v>45434</c:v>
                </c:pt>
                <c:pt idx="201">
                  <c:v>45435</c:v>
                </c:pt>
                <c:pt idx="202">
                  <c:v>45436</c:v>
                </c:pt>
                <c:pt idx="203">
                  <c:v>45439</c:v>
                </c:pt>
                <c:pt idx="204">
                  <c:v>45440</c:v>
                </c:pt>
                <c:pt idx="205">
                  <c:v>45441</c:v>
                </c:pt>
                <c:pt idx="206">
                  <c:v>45442</c:v>
                </c:pt>
                <c:pt idx="207">
                  <c:v>45443</c:v>
                </c:pt>
                <c:pt idx="208">
                  <c:v>45446</c:v>
                </c:pt>
                <c:pt idx="209">
                  <c:v>45447</c:v>
                </c:pt>
                <c:pt idx="210">
                  <c:v>45448</c:v>
                </c:pt>
                <c:pt idx="211">
                  <c:v>45449</c:v>
                </c:pt>
                <c:pt idx="212">
                  <c:v>45450</c:v>
                </c:pt>
                <c:pt idx="213">
                  <c:v>45454</c:v>
                </c:pt>
                <c:pt idx="214">
                  <c:v>45455</c:v>
                </c:pt>
                <c:pt idx="215">
                  <c:v>45456</c:v>
                </c:pt>
                <c:pt idx="216">
                  <c:v>45457</c:v>
                </c:pt>
                <c:pt idx="217">
                  <c:v>45460</c:v>
                </c:pt>
                <c:pt idx="218">
                  <c:v>45461</c:v>
                </c:pt>
                <c:pt idx="219">
                  <c:v>45462</c:v>
                </c:pt>
                <c:pt idx="220">
                  <c:v>45463</c:v>
                </c:pt>
                <c:pt idx="221">
                  <c:v>45464</c:v>
                </c:pt>
                <c:pt idx="222">
                  <c:v>45467</c:v>
                </c:pt>
                <c:pt idx="223">
                  <c:v>45468</c:v>
                </c:pt>
                <c:pt idx="224">
                  <c:v>45469</c:v>
                </c:pt>
                <c:pt idx="225">
                  <c:v>45470</c:v>
                </c:pt>
                <c:pt idx="226">
                  <c:v>45471</c:v>
                </c:pt>
                <c:pt idx="227">
                  <c:v>45474</c:v>
                </c:pt>
                <c:pt idx="228">
                  <c:v>45475</c:v>
                </c:pt>
                <c:pt idx="229">
                  <c:v>45476</c:v>
                </c:pt>
                <c:pt idx="230">
                  <c:v>45477</c:v>
                </c:pt>
                <c:pt idx="231">
                  <c:v>45478</c:v>
                </c:pt>
                <c:pt idx="232">
                  <c:v>45481</c:v>
                </c:pt>
                <c:pt idx="233">
                  <c:v>45482</c:v>
                </c:pt>
                <c:pt idx="234">
                  <c:v>45483</c:v>
                </c:pt>
                <c:pt idx="235">
                  <c:v>45484</c:v>
                </c:pt>
                <c:pt idx="236">
                  <c:v>45485</c:v>
                </c:pt>
                <c:pt idx="237">
                  <c:v>45488</c:v>
                </c:pt>
                <c:pt idx="238">
                  <c:v>45489</c:v>
                </c:pt>
                <c:pt idx="239">
                  <c:v>45490</c:v>
                </c:pt>
                <c:pt idx="240">
                  <c:v>45491</c:v>
                </c:pt>
                <c:pt idx="241">
                  <c:v>45492</c:v>
                </c:pt>
                <c:pt idx="242">
                  <c:v>45495</c:v>
                </c:pt>
                <c:pt idx="243">
                  <c:v>45496</c:v>
                </c:pt>
                <c:pt idx="244">
                  <c:v>45497</c:v>
                </c:pt>
                <c:pt idx="245">
                  <c:v>45498</c:v>
                </c:pt>
                <c:pt idx="246">
                  <c:v>45499</c:v>
                </c:pt>
                <c:pt idx="247">
                  <c:v>45502</c:v>
                </c:pt>
                <c:pt idx="248">
                  <c:v>45503</c:v>
                </c:pt>
                <c:pt idx="249">
                  <c:v>45504</c:v>
                </c:pt>
                <c:pt idx="250">
                  <c:v>45505</c:v>
                </c:pt>
                <c:pt idx="251">
                  <c:v>45506</c:v>
                </c:pt>
                <c:pt idx="252">
                  <c:v>45509</c:v>
                </c:pt>
                <c:pt idx="253">
                  <c:v>45510</c:v>
                </c:pt>
                <c:pt idx="254">
                  <c:v>45511</c:v>
                </c:pt>
                <c:pt idx="255">
                  <c:v>45512</c:v>
                </c:pt>
                <c:pt idx="256">
                  <c:v>45513</c:v>
                </c:pt>
                <c:pt idx="257">
                  <c:v>45516</c:v>
                </c:pt>
                <c:pt idx="258">
                  <c:v>45517</c:v>
                </c:pt>
                <c:pt idx="259">
                  <c:v>45518</c:v>
                </c:pt>
                <c:pt idx="260">
                  <c:v>45519</c:v>
                </c:pt>
                <c:pt idx="261">
                  <c:v>45520</c:v>
                </c:pt>
                <c:pt idx="262">
                  <c:v>45523</c:v>
                </c:pt>
                <c:pt idx="263">
                  <c:v>45524</c:v>
                </c:pt>
                <c:pt idx="264">
                  <c:v>45525</c:v>
                </c:pt>
                <c:pt idx="265">
                  <c:v>45526</c:v>
                </c:pt>
                <c:pt idx="266">
                  <c:v>45527</c:v>
                </c:pt>
                <c:pt idx="267">
                  <c:v>45530</c:v>
                </c:pt>
                <c:pt idx="268">
                  <c:v>45531</c:v>
                </c:pt>
                <c:pt idx="269">
                  <c:v>45532</c:v>
                </c:pt>
                <c:pt idx="270">
                  <c:v>45533</c:v>
                </c:pt>
                <c:pt idx="271">
                  <c:v>45534</c:v>
                </c:pt>
                <c:pt idx="272">
                  <c:v>45537</c:v>
                </c:pt>
                <c:pt idx="273">
                  <c:v>45538</c:v>
                </c:pt>
                <c:pt idx="274">
                  <c:v>45539</c:v>
                </c:pt>
                <c:pt idx="275">
                  <c:v>45540</c:v>
                </c:pt>
                <c:pt idx="276">
                  <c:v>45541</c:v>
                </c:pt>
                <c:pt idx="277">
                  <c:v>45544</c:v>
                </c:pt>
                <c:pt idx="278">
                  <c:v>45545</c:v>
                </c:pt>
                <c:pt idx="279">
                  <c:v>45546</c:v>
                </c:pt>
                <c:pt idx="280">
                  <c:v>45547</c:v>
                </c:pt>
                <c:pt idx="281">
                  <c:v>45548</c:v>
                </c:pt>
                <c:pt idx="282">
                  <c:v>45553</c:v>
                </c:pt>
                <c:pt idx="283">
                  <c:v>45554</c:v>
                </c:pt>
                <c:pt idx="284">
                  <c:v>45555</c:v>
                </c:pt>
                <c:pt idx="285">
                  <c:v>45558</c:v>
                </c:pt>
                <c:pt idx="286">
                  <c:v>45559</c:v>
                </c:pt>
                <c:pt idx="287">
                  <c:v>45560</c:v>
                </c:pt>
                <c:pt idx="288">
                  <c:v>45561</c:v>
                </c:pt>
                <c:pt idx="289">
                  <c:v>45562</c:v>
                </c:pt>
                <c:pt idx="290">
                  <c:v>45565</c:v>
                </c:pt>
                <c:pt idx="291">
                  <c:v>45573</c:v>
                </c:pt>
                <c:pt idx="292">
                  <c:v>45574</c:v>
                </c:pt>
                <c:pt idx="293">
                  <c:v>45575</c:v>
                </c:pt>
                <c:pt idx="294">
                  <c:v>45576</c:v>
                </c:pt>
                <c:pt idx="295">
                  <c:v>45579</c:v>
                </c:pt>
                <c:pt idx="296">
                  <c:v>45580</c:v>
                </c:pt>
                <c:pt idx="297">
                  <c:v>45581</c:v>
                </c:pt>
                <c:pt idx="298">
                  <c:v>45582</c:v>
                </c:pt>
                <c:pt idx="299">
                  <c:v>45583</c:v>
                </c:pt>
                <c:pt idx="300">
                  <c:v>45586</c:v>
                </c:pt>
                <c:pt idx="301">
                  <c:v>45587</c:v>
                </c:pt>
                <c:pt idx="302">
                  <c:v>45588</c:v>
                </c:pt>
                <c:pt idx="303">
                  <c:v>45589</c:v>
                </c:pt>
                <c:pt idx="304">
                  <c:v>45590</c:v>
                </c:pt>
                <c:pt idx="305">
                  <c:v>45593</c:v>
                </c:pt>
                <c:pt idx="306">
                  <c:v>45594</c:v>
                </c:pt>
                <c:pt idx="307">
                  <c:v>45595</c:v>
                </c:pt>
                <c:pt idx="308">
                  <c:v>45596</c:v>
                </c:pt>
                <c:pt idx="309">
                  <c:v>45597</c:v>
                </c:pt>
                <c:pt idx="310">
                  <c:v>45600</c:v>
                </c:pt>
                <c:pt idx="311">
                  <c:v>45601</c:v>
                </c:pt>
                <c:pt idx="312">
                  <c:v>45602</c:v>
                </c:pt>
                <c:pt idx="313">
                  <c:v>45603</c:v>
                </c:pt>
                <c:pt idx="314">
                  <c:v>45604</c:v>
                </c:pt>
                <c:pt idx="315">
                  <c:v>45607</c:v>
                </c:pt>
                <c:pt idx="316">
                  <c:v>45608</c:v>
                </c:pt>
                <c:pt idx="317">
                  <c:v>45609</c:v>
                </c:pt>
                <c:pt idx="318">
                  <c:v>45610</c:v>
                </c:pt>
                <c:pt idx="319">
                  <c:v>45611</c:v>
                </c:pt>
                <c:pt idx="320">
                  <c:v>45614</c:v>
                </c:pt>
                <c:pt idx="321">
                  <c:v>45615</c:v>
                </c:pt>
                <c:pt idx="322">
                  <c:v>45616</c:v>
                </c:pt>
                <c:pt idx="323">
                  <c:v>45617</c:v>
                </c:pt>
                <c:pt idx="324">
                  <c:v>45618</c:v>
                </c:pt>
                <c:pt idx="325">
                  <c:v>45621</c:v>
                </c:pt>
                <c:pt idx="326">
                  <c:v>45622</c:v>
                </c:pt>
                <c:pt idx="327">
                  <c:v>45623</c:v>
                </c:pt>
                <c:pt idx="328">
                  <c:v>45624</c:v>
                </c:pt>
                <c:pt idx="329">
                  <c:v>45625</c:v>
                </c:pt>
                <c:pt idx="330">
                  <c:v>45628</c:v>
                </c:pt>
                <c:pt idx="331">
                  <c:v>45629</c:v>
                </c:pt>
                <c:pt idx="332">
                  <c:v>45630</c:v>
                </c:pt>
                <c:pt idx="333">
                  <c:v>45631</c:v>
                </c:pt>
                <c:pt idx="334">
                  <c:v>45632</c:v>
                </c:pt>
                <c:pt idx="335">
                  <c:v>45635</c:v>
                </c:pt>
                <c:pt idx="336">
                  <c:v>45636</c:v>
                </c:pt>
                <c:pt idx="337">
                  <c:v>45637</c:v>
                </c:pt>
                <c:pt idx="338">
                  <c:v>45638</c:v>
                </c:pt>
                <c:pt idx="339">
                  <c:v>45639</c:v>
                </c:pt>
                <c:pt idx="340">
                  <c:v>45642</c:v>
                </c:pt>
                <c:pt idx="341">
                  <c:v>45643</c:v>
                </c:pt>
                <c:pt idx="342">
                  <c:v>45644</c:v>
                </c:pt>
                <c:pt idx="343">
                  <c:v>45645</c:v>
                </c:pt>
                <c:pt idx="344">
                  <c:v>45646</c:v>
                </c:pt>
                <c:pt idx="345">
                  <c:v>45649</c:v>
                </c:pt>
                <c:pt idx="346">
                  <c:v>45650</c:v>
                </c:pt>
                <c:pt idx="347">
                  <c:v>45651</c:v>
                </c:pt>
                <c:pt idx="348">
                  <c:v>45652</c:v>
                </c:pt>
                <c:pt idx="349">
                  <c:v>45653</c:v>
                </c:pt>
                <c:pt idx="350">
                  <c:v>45656</c:v>
                </c:pt>
                <c:pt idx="351">
                  <c:v>45657</c:v>
                </c:pt>
                <c:pt idx="352">
                  <c:v>45659</c:v>
                </c:pt>
                <c:pt idx="353">
                  <c:v>45660</c:v>
                </c:pt>
                <c:pt idx="354">
                  <c:v>45663</c:v>
                </c:pt>
                <c:pt idx="355">
                  <c:v>45664</c:v>
                </c:pt>
                <c:pt idx="356">
                  <c:v>45665</c:v>
                </c:pt>
                <c:pt idx="357">
                  <c:v>45666</c:v>
                </c:pt>
                <c:pt idx="358">
                  <c:v>45667</c:v>
                </c:pt>
                <c:pt idx="359">
                  <c:v>45670</c:v>
                </c:pt>
                <c:pt idx="360">
                  <c:v>45671</c:v>
                </c:pt>
                <c:pt idx="361">
                  <c:v>45672</c:v>
                </c:pt>
                <c:pt idx="362">
                  <c:v>45673</c:v>
                </c:pt>
                <c:pt idx="363">
                  <c:v>45674</c:v>
                </c:pt>
                <c:pt idx="364">
                  <c:v>45677</c:v>
                </c:pt>
                <c:pt idx="365">
                  <c:v>45678</c:v>
                </c:pt>
                <c:pt idx="366">
                  <c:v>45679</c:v>
                </c:pt>
                <c:pt idx="367">
                  <c:v>45680</c:v>
                </c:pt>
                <c:pt idx="368">
                  <c:v>45681</c:v>
                </c:pt>
                <c:pt idx="369">
                  <c:v>45684</c:v>
                </c:pt>
                <c:pt idx="370">
                  <c:v>45693</c:v>
                </c:pt>
                <c:pt idx="371">
                  <c:v>45694</c:v>
                </c:pt>
                <c:pt idx="372">
                  <c:v>45695</c:v>
                </c:pt>
                <c:pt idx="373">
                  <c:v>45698</c:v>
                </c:pt>
                <c:pt idx="374">
                  <c:v>45699</c:v>
                </c:pt>
                <c:pt idx="375">
                  <c:v>45700</c:v>
                </c:pt>
                <c:pt idx="376">
                  <c:v>45701</c:v>
                </c:pt>
                <c:pt idx="377">
                  <c:v>45702</c:v>
                </c:pt>
                <c:pt idx="378">
                  <c:v>45705</c:v>
                </c:pt>
                <c:pt idx="379">
                  <c:v>45706</c:v>
                </c:pt>
                <c:pt idx="380">
                  <c:v>45707</c:v>
                </c:pt>
                <c:pt idx="381">
                  <c:v>45708</c:v>
                </c:pt>
                <c:pt idx="382">
                  <c:v>45709</c:v>
                </c:pt>
                <c:pt idx="383">
                  <c:v>45712</c:v>
                </c:pt>
                <c:pt idx="384">
                  <c:v>45713</c:v>
                </c:pt>
                <c:pt idx="385">
                  <c:v>45714</c:v>
                </c:pt>
                <c:pt idx="386">
                  <c:v>45715</c:v>
                </c:pt>
                <c:pt idx="387">
                  <c:v>45716</c:v>
                </c:pt>
                <c:pt idx="388">
                  <c:v>45719</c:v>
                </c:pt>
                <c:pt idx="389">
                  <c:v>45720</c:v>
                </c:pt>
                <c:pt idx="390">
                  <c:v>45721</c:v>
                </c:pt>
                <c:pt idx="391">
                  <c:v>45722</c:v>
                </c:pt>
                <c:pt idx="392">
                  <c:v>45723</c:v>
                </c:pt>
                <c:pt idx="393">
                  <c:v>45726</c:v>
                </c:pt>
                <c:pt idx="394">
                  <c:v>45727</c:v>
                </c:pt>
                <c:pt idx="395">
                  <c:v>45728</c:v>
                </c:pt>
                <c:pt idx="396">
                  <c:v>45729</c:v>
                </c:pt>
                <c:pt idx="397">
                  <c:v>45730</c:v>
                </c:pt>
                <c:pt idx="398">
                  <c:v>45733</c:v>
                </c:pt>
                <c:pt idx="399">
                  <c:v>45734</c:v>
                </c:pt>
                <c:pt idx="400">
                  <c:v>45735</c:v>
                </c:pt>
                <c:pt idx="401">
                  <c:v>45736</c:v>
                </c:pt>
                <c:pt idx="402">
                  <c:v>45737</c:v>
                </c:pt>
                <c:pt idx="403">
                  <c:v>45740</c:v>
                </c:pt>
                <c:pt idx="404">
                  <c:v>45741</c:v>
                </c:pt>
                <c:pt idx="405">
                  <c:v>45742</c:v>
                </c:pt>
                <c:pt idx="406">
                  <c:v>45743</c:v>
                </c:pt>
                <c:pt idx="407">
                  <c:v>45744</c:v>
                </c:pt>
                <c:pt idx="408">
                  <c:v>45747</c:v>
                </c:pt>
                <c:pt idx="409">
                  <c:v>45748</c:v>
                </c:pt>
                <c:pt idx="410">
                  <c:v>45749</c:v>
                </c:pt>
                <c:pt idx="411">
                  <c:v>45750</c:v>
                </c:pt>
                <c:pt idx="412">
                  <c:v>45754</c:v>
                </c:pt>
                <c:pt idx="413">
                  <c:v>45755</c:v>
                </c:pt>
                <c:pt idx="414">
                  <c:v>45756</c:v>
                </c:pt>
                <c:pt idx="415">
                  <c:v>45757</c:v>
                </c:pt>
                <c:pt idx="416">
                  <c:v>45758</c:v>
                </c:pt>
                <c:pt idx="417">
                  <c:v>45761</c:v>
                </c:pt>
                <c:pt idx="418">
                  <c:v>45762</c:v>
                </c:pt>
                <c:pt idx="419">
                  <c:v>45763</c:v>
                </c:pt>
                <c:pt idx="420">
                  <c:v>45764</c:v>
                </c:pt>
                <c:pt idx="421">
                  <c:v>45765</c:v>
                </c:pt>
                <c:pt idx="422">
                  <c:v>45768</c:v>
                </c:pt>
                <c:pt idx="423">
                  <c:v>45769</c:v>
                </c:pt>
                <c:pt idx="424">
                  <c:v>45770</c:v>
                </c:pt>
                <c:pt idx="425">
                  <c:v>45771</c:v>
                </c:pt>
                <c:pt idx="426">
                  <c:v>45772</c:v>
                </c:pt>
                <c:pt idx="427">
                  <c:v>45775</c:v>
                </c:pt>
                <c:pt idx="428">
                  <c:v>45776</c:v>
                </c:pt>
                <c:pt idx="429">
                  <c:v>45777</c:v>
                </c:pt>
                <c:pt idx="430">
                  <c:v>45783</c:v>
                </c:pt>
                <c:pt idx="431">
                  <c:v>45784</c:v>
                </c:pt>
                <c:pt idx="432">
                  <c:v>45785</c:v>
                </c:pt>
                <c:pt idx="433">
                  <c:v>45786</c:v>
                </c:pt>
                <c:pt idx="434">
                  <c:v>45789</c:v>
                </c:pt>
                <c:pt idx="435">
                  <c:v>45790</c:v>
                </c:pt>
                <c:pt idx="436">
                  <c:v>45791</c:v>
                </c:pt>
                <c:pt idx="437">
                  <c:v>45792</c:v>
                </c:pt>
                <c:pt idx="438">
                  <c:v>45793</c:v>
                </c:pt>
                <c:pt idx="439">
                  <c:v>45796</c:v>
                </c:pt>
                <c:pt idx="440">
                  <c:v>45797</c:v>
                </c:pt>
                <c:pt idx="441">
                  <c:v>45798</c:v>
                </c:pt>
                <c:pt idx="442">
                  <c:v>45799</c:v>
                </c:pt>
                <c:pt idx="443">
                  <c:v>45800</c:v>
                </c:pt>
                <c:pt idx="444">
                  <c:v>45803</c:v>
                </c:pt>
                <c:pt idx="445">
                  <c:v>45804</c:v>
                </c:pt>
                <c:pt idx="446">
                  <c:v>45805</c:v>
                </c:pt>
                <c:pt idx="447">
                  <c:v>45806</c:v>
                </c:pt>
                <c:pt idx="448">
                  <c:v>45807</c:v>
                </c:pt>
                <c:pt idx="449">
                  <c:v>45811</c:v>
                </c:pt>
                <c:pt idx="450">
                  <c:v>45812</c:v>
                </c:pt>
                <c:pt idx="451">
                  <c:v>45813</c:v>
                </c:pt>
                <c:pt idx="452">
                  <c:v>45814</c:v>
                </c:pt>
                <c:pt idx="453">
                  <c:v>45817</c:v>
                </c:pt>
                <c:pt idx="454">
                  <c:v>45818</c:v>
                </c:pt>
                <c:pt idx="455">
                  <c:v>45819</c:v>
                </c:pt>
                <c:pt idx="456">
                  <c:v>45820</c:v>
                </c:pt>
                <c:pt idx="457">
                  <c:v>45821</c:v>
                </c:pt>
                <c:pt idx="458">
                  <c:v>45824</c:v>
                </c:pt>
                <c:pt idx="459">
                  <c:v>45825</c:v>
                </c:pt>
                <c:pt idx="460">
                  <c:v>45826</c:v>
                </c:pt>
                <c:pt idx="461">
                  <c:v>45827</c:v>
                </c:pt>
                <c:pt idx="462">
                  <c:v>45828</c:v>
                </c:pt>
                <c:pt idx="463">
                  <c:v>45831</c:v>
                </c:pt>
                <c:pt idx="464">
                  <c:v>45832</c:v>
                </c:pt>
                <c:pt idx="465">
                  <c:v>45833</c:v>
                </c:pt>
                <c:pt idx="466">
                  <c:v>45834</c:v>
                </c:pt>
                <c:pt idx="467">
                  <c:v>45835</c:v>
                </c:pt>
                <c:pt idx="468">
                  <c:v>45838</c:v>
                </c:pt>
                <c:pt idx="469">
                  <c:v>45839</c:v>
                </c:pt>
                <c:pt idx="470">
                  <c:v>45840</c:v>
                </c:pt>
                <c:pt idx="471">
                  <c:v>45841</c:v>
                </c:pt>
                <c:pt idx="472">
                  <c:v>45842</c:v>
                </c:pt>
                <c:pt idx="473">
                  <c:v>45845</c:v>
                </c:pt>
                <c:pt idx="474">
                  <c:v>45846</c:v>
                </c:pt>
                <c:pt idx="475">
                  <c:v>45847</c:v>
                </c:pt>
                <c:pt idx="476">
                  <c:v>45848</c:v>
                </c:pt>
                <c:pt idx="477">
                  <c:v>45849</c:v>
                </c:pt>
                <c:pt idx="478">
                  <c:v>45852</c:v>
                </c:pt>
                <c:pt idx="479">
                  <c:v>45853</c:v>
                </c:pt>
                <c:pt idx="480">
                  <c:v>45854</c:v>
                </c:pt>
                <c:pt idx="481">
                  <c:v>45855</c:v>
                </c:pt>
                <c:pt idx="482">
                  <c:v>45856</c:v>
                </c:pt>
                <c:pt idx="483">
                  <c:v>45859</c:v>
                </c:pt>
                <c:pt idx="484">
                  <c:v>45860</c:v>
                </c:pt>
                <c:pt idx="485">
                  <c:v>45861</c:v>
                </c:pt>
                <c:pt idx="486">
                  <c:v>45862</c:v>
                </c:pt>
                <c:pt idx="487">
                  <c:v>45863</c:v>
                </c:pt>
                <c:pt idx="488">
                  <c:v>45866</c:v>
                </c:pt>
                <c:pt idx="489">
                  <c:v>45867</c:v>
                </c:pt>
                <c:pt idx="490">
                  <c:v>45868</c:v>
                </c:pt>
                <c:pt idx="491">
                  <c:v>45869</c:v>
                </c:pt>
                <c:pt idx="492">
                  <c:v>45870</c:v>
                </c:pt>
                <c:pt idx="493">
                  <c:v>45873</c:v>
                </c:pt>
                <c:pt idx="494">
                  <c:v>45874</c:v>
                </c:pt>
                <c:pt idx="495">
                  <c:v>45875</c:v>
                </c:pt>
                <c:pt idx="496">
                  <c:v>45876</c:v>
                </c:pt>
                <c:pt idx="497">
                  <c:v>45877</c:v>
                </c:pt>
                <c:pt idx="498">
                  <c:v>45880</c:v>
                </c:pt>
                <c:pt idx="499">
                  <c:v>45881</c:v>
                </c:pt>
                <c:pt idx="500">
                  <c:v>45882</c:v>
                </c:pt>
                <c:pt idx="501">
                  <c:v>45883</c:v>
                </c:pt>
                <c:pt idx="502">
                  <c:v>45884</c:v>
                </c:pt>
                <c:pt idx="503">
                  <c:v>45887</c:v>
                </c:pt>
                <c:pt idx="504">
                  <c:v>45888</c:v>
                </c:pt>
                <c:pt idx="505">
                  <c:v>45889</c:v>
                </c:pt>
                <c:pt idx="506">
                  <c:v>45890</c:v>
                </c:pt>
                <c:pt idx="507">
                  <c:v>45891</c:v>
                </c:pt>
                <c:pt idx="508">
                  <c:v>45894</c:v>
                </c:pt>
                <c:pt idx="509">
                  <c:v>45895</c:v>
                </c:pt>
                <c:pt idx="510">
                  <c:v>45896</c:v>
                </c:pt>
                <c:pt idx="511">
                  <c:v>45897</c:v>
                </c:pt>
                <c:pt idx="512">
                  <c:v>45898</c:v>
                </c:pt>
                <c:pt idx="513">
                  <c:v>45901</c:v>
                </c:pt>
                <c:pt idx="514">
                  <c:v>45902</c:v>
                </c:pt>
                <c:pt idx="515">
                  <c:v>45903</c:v>
                </c:pt>
                <c:pt idx="516">
                  <c:v>45904</c:v>
                </c:pt>
                <c:pt idx="517">
                  <c:v>45905</c:v>
                </c:pt>
                <c:pt idx="518">
                  <c:v>45908</c:v>
                </c:pt>
                <c:pt idx="519">
                  <c:v>45909</c:v>
                </c:pt>
                <c:pt idx="520">
                  <c:v>45910</c:v>
                </c:pt>
                <c:pt idx="521">
                  <c:v>45911</c:v>
                </c:pt>
                <c:pt idx="522">
                  <c:v>45912</c:v>
                </c:pt>
                <c:pt idx="523">
                  <c:v>45915</c:v>
                </c:pt>
                <c:pt idx="524">
                  <c:v>45916</c:v>
                </c:pt>
                <c:pt idx="525">
                  <c:v>45917</c:v>
                </c:pt>
                <c:pt idx="526">
                  <c:v>45918</c:v>
                </c:pt>
                <c:pt idx="527">
                  <c:v>45919</c:v>
                </c:pt>
                <c:pt idx="528">
                  <c:v>45922</c:v>
                </c:pt>
                <c:pt idx="529">
                  <c:v>45923</c:v>
                </c:pt>
                <c:pt idx="530">
                  <c:v>45924</c:v>
                </c:pt>
                <c:pt idx="531">
                  <c:v>45925</c:v>
                </c:pt>
                <c:pt idx="532">
                  <c:v>45926</c:v>
                </c:pt>
                <c:pt idx="533">
                  <c:v>45929</c:v>
                </c:pt>
                <c:pt idx="534">
                  <c:v>45930</c:v>
                </c:pt>
                <c:pt idx="535">
                  <c:v>45931</c:v>
                </c:pt>
                <c:pt idx="536">
                  <c:v>45932</c:v>
                </c:pt>
                <c:pt idx="537">
                  <c:v>45933</c:v>
                </c:pt>
                <c:pt idx="538">
                  <c:v>45936</c:v>
                </c:pt>
                <c:pt idx="539">
                  <c:v>45937</c:v>
                </c:pt>
                <c:pt idx="540">
                  <c:v>45938</c:v>
                </c:pt>
                <c:pt idx="541">
                  <c:v>45939</c:v>
                </c:pt>
                <c:pt idx="542">
                  <c:v>45940</c:v>
                </c:pt>
                <c:pt idx="543">
                  <c:v>45943</c:v>
                </c:pt>
                <c:pt idx="544">
                  <c:v>45944</c:v>
                </c:pt>
                <c:pt idx="545">
                  <c:v>45945</c:v>
                </c:pt>
                <c:pt idx="546">
                  <c:v>45946</c:v>
                </c:pt>
                <c:pt idx="547">
                  <c:v>45947</c:v>
                </c:pt>
                <c:pt idx="548">
                  <c:v>45950</c:v>
                </c:pt>
                <c:pt idx="549">
                  <c:v>45951</c:v>
                </c:pt>
                <c:pt idx="550">
                  <c:v>45952</c:v>
                </c:pt>
                <c:pt idx="551">
                  <c:v>45953</c:v>
                </c:pt>
                <c:pt idx="552">
                  <c:v>45954</c:v>
                </c:pt>
                <c:pt idx="553">
                  <c:v>45957</c:v>
                </c:pt>
                <c:pt idx="554">
                  <c:v>45958</c:v>
                </c:pt>
                <c:pt idx="555">
                  <c:v>45959</c:v>
                </c:pt>
                <c:pt idx="556">
                  <c:v>45960</c:v>
                </c:pt>
                <c:pt idx="557">
                  <c:v>45961</c:v>
                </c:pt>
                <c:pt idx="558">
                  <c:v>45964</c:v>
                </c:pt>
                <c:pt idx="559">
                  <c:v>45965</c:v>
                </c:pt>
                <c:pt idx="560">
                  <c:v>45966</c:v>
                </c:pt>
                <c:pt idx="561">
                  <c:v>45967</c:v>
                </c:pt>
                <c:pt idx="562">
                  <c:v>45968</c:v>
                </c:pt>
                <c:pt idx="563">
                  <c:v>45971</c:v>
                </c:pt>
                <c:pt idx="564">
                  <c:v>45972</c:v>
                </c:pt>
                <c:pt idx="565">
                  <c:v>45973</c:v>
                </c:pt>
                <c:pt idx="566">
                  <c:v>45974</c:v>
                </c:pt>
                <c:pt idx="567">
                  <c:v>45975</c:v>
                </c:pt>
                <c:pt idx="568">
                  <c:v>45978</c:v>
                </c:pt>
                <c:pt idx="569">
                  <c:v>45979</c:v>
                </c:pt>
                <c:pt idx="570">
                  <c:v>45980</c:v>
                </c:pt>
                <c:pt idx="571">
                  <c:v>45981</c:v>
                </c:pt>
                <c:pt idx="572">
                  <c:v>45982</c:v>
                </c:pt>
                <c:pt idx="573">
                  <c:v>45985</c:v>
                </c:pt>
                <c:pt idx="574">
                  <c:v>45986</c:v>
                </c:pt>
                <c:pt idx="575">
                  <c:v>45987</c:v>
                </c:pt>
                <c:pt idx="576">
                  <c:v>45988</c:v>
                </c:pt>
                <c:pt idx="577">
                  <c:v>45989</c:v>
                </c:pt>
                <c:pt idx="578">
                  <c:v>45992</c:v>
                </c:pt>
                <c:pt idx="579">
                  <c:v>45993</c:v>
                </c:pt>
                <c:pt idx="580">
                  <c:v>45994</c:v>
                </c:pt>
                <c:pt idx="581">
                  <c:v>45995</c:v>
                </c:pt>
                <c:pt idx="582">
                  <c:v>45996</c:v>
                </c:pt>
                <c:pt idx="583">
                  <c:v>45999</c:v>
                </c:pt>
                <c:pt idx="584">
                  <c:v>46000</c:v>
                </c:pt>
                <c:pt idx="585">
                  <c:v>46001</c:v>
                </c:pt>
                <c:pt idx="586">
                  <c:v>46002</c:v>
                </c:pt>
                <c:pt idx="587">
                  <c:v>46003</c:v>
                </c:pt>
                <c:pt idx="588">
                  <c:v>46006</c:v>
                </c:pt>
                <c:pt idx="589">
                  <c:v>46007</c:v>
                </c:pt>
                <c:pt idx="590">
                  <c:v>46008</c:v>
                </c:pt>
                <c:pt idx="591">
                  <c:v>46009</c:v>
                </c:pt>
                <c:pt idx="592">
                  <c:v>46010</c:v>
                </c:pt>
                <c:pt idx="593">
                  <c:v>46013</c:v>
                </c:pt>
                <c:pt idx="594">
                  <c:v>46014</c:v>
                </c:pt>
                <c:pt idx="595">
                  <c:v>46015</c:v>
                </c:pt>
                <c:pt idx="596">
                  <c:v>46016</c:v>
                </c:pt>
                <c:pt idx="597">
                  <c:v>46017</c:v>
                </c:pt>
                <c:pt idx="598">
                  <c:v>46020</c:v>
                </c:pt>
                <c:pt idx="599">
                  <c:v>46021</c:v>
                </c:pt>
                <c:pt idx="600">
                  <c:v>46022</c:v>
                </c:pt>
                <c:pt idx="601">
                  <c:v>46023</c:v>
                </c:pt>
                <c:pt idx="602">
                  <c:v>46024</c:v>
                </c:pt>
                <c:pt idx="603">
                  <c:v>46027</c:v>
                </c:pt>
                <c:pt idx="604">
                  <c:v>46028</c:v>
                </c:pt>
                <c:pt idx="605">
                  <c:v>46029</c:v>
                </c:pt>
                <c:pt idx="606">
                  <c:v>46030</c:v>
                </c:pt>
                <c:pt idx="607">
                  <c:v>46031</c:v>
                </c:pt>
                <c:pt idx="608">
                  <c:v>46034</c:v>
                </c:pt>
                <c:pt idx="609">
                  <c:v>46035</c:v>
                </c:pt>
                <c:pt idx="610">
                  <c:v>46036</c:v>
                </c:pt>
                <c:pt idx="611">
                  <c:v>46037</c:v>
                </c:pt>
                <c:pt idx="612">
                  <c:v>46038</c:v>
                </c:pt>
                <c:pt idx="613">
                  <c:v>46041</c:v>
                </c:pt>
                <c:pt idx="614">
                  <c:v>46042</c:v>
                </c:pt>
                <c:pt idx="615">
                  <c:v>46043</c:v>
                </c:pt>
                <c:pt idx="616">
                  <c:v>46044</c:v>
                </c:pt>
                <c:pt idx="617">
                  <c:v>46045</c:v>
                </c:pt>
                <c:pt idx="618">
                  <c:v>46048</c:v>
                </c:pt>
                <c:pt idx="619">
                  <c:v>46049</c:v>
                </c:pt>
                <c:pt idx="620">
                  <c:v>46050</c:v>
                </c:pt>
                <c:pt idx="621">
                  <c:v>46051</c:v>
                </c:pt>
                <c:pt idx="622">
                  <c:v>46052</c:v>
                </c:pt>
                <c:pt idx="623">
                  <c:v>46055</c:v>
                </c:pt>
                <c:pt idx="624">
                  <c:v>46056</c:v>
                </c:pt>
                <c:pt idx="625">
                  <c:v>46057</c:v>
                </c:pt>
                <c:pt idx="626">
                  <c:v>46058</c:v>
                </c:pt>
                <c:pt idx="627">
                  <c:v>46059</c:v>
                </c:pt>
                <c:pt idx="628">
                  <c:v>46062</c:v>
                </c:pt>
                <c:pt idx="629">
                  <c:v>46063</c:v>
                </c:pt>
                <c:pt idx="630">
                  <c:v>46064</c:v>
                </c:pt>
                <c:pt idx="631">
                  <c:v>46065</c:v>
                </c:pt>
                <c:pt idx="632">
                  <c:v>46066</c:v>
                </c:pt>
                <c:pt idx="633">
                  <c:v>46069</c:v>
                </c:pt>
                <c:pt idx="634">
                  <c:v>46070</c:v>
                </c:pt>
                <c:pt idx="635">
                  <c:v>46071</c:v>
                </c:pt>
                <c:pt idx="636">
                  <c:v>46072</c:v>
                </c:pt>
                <c:pt idx="637">
                  <c:v>46073</c:v>
                </c:pt>
                <c:pt idx="638">
                  <c:v>46076</c:v>
                </c:pt>
                <c:pt idx="639">
                  <c:v>46077</c:v>
                </c:pt>
                <c:pt idx="640">
                  <c:v>46078</c:v>
                </c:pt>
                <c:pt idx="641">
                  <c:v>46079</c:v>
                </c:pt>
                <c:pt idx="642">
                  <c:v>46080</c:v>
                </c:pt>
                <c:pt idx="643">
                  <c:v>46083</c:v>
                </c:pt>
                <c:pt idx="644">
                  <c:v>46084</c:v>
                </c:pt>
                <c:pt idx="645">
                  <c:v>46085</c:v>
                </c:pt>
                <c:pt idx="646">
                  <c:v>46086</c:v>
                </c:pt>
                <c:pt idx="647">
                  <c:v>46087</c:v>
                </c:pt>
                <c:pt idx="648">
                  <c:v>46090</c:v>
                </c:pt>
                <c:pt idx="649">
                  <c:v>46091</c:v>
                </c:pt>
                <c:pt idx="650">
                  <c:v>46092</c:v>
                </c:pt>
                <c:pt idx="651">
                  <c:v>46093</c:v>
                </c:pt>
                <c:pt idx="652">
                  <c:v>46094</c:v>
                </c:pt>
                <c:pt idx="653">
                  <c:v>46097</c:v>
                </c:pt>
                <c:pt idx="654">
                  <c:v>46098</c:v>
                </c:pt>
                <c:pt idx="655">
                  <c:v>46099</c:v>
                </c:pt>
                <c:pt idx="656">
                  <c:v>46100</c:v>
                </c:pt>
                <c:pt idx="657">
                  <c:v>46101</c:v>
                </c:pt>
                <c:pt idx="658">
                  <c:v>46104</c:v>
                </c:pt>
                <c:pt idx="659">
                  <c:v>46105</c:v>
                </c:pt>
                <c:pt idx="660">
                  <c:v>46106</c:v>
                </c:pt>
                <c:pt idx="661">
                  <c:v>46107</c:v>
                </c:pt>
                <c:pt idx="662">
                  <c:v>46108</c:v>
                </c:pt>
                <c:pt idx="663">
                  <c:v>46111</c:v>
                </c:pt>
                <c:pt idx="664">
                  <c:v>46112</c:v>
                </c:pt>
                <c:pt idx="665">
                  <c:v>46113</c:v>
                </c:pt>
                <c:pt idx="666">
                  <c:v>46114</c:v>
                </c:pt>
                <c:pt idx="667">
                  <c:v>46115</c:v>
                </c:pt>
                <c:pt idx="668">
                  <c:v>46118</c:v>
                </c:pt>
                <c:pt idx="669">
                  <c:v>46119</c:v>
                </c:pt>
                <c:pt idx="670">
                  <c:v>46120</c:v>
                </c:pt>
                <c:pt idx="671">
                  <c:v>46121</c:v>
                </c:pt>
                <c:pt idx="672">
                  <c:v>46122</c:v>
                </c:pt>
                <c:pt idx="673">
                  <c:v>46125</c:v>
                </c:pt>
                <c:pt idx="674">
                  <c:v>46126</c:v>
                </c:pt>
                <c:pt idx="675">
                  <c:v>46127</c:v>
                </c:pt>
                <c:pt idx="676">
                  <c:v>46128</c:v>
                </c:pt>
                <c:pt idx="677">
                  <c:v>46129</c:v>
                </c:pt>
                <c:pt idx="678">
                  <c:v>46132</c:v>
                </c:pt>
                <c:pt idx="679">
                  <c:v>46133</c:v>
                </c:pt>
                <c:pt idx="680">
                  <c:v>46134</c:v>
                </c:pt>
                <c:pt idx="681">
                  <c:v>46135</c:v>
                </c:pt>
                <c:pt idx="682">
                  <c:v>46136</c:v>
                </c:pt>
                <c:pt idx="683">
                  <c:v>46139</c:v>
                </c:pt>
                <c:pt idx="684">
                  <c:v>46140</c:v>
                </c:pt>
                <c:pt idx="685">
                  <c:v>46141</c:v>
                </c:pt>
                <c:pt idx="686">
                  <c:v>46142</c:v>
                </c:pt>
                <c:pt idx="687">
                  <c:v>46143</c:v>
                </c:pt>
                <c:pt idx="688">
                  <c:v>46146</c:v>
                </c:pt>
                <c:pt idx="689">
                  <c:v>46147</c:v>
                </c:pt>
                <c:pt idx="690">
                  <c:v>46148</c:v>
                </c:pt>
                <c:pt idx="691">
                  <c:v>46149</c:v>
                </c:pt>
                <c:pt idx="692">
                  <c:v>46150</c:v>
                </c:pt>
                <c:pt idx="693">
                  <c:v>46153</c:v>
                </c:pt>
                <c:pt idx="694">
                  <c:v>46154</c:v>
                </c:pt>
                <c:pt idx="695">
                  <c:v>46155</c:v>
                </c:pt>
                <c:pt idx="696">
                  <c:v>46156</c:v>
                </c:pt>
                <c:pt idx="697">
                  <c:v>46157</c:v>
                </c:pt>
                <c:pt idx="698">
                  <c:v>46160</c:v>
                </c:pt>
                <c:pt idx="699">
                  <c:v>46161</c:v>
                </c:pt>
                <c:pt idx="700">
                  <c:v>46162</c:v>
                </c:pt>
                <c:pt idx="701">
                  <c:v>46163</c:v>
                </c:pt>
                <c:pt idx="702">
                  <c:v>46164</c:v>
                </c:pt>
                <c:pt idx="703">
                  <c:v>46167</c:v>
                </c:pt>
                <c:pt idx="704">
                  <c:v>46168</c:v>
                </c:pt>
                <c:pt idx="705">
                  <c:v>46169</c:v>
                </c:pt>
                <c:pt idx="706">
                  <c:v>46170</c:v>
                </c:pt>
                <c:pt idx="707">
                  <c:v>46171</c:v>
                </c:pt>
                <c:pt idx="708">
                  <c:v>46174</c:v>
                </c:pt>
                <c:pt idx="709">
                  <c:v>46175</c:v>
                </c:pt>
                <c:pt idx="710">
                  <c:v>46176</c:v>
                </c:pt>
                <c:pt idx="711">
                  <c:v>46177</c:v>
                </c:pt>
                <c:pt idx="712">
                  <c:v>46178</c:v>
                </c:pt>
                <c:pt idx="713">
                  <c:v>46181</c:v>
                </c:pt>
                <c:pt idx="714">
                  <c:v>46182</c:v>
                </c:pt>
                <c:pt idx="715">
                  <c:v>46183</c:v>
                </c:pt>
                <c:pt idx="716">
                  <c:v>46184</c:v>
                </c:pt>
                <c:pt idx="717">
                  <c:v>46185</c:v>
                </c:pt>
                <c:pt idx="718">
                  <c:v>46188</c:v>
                </c:pt>
                <c:pt idx="719">
                  <c:v>46189</c:v>
                </c:pt>
                <c:pt idx="720">
                  <c:v>46190</c:v>
                </c:pt>
                <c:pt idx="721">
                  <c:v>46191</c:v>
                </c:pt>
                <c:pt idx="722">
                  <c:v>46192</c:v>
                </c:pt>
                <c:pt idx="723">
                  <c:v>46195</c:v>
                </c:pt>
                <c:pt idx="724">
                  <c:v>46196</c:v>
                </c:pt>
                <c:pt idx="725">
                  <c:v>46197</c:v>
                </c:pt>
                <c:pt idx="726">
                  <c:v>46198</c:v>
                </c:pt>
                <c:pt idx="727">
                  <c:v>46199</c:v>
                </c:pt>
                <c:pt idx="728">
                  <c:v>46202</c:v>
                </c:pt>
                <c:pt idx="729">
                  <c:v>46203</c:v>
                </c:pt>
                <c:pt idx="730">
                  <c:v>46204</c:v>
                </c:pt>
                <c:pt idx="731">
                  <c:v>46205</c:v>
                </c:pt>
                <c:pt idx="732">
                  <c:v>46206</c:v>
                </c:pt>
                <c:pt idx="733">
                  <c:v>46209</c:v>
                </c:pt>
                <c:pt idx="734">
                  <c:v>46210</c:v>
                </c:pt>
                <c:pt idx="735">
                  <c:v>46211</c:v>
                </c:pt>
                <c:pt idx="736">
                  <c:v>46212</c:v>
                </c:pt>
                <c:pt idx="737">
                  <c:v>46213</c:v>
                </c:pt>
                <c:pt idx="738">
                  <c:v>46216</c:v>
                </c:pt>
                <c:pt idx="739">
                  <c:v>46217</c:v>
                </c:pt>
                <c:pt idx="740">
                  <c:v>46218</c:v>
                </c:pt>
                <c:pt idx="741">
                  <c:v>46219</c:v>
                </c:pt>
                <c:pt idx="742">
                  <c:v>46220</c:v>
                </c:pt>
                <c:pt idx="743">
                  <c:v>46223</c:v>
                </c:pt>
                <c:pt idx="744">
                  <c:v>46224</c:v>
                </c:pt>
                <c:pt idx="745">
                  <c:v>46225</c:v>
                </c:pt>
                <c:pt idx="746">
                  <c:v>46226</c:v>
                </c:pt>
                <c:pt idx="747">
                  <c:v>46227</c:v>
                </c:pt>
                <c:pt idx="748">
                  <c:v>46230</c:v>
                </c:pt>
                <c:pt idx="749">
                  <c:v>46231</c:v>
                </c:pt>
                <c:pt idx="750">
                  <c:v>46232</c:v>
                </c:pt>
                <c:pt idx="751">
                  <c:v>46233</c:v>
                </c:pt>
                <c:pt idx="752">
                  <c:v>46234</c:v>
                </c:pt>
                <c:pt idx="753">
                  <c:v>46237</c:v>
                </c:pt>
                <c:pt idx="754">
                  <c:v>46238</c:v>
                </c:pt>
                <c:pt idx="755">
                  <c:v>46239</c:v>
                </c:pt>
                <c:pt idx="756">
                  <c:v>46240</c:v>
                </c:pt>
                <c:pt idx="757">
                  <c:v>46241</c:v>
                </c:pt>
                <c:pt idx="758">
                  <c:v>46244</c:v>
                </c:pt>
                <c:pt idx="759">
                  <c:v>46245</c:v>
                </c:pt>
                <c:pt idx="760">
                  <c:v>46246</c:v>
                </c:pt>
                <c:pt idx="761">
                  <c:v>46247</c:v>
                </c:pt>
                <c:pt idx="762">
                  <c:v>46248</c:v>
                </c:pt>
                <c:pt idx="763">
                  <c:v>46251</c:v>
                </c:pt>
                <c:pt idx="764">
                  <c:v>46252</c:v>
                </c:pt>
                <c:pt idx="765">
                  <c:v>46253</c:v>
                </c:pt>
                <c:pt idx="766">
                  <c:v>46254</c:v>
                </c:pt>
                <c:pt idx="767">
                  <c:v>46255</c:v>
                </c:pt>
                <c:pt idx="768">
                  <c:v>46258</c:v>
                </c:pt>
                <c:pt idx="769">
                  <c:v>46259</c:v>
                </c:pt>
                <c:pt idx="770">
                  <c:v>46260</c:v>
                </c:pt>
                <c:pt idx="771">
                  <c:v>46261</c:v>
                </c:pt>
                <c:pt idx="772">
                  <c:v>46262</c:v>
                </c:pt>
                <c:pt idx="773">
                  <c:v>46265</c:v>
                </c:pt>
                <c:pt idx="774">
                  <c:v>46266</c:v>
                </c:pt>
                <c:pt idx="775">
                  <c:v>46267</c:v>
                </c:pt>
                <c:pt idx="776">
                  <c:v>46268</c:v>
                </c:pt>
                <c:pt idx="777">
                  <c:v>46269</c:v>
                </c:pt>
                <c:pt idx="778">
                  <c:v>46272</c:v>
                </c:pt>
                <c:pt idx="779">
                  <c:v>46273</c:v>
                </c:pt>
                <c:pt idx="780">
                  <c:v>46274</c:v>
                </c:pt>
                <c:pt idx="781">
                  <c:v>46275</c:v>
                </c:pt>
                <c:pt idx="782">
                  <c:v>46276</c:v>
                </c:pt>
                <c:pt idx="783">
                  <c:v>46279</c:v>
                </c:pt>
                <c:pt idx="784">
                  <c:v>46280</c:v>
                </c:pt>
                <c:pt idx="785">
                  <c:v>46281</c:v>
                </c:pt>
                <c:pt idx="786">
                  <c:v>46282</c:v>
                </c:pt>
                <c:pt idx="787">
                  <c:v>46283</c:v>
                </c:pt>
                <c:pt idx="788">
                  <c:v>46286</c:v>
                </c:pt>
                <c:pt idx="789">
                  <c:v>46287</c:v>
                </c:pt>
                <c:pt idx="790">
                  <c:v>46288</c:v>
                </c:pt>
                <c:pt idx="791">
                  <c:v>46289</c:v>
                </c:pt>
                <c:pt idx="792">
                  <c:v>46290</c:v>
                </c:pt>
                <c:pt idx="793">
                  <c:v>46293</c:v>
                </c:pt>
                <c:pt idx="794">
                  <c:v>46294</c:v>
                </c:pt>
                <c:pt idx="795">
                  <c:v>46295</c:v>
                </c:pt>
                <c:pt idx="796">
                  <c:v>46296</c:v>
                </c:pt>
                <c:pt idx="797">
                  <c:v>46297</c:v>
                </c:pt>
                <c:pt idx="798">
                  <c:v>46300</c:v>
                </c:pt>
                <c:pt idx="799">
                  <c:v>46301</c:v>
                </c:pt>
                <c:pt idx="800">
                  <c:v>46302</c:v>
                </c:pt>
                <c:pt idx="801">
                  <c:v>46303</c:v>
                </c:pt>
                <c:pt idx="802">
                  <c:v>46304</c:v>
                </c:pt>
                <c:pt idx="803">
                  <c:v>46307</c:v>
                </c:pt>
                <c:pt idx="804">
                  <c:v>46308</c:v>
                </c:pt>
                <c:pt idx="805">
                  <c:v>46309</c:v>
                </c:pt>
                <c:pt idx="806">
                  <c:v>46310</c:v>
                </c:pt>
                <c:pt idx="807">
                  <c:v>46311</c:v>
                </c:pt>
                <c:pt idx="808">
                  <c:v>46314</c:v>
                </c:pt>
                <c:pt idx="809">
                  <c:v>46315</c:v>
                </c:pt>
                <c:pt idx="810">
                  <c:v>46316</c:v>
                </c:pt>
                <c:pt idx="811">
                  <c:v>46317</c:v>
                </c:pt>
                <c:pt idx="812">
                  <c:v>46318</c:v>
                </c:pt>
                <c:pt idx="813">
                  <c:v>46321</c:v>
                </c:pt>
                <c:pt idx="814">
                  <c:v>46322</c:v>
                </c:pt>
                <c:pt idx="815">
                  <c:v>46323</c:v>
                </c:pt>
                <c:pt idx="816">
                  <c:v>46324</c:v>
                </c:pt>
                <c:pt idx="817">
                  <c:v>46325</c:v>
                </c:pt>
                <c:pt idx="818">
                  <c:v>46328</c:v>
                </c:pt>
                <c:pt idx="819">
                  <c:v>46329</c:v>
                </c:pt>
                <c:pt idx="820">
                  <c:v>46330</c:v>
                </c:pt>
                <c:pt idx="821">
                  <c:v>46331</c:v>
                </c:pt>
                <c:pt idx="822">
                  <c:v>46332</c:v>
                </c:pt>
                <c:pt idx="823">
                  <c:v>46335</c:v>
                </c:pt>
                <c:pt idx="824">
                  <c:v>46336</c:v>
                </c:pt>
                <c:pt idx="825">
                  <c:v>46337</c:v>
                </c:pt>
                <c:pt idx="826">
                  <c:v>46338</c:v>
                </c:pt>
                <c:pt idx="827">
                  <c:v>46339</c:v>
                </c:pt>
                <c:pt idx="828">
                  <c:v>46342</c:v>
                </c:pt>
                <c:pt idx="829">
                  <c:v>46343</c:v>
                </c:pt>
                <c:pt idx="830">
                  <c:v>46344</c:v>
                </c:pt>
                <c:pt idx="831">
                  <c:v>46345</c:v>
                </c:pt>
                <c:pt idx="832">
                  <c:v>46346</c:v>
                </c:pt>
                <c:pt idx="833">
                  <c:v>46349</c:v>
                </c:pt>
                <c:pt idx="834">
                  <c:v>46350</c:v>
                </c:pt>
                <c:pt idx="835">
                  <c:v>46351</c:v>
                </c:pt>
                <c:pt idx="836">
                  <c:v>46352</c:v>
                </c:pt>
                <c:pt idx="837">
                  <c:v>46353</c:v>
                </c:pt>
                <c:pt idx="838">
                  <c:v>46356</c:v>
                </c:pt>
                <c:pt idx="839">
                  <c:v>46357</c:v>
                </c:pt>
                <c:pt idx="840">
                  <c:v>46358</c:v>
                </c:pt>
                <c:pt idx="841">
                  <c:v>46359</c:v>
                </c:pt>
                <c:pt idx="842">
                  <c:v>46360</c:v>
                </c:pt>
                <c:pt idx="843">
                  <c:v>46363</c:v>
                </c:pt>
                <c:pt idx="844">
                  <c:v>46364</c:v>
                </c:pt>
                <c:pt idx="845">
                  <c:v>46365</c:v>
                </c:pt>
                <c:pt idx="846">
                  <c:v>46366</c:v>
                </c:pt>
                <c:pt idx="847">
                  <c:v>46367</c:v>
                </c:pt>
                <c:pt idx="848">
                  <c:v>46370</c:v>
                </c:pt>
                <c:pt idx="849">
                  <c:v>46371</c:v>
                </c:pt>
                <c:pt idx="850">
                  <c:v>46372</c:v>
                </c:pt>
                <c:pt idx="851">
                  <c:v>46373</c:v>
                </c:pt>
                <c:pt idx="852">
                  <c:v>46374</c:v>
                </c:pt>
                <c:pt idx="853">
                  <c:v>46377</c:v>
                </c:pt>
                <c:pt idx="854">
                  <c:v>46378</c:v>
                </c:pt>
                <c:pt idx="855">
                  <c:v>46379</c:v>
                </c:pt>
                <c:pt idx="856">
                  <c:v>46380</c:v>
                </c:pt>
                <c:pt idx="857">
                  <c:v>46381</c:v>
                </c:pt>
                <c:pt idx="858">
                  <c:v>46384</c:v>
                </c:pt>
                <c:pt idx="859">
                  <c:v>46385</c:v>
                </c:pt>
                <c:pt idx="860">
                  <c:v>46386</c:v>
                </c:pt>
                <c:pt idx="861">
                  <c:v>46387</c:v>
                </c:pt>
                <c:pt idx="862">
                  <c:v>46388</c:v>
                </c:pt>
                <c:pt idx="863">
                  <c:v>46391</c:v>
                </c:pt>
                <c:pt idx="864">
                  <c:v>46392</c:v>
                </c:pt>
                <c:pt idx="865">
                  <c:v>46393</c:v>
                </c:pt>
                <c:pt idx="866">
                  <c:v>46394</c:v>
                </c:pt>
                <c:pt idx="867">
                  <c:v>46395</c:v>
                </c:pt>
                <c:pt idx="868">
                  <c:v>46398</c:v>
                </c:pt>
                <c:pt idx="869">
                  <c:v>46399</c:v>
                </c:pt>
                <c:pt idx="870">
                  <c:v>46400</c:v>
                </c:pt>
                <c:pt idx="871">
                  <c:v>46401</c:v>
                </c:pt>
                <c:pt idx="872">
                  <c:v>46402</c:v>
                </c:pt>
                <c:pt idx="873">
                  <c:v>46405</c:v>
                </c:pt>
                <c:pt idx="874">
                  <c:v>46406</c:v>
                </c:pt>
                <c:pt idx="875">
                  <c:v>46407</c:v>
                </c:pt>
                <c:pt idx="876">
                  <c:v>46408</c:v>
                </c:pt>
                <c:pt idx="877">
                  <c:v>46409</c:v>
                </c:pt>
                <c:pt idx="878">
                  <c:v>46412</c:v>
                </c:pt>
                <c:pt idx="879">
                  <c:v>46413</c:v>
                </c:pt>
                <c:pt idx="880">
                  <c:v>46414</c:v>
                </c:pt>
                <c:pt idx="881">
                  <c:v>46415</c:v>
                </c:pt>
                <c:pt idx="882">
                  <c:v>46416</c:v>
                </c:pt>
                <c:pt idx="883">
                  <c:v>46419</c:v>
                </c:pt>
                <c:pt idx="884">
                  <c:v>46420</c:v>
                </c:pt>
                <c:pt idx="885">
                  <c:v>46421</c:v>
                </c:pt>
                <c:pt idx="886">
                  <c:v>46422</c:v>
                </c:pt>
                <c:pt idx="887">
                  <c:v>46423</c:v>
                </c:pt>
                <c:pt idx="888">
                  <c:v>46426</c:v>
                </c:pt>
                <c:pt idx="889">
                  <c:v>46427</c:v>
                </c:pt>
                <c:pt idx="890">
                  <c:v>46428</c:v>
                </c:pt>
                <c:pt idx="891">
                  <c:v>46429</c:v>
                </c:pt>
                <c:pt idx="892">
                  <c:v>46430</c:v>
                </c:pt>
                <c:pt idx="893">
                  <c:v>46433</c:v>
                </c:pt>
                <c:pt idx="894">
                  <c:v>46434</c:v>
                </c:pt>
                <c:pt idx="895">
                  <c:v>46435</c:v>
                </c:pt>
                <c:pt idx="896">
                  <c:v>46436</c:v>
                </c:pt>
                <c:pt idx="897">
                  <c:v>46437</c:v>
                </c:pt>
                <c:pt idx="898">
                  <c:v>46440</c:v>
                </c:pt>
                <c:pt idx="899">
                  <c:v>46441</c:v>
                </c:pt>
                <c:pt idx="900">
                  <c:v>46442</c:v>
                </c:pt>
                <c:pt idx="901">
                  <c:v>46443</c:v>
                </c:pt>
                <c:pt idx="902">
                  <c:v>46444</c:v>
                </c:pt>
                <c:pt idx="903">
                  <c:v>46447</c:v>
                </c:pt>
                <c:pt idx="904">
                  <c:v>46448</c:v>
                </c:pt>
                <c:pt idx="905">
                  <c:v>46449</c:v>
                </c:pt>
                <c:pt idx="906">
                  <c:v>46450</c:v>
                </c:pt>
                <c:pt idx="907">
                  <c:v>46451</c:v>
                </c:pt>
                <c:pt idx="908">
                  <c:v>46454</c:v>
                </c:pt>
                <c:pt idx="909">
                  <c:v>46455</c:v>
                </c:pt>
                <c:pt idx="910">
                  <c:v>46456</c:v>
                </c:pt>
                <c:pt idx="911">
                  <c:v>46457</c:v>
                </c:pt>
                <c:pt idx="912">
                  <c:v>46458</c:v>
                </c:pt>
                <c:pt idx="913">
                  <c:v>46461</c:v>
                </c:pt>
                <c:pt idx="914">
                  <c:v>46462</c:v>
                </c:pt>
                <c:pt idx="915">
                  <c:v>46463</c:v>
                </c:pt>
                <c:pt idx="916">
                  <c:v>46464</c:v>
                </c:pt>
                <c:pt idx="917">
                  <c:v>46465</c:v>
                </c:pt>
                <c:pt idx="918">
                  <c:v>46468</c:v>
                </c:pt>
                <c:pt idx="919">
                  <c:v>46469</c:v>
                </c:pt>
                <c:pt idx="920">
                  <c:v>46470</c:v>
                </c:pt>
                <c:pt idx="921">
                  <c:v>46471</c:v>
                </c:pt>
                <c:pt idx="922">
                  <c:v>46472</c:v>
                </c:pt>
                <c:pt idx="923">
                  <c:v>46475</c:v>
                </c:pt>
                <c:pt idx="924">
                  <c:v>46476</c:v>
                </c:pt>
                <c:pt idx="925">
                  <c:v>46477</c:v>
                </c:pt>
                <c:pt idx="926">
                  <c:v>46478</c:v>
                </c:pt>
                <c:pt idx="927">
                  <c:v>46479</c:v>
                </c:pt>
                <c:pt idx="928">
                  <c:v>46482</c:v>
                </c:pt>
                <c:pt idx="929">
                  <c:v>46483</c:v>
                </c:pt>
                <c:pt idx="930">
                  <c:v>46484</c:v>
                </c:pt>
                <c:pt idx="931">
                  <c:v>46485</c:v>
                </c:pt>
                <c:pt idx="932">
                  <c:v>46486</c:v>
                </c:pt>
                <c:pt idx="933">
                  <c:v>46489</c:v>
                </c:pt>
                <c:pt idx="934">
                  <c:v>46490</c:v>
                </c:pt>
                <c:pt idx="935">
                  <c:v>46491</c:v>
                </c:pt>
                <c:pt idx="936">
                  <c:v>46492</c:v>
                </c:pt>
                <c:pt idx="937">
                  <c:v>46493</c:v>
                </c:pt>
                <c:pt idx="938">
                  <c:v>46496</c:v>
                </c:pt>
                <c:pt idx="939">
                  <c:v>46497</c:v>
                </c:pt>
                <c:pt idx="940">
                  <c:v>46498</c:v>
                </c:pt>
                <c:pt idx="941">
                  <c:v>46499</c:v>
                </c:pt>
                <c:pt idx="942">
                  <c:v>46500</c:v>
                </c:pt>
                <c:pt idx="943">
                  <c:v>46503</c:v>
                </c:pt>
                <c:pt idx="944">
                  <c:v>46504</c:v>
                </c:pt>
                <c:pt idx="945">
                  <c:v>46505</c:v>
                </c:pt>
                <c:pt idx="946">
                  <c:v>46506</c:v>
                </c:pt>
                <c:pt idx="947">
                  <c:v>46507</c:v>
                </c:pt>
                <c:pt idx="948">
                  <c:v>46510</c:v>
                </c:pt>
                <c:pt idx="949">
                  <c:v>46511</c:v>
                </c:pt>
                <c:pt idx="950">
                  <c:v>46512</c:v>
                </c:pt>
                <c:pt idx="951">
                  <c:v>46513</c:v>
                </c:pt>
                <c:pt idx="952">
                  <c:v>46514</c:v>
                </c:pt>
                <c:pt idx="953">
                  <c:v>46517</c:v>
                </c:pt>
                <c:pt idx="954">
                  <c:v>46518</c:v>
                </c:pt>
                <c:pt idx="955">
                  <c:v>46519</c:v>
                </c:pt>
                <c:pt idx="956">
                  <c:v>46520</c:v>
                </c:pt>
                <c:pt idx="957">
                  <c:v>46521</c:v>
                </c:pt>
                <c:pt idx="958">
                  <c:v>46524</c:v>
                </c:pt>
                <c:pt idx="959">
                  <c:v>46525</c:v>
                </c:pt>
                <c:pt idx="960">
                  <c:v>46526</c:v>
                </c:pt>
                <c:pt idx="961">
                  <c:v>46527</c:v>
                </c:pt>
                <c:pt idx="962">
                  <c:v>46528</c:v>
                </c:pt>
                <c:pt idx="963">
                  <c:v>46531</c:v>
                </c:pt>
                <c:pt idx="964">
                  <c:v>46532</c:v>
                </c:pt>
                <c:pt idx="965">
                  <c:v>46533</c:v>
                </c:pt>
                <c:pt idx="966">
                  <c:v>46534</c:v>
                </c:pt>
                <c:pt idx="967">
                  <c:v>46535</c:v>
                </c:pt>
                <c:pt idx="968">
                  <c:v>46538</c:v>
                </c:pt>
                <c:pt idx="969">
                  <c:v>46539</c:v>
                </c:pt>
                <c:pt idx="970">
                  <c:v>46540</c:v>
                </c:pt>
                <c:pt idx="971">
                  <c:v>46541</c:v>
                </c:pt>
                <c:pt idx="972">
                  <c:v>46542</c:v>
                </c:pt>
                <c:pt idx="973">
                  <c:v>46545</c:v>
                </c:pt>
                <c:pt idx="974">
                  <c:v>46546</c:v>
                </c:pt>
                <c:pt idx="975">
                  <c:v>46547</c:v>
                </c:pt>
                <c:pt idx="976">
                  <c:v>46548</c:v>
                </c:pt>
                <c:pt idx="977">
                  <c:v>46549</c:v>
                </c:pt>
                <c:pt idx="978">
                  <c:v>46552</c:v>
                </c:pt>
                <c:pt idx="979">
                  <c:v>46553</c:v>
                </c:pt>
                <c:pt idx="980">
                  <c:v>46554</c:v>
                </c:pt>
                <c:pt idx="981">
                  <c:v>46555</c:v>
                </c:pt>
                <c:pt idx="982">
                  <c:v>46556</c:v>
                </c:pt>
                <c:pt idx="983">
                  <c:v>46559</c:v>
                </c:pt>
                <c:pt idx="984">
                  <c:v>46560</c:v>
                </c:pt>
                <c:pt idx="985">
                  <c:v>46561</c:v>
                </c:pt>
                <c:pt idx="986">
                  <c:v>46562</c:v>
                </c:pt>
                <c:pt idx="987">
                  <c:v>46563</c:v>
                </c:pt>
                <c:pt idx="988">
                  <c:v>46566</c:v>
                </c:pt>
                <c:pt idx="989">
                  <c:v>46567</c:v>
                </c:pt>
                <c:pt idx="990">
                  <c:v>46568</c:v>
                </c:pt>
                <c:pt idx="991">
                  <c:v>46569</c:v>
                </c:pt>
                <c:pt idx="992">
                  <c:v>46570</c:v>
                </c:pt>
                <c:pt idx="993">
                  <c:v>46573</c:v>
                </c:pt>
                <c:pt idx="994">
                  <c:v>46574</c:v>
                </c:pt>
                <c:pt idx="995">
                  <c:v>46575</c:v>
                </c:pt>
                <c:pt idx="996">
                  <c:v>46576</c:v>
                </c:pt>
                <c:pt idx="997">
                  <c:v>46577</c:v>
                </c:pt>
                <c:pt idx="998">
                  <c:v>46580</c:v>
                </c:pt>
              </c:numCache>
            </c:numRef>
          </c:cat>
          <c:val>
            <c:numRef>
              <c:f>Daily!$AB$2:$AB$1057</c:f>
            </c:numRef>
          </c:val>
          <c:smooth val="0"/>
          <c:extLst>
            <c:ext xmlns:c16="http://schemas.microsoft.com/office/drawing/2014/chart" uri="{C3380CC4-5D6E-409C-BE32-E72D297353CC}">
              <c16:uniqueId val="{0000001D-094D-4E29-B010-D717A2A1A293}"/>
            </c:ext>
          </c:extLst>
        </c:ser>
        <c:ser>
          <c:idx val="24"/>
          <c:order val="24"/>
          <c:tx>
            <c:strRef>
              <c:f>Daily!$AC$1</c:f>
              <c:strCache>
                <c:ptCount val="1"/>
                <c:pt idx="0">
                  <c:v>M+11</c:v>
                </c:pt>
              </c:strCache>
            </c:strRef>
          </c:tx>
          <c:spPr>
            <a:ln w="28575" cap="rnd" cmpd="sng" algn="ctr">
              <a:solidFill>
                <a:schemeClr val="accent1">
                  <a:lumMod val="60000"/>
                  <a:lumOff val="40000"/>
                  <a:shade val="95000"/>
                  <a:satMod val="105000"/>
                </a:schemeClr>
              </a:solidFill>
              <a:prstDash val="solid"/>
              <a:round/>
            </a:ln>
            <a:effectLst/>
          </c:spPr>
          <c:marker>
            <c:symbol val="none"/>
          </c:marker>
          <c:cat>
            <c:numRef>
              <c:f>Daily!$A$2:$A$1000</c:f>
              <c:numCache>
                <c:formatCode>d\-mmm\-yy</c:formatCode>
                <c:ptCount val="999"/>
                <c:pt idx="0">
                  <c:v>45128</c:v>
                </c:pt>
                <c:pt idx="1">
                  <c:v>45131</c:v>
                </c:pt>
                <c:pt idx="2">
                  <c:v>45132</c:v>
                </c:pt>
                <c:pt idx="3">
                  <c:v>45133</c:v>
                </c:pt>
                <c:pt idx="4">
                  <c:v>45134</c:v>
                </c:pt>
                <c:pt idx="5">
                  <c:v>45135</c:v>
                </c:pt>
                <c:pt idx="6">
                  <c:v>45138</c:v>
                </c:pt>
                <c:pt idx="7">
                  <c:v>45139</c:v>
                </c:pt>
                <c:pt idx="8">
                  <c:v>45140</c:v>
                </c:pt>
                <c:pt idx="9">
                  <c:v>45141</c:v>
                </c:pt>
                <c:pt idx="10">
                  <c:v>45142</c:v>
                </c:pt>
                <c:pt idx="11">
                  <c:v>45145</c:v>
                </c:pt>
                <c:pt idx="12">
                  <c:v>45146</c:v>
                </c:pt>
                <c:pt idx="13">
                  <c:v>45147</c:v>
                </c:pt>
                <c:pt idx="14">
                  <c:v>45148</c:v>
                </c:pt>
                <c:pt idx="15">
                  <c:v>45149</c:v>
                </c:pt>
                <c:pt idx="16">
                  <c:v>45152</c:v>
                </c:pt>
                <c:pt idx="17">
                  <c:v>45153</c:v>
                </c:pt>
                <c:pt idx="18">
                  <c:v>45154</c:v>
                </c:pt>
                <c:pt idx="19">
                  <c:v>45155</c:v>
                </c:pt>
                <c:pt idx="20">
                  <c:v>45156</c:v>
                </c:pt>
                <c:pt idx="21">
                  <c:v>45159</c:v>
                </c:pt>
                <c:pt idx="22">
                  <c:v>45160</c:v>
                </c:pt>
                <c:pt idx="23">
                  <c:v>45161</c:v>
                </c:pt>
                <c:pt idx="24">
                  <c:v>45162</c:v>
                </c:pt>
                <c:pt idx="25">
                  <c:v>45163</c:v>
                </c:pt>
                <c:pt idx="26">
                  <c:v>45166</c:v>
                </c:pt>
                <c:pt idx="27">
                  <c:v>45167</c:v>
                </c:pt>
                <c:pt idx="28">
                  <c:v>45168</c:v>
                </c:pt>
                <c:pt idx="29">
                  <c:v>45169</c:v>
                </c:pt>
                <c:pt idx="30">
                  <c:v>45170</c:v>
                </c:pt>
                <c:pt idx="31">
                  <c:v>45173</c:v>
                </c:pt>
                <c:pt idx="32">
                  <c:v>45174</c:v>
                </c:pt>
                <c:pt idx="33">
                  <c:v>45175</c:v>
                </c:pt>
                <c:pt idx="34">
                  <c:v>45176</c:v>
                </c:pt>
                <c:pt idx="35">
                  <c:v>45177</c:v>
                </c:pt>
                <c:pt idx="36">
                  <c:v>45180</c:v>
                </c:pt>
                <c:pt idx="37">
                  <c:v>45181</c:v>
                </c:pt>
                <c:pt idx="38">
                  <c:v>45182</c:v>
                </c:pt>
                <c:pt idx="39">
                  <c:v>45183</c:v>
                </c:pt>
                <c:pt idx="40">
                  <c:v>45184</c:v>
                </c:pt>
                <c:pt idx="41">
                  <c:v>45187</c:v>
                </c:pt>
                <c:pt idx="42">
                  <c:v>45188</c:v>
                </c:pt>
                <c:pt idx="43">
                  <c:v>45189</c:v>
                </c:pt>
                <c:pt idx="44">
                  <c:v>45190</c:v>
                </c:pt>
                <c:pt idx="45">
                  <c:v>45191</c:v>
                </c:pt>
                <c:pt idx="46">
                  <c:v>45194</c:v>
                </c:pt>
                <c:pt idx="47">
                  <c:v>45195</c:v>
                </c:pt>
                <c:pt idx="48">
                  <c:v>45196</c:v>
                </c:pt>
                <c:pt idx="49">
                  <c:v>45197</c:v>
                </c:pt>
                <c:pt idx="50">
                  <c:v>45208</c:v>
                </c:pt>
                <c:pt idx="51">
                  <c:v>45209</c:v>
                </c:pt>
                <c:pt idx="52">
                  <c:v>45210</c:v>
                </c:pt>
                <c:pt idx="53">
                  <c:v>45211</c:v>
                </c:pt>
                <c:pt idx="54">
                  <c:v>45212</c:v>
                </c:pt>
                <c:pt idx="55">
                  <c:v>45215</c:v>
                </c:pt>
                <c:pt idx="56">
                  <c:v>45216</c:v>
                </c:pt>
                <c:pt idx="57">
                  <c:v>45217</c:v>
                </c:pt>
                <c:pt idx="58">
                  <c:v>45218</c:v>
                </c:pt>
                <c:pt idx="59">
                  <c:v>45219</c:v>
                </c:pt>
                <c:pt idx="60">
                  <c:v>45222</c:v>
                </c:pt>
                <c:pt idx="61">
                  <c:v>45223</c:v>
                </c:pt>
                <c:pt idx="62">
                  <c:v>45224</c:v>
                </c:pt>
                <c:pt idx="63">
                  <c:v>45225</c:v>
                </c:pt>
                <c:pt idx="64">
                  <c:v>45226</c:v>
                </c:pt>
                <c:pt idx="65">
                  <c:v>45229</c:v>
                </c:pt>
                <c:pt idx="66">
                  <c:v>45230</c:v>
                </c:pt>
                <c:pt idx="67">
                  <c:v>45231</c:v>
                </c:pt>
                <c:pt idx="68">
                  <c:v>45232</c:v>
                </c:pt>
                <c:pt idx="69">
                  <c:v>45233</c:v>
                </c:pt>
                <c:pt idx="70">
                  <c:v>45236</c:v>
                </c:pt>
                <c:pt idx="71">
                  <c:v>45237</c:v>
                </c:pt>
                <c:pt idx="72">
                  <c:v>45238</c:v>
                </c:pt>
                <c:pt idx="73">
                  <c:v>45239</c:v>
                </c:pt>
                <c:pt idx="74">
                  <c:v>45240</c:v>
                </c:pt>
                <c:pt idx="75">
                  <c:v>45243</c:v>
                </c:pt>
                <c:pt idx="76">
                  <c:v>45244</c:v>
                </c:pt>
                <c:pt idx="77">
                  <c:v>45245</c:v>
                </c:pt>
                <c:pt idx="78">
                  <c:v>45246</c:v>
                </c:pt>
                <c:pt idx="79">
                  <c:v>45247</c:v>
                </c:pt>
                <c:pt idx="80">
                  <c:v>45250</c:v>
                </c:pt>
                <c:pt idx="81">
                  <c:v>45251</c:v>
                </c:pt>
                <c:pt idx="82">
                  <c:v>45252</c:v>
                </c:pt>
                <c:pt idx="83">
                  <c:v>45253</c:v>
                </c:pt>
                <c:pt idx="84">
                  <c:v>45254</c:v>
                </c:pt>
                <c:pt idx="85">
                  <c:v>45257</c:v>
                </c:pt>
                <c:pt idx="86">
                  <c:v>45258</c:v>
                </c:pt>
                <c:pt idx="87">
                  <c:v>45259</c:v>
                </c:pt>
                <c:pt idx="88">
                  <c:v>45260</c:v>
                </c:pt>
                <c:pt idx="89">
                  <c:v>45261</c:v>
                </c:pt>
                <c:pt idx="90">
                  <c:v>45264</c:v>
                </c:pt>
                <c:pt idx="91">
                  <c:v>45265</c:v>
                </c:pt>
                <c:pt idx="92">
                  <c:v>45266</c:v>
                </c:pt>
                <c:pt idx="93">
                  <c:v>45267</c:v>
                </c:pt>
                <c:pt idx="94">
                  <c:v>45268</c:v>
                </c:pt>
                <c:pt idx="95">
                  <c:v>45271</c:v>
                </c:pt>
                <c:pt idx="96">
                  <c:v>45272</c:v>
                </c:pt>
                <c:pt idx="97">
                  <c:v>45273</c:v>
                </c:pt>
                <c:pt idx="98">
                  <c:v>45274</c:v>
                </c:pt>
                <c:pt idx="99">
                  <c:v>45275</c:v>
                </c:pt>
                <c:pt idx="100">
                  <c:v>45278</c:v>
                </c:pt>
                <c:pt idx="101">
                  <c:v>45279</c:v>
                </c:pt>
                <c:pt idx="102">
                  <c:v>45280</c:v>
                </c:pt>
                <c:pt idx="103">
                  <c:v>45281</c:v>
                </c:pt>
                <c:pt idx="104">
                  <c:v>45282</c:v>
                </c:pt>
                <c:pt idx="105">
                  <c:v>45285</c:v>
                </c:pt>
                <c:pt idx="106">
                  <c:v>45286</c:v>
                </c:pt>
                <c:pt idx="107">
                  <c:v>45287</c:v>
                </c:pt>
                <c:pt idx="108">
                  <c:v>45288</c:v>
                </c:pt>
                <c:pt idx="109">
                  <c:v>45289</c:v>
                </c:pt>
                <c:pt idx="110">
                  <c:v>45293</c:v>
                </c:pt>
                <c:pt idx="111">
                  <c:v>45294</c:v>
                </c:pt>
                <c:pt idx="112">
                  <c:v>45295</c:v>
                </c:pt>
                <c:pt idx="113">
                  <c:v>45296</c:v>
                </c:pt>
                <c:pt idx="114">
                  <c:v>45299</c:v>
                </c:pt>
                <c:pt idx="115">
                  <c:v>45300</c:v>
                </c:pt>
                <c:pt idx="116">
                  <c:v>45301</c:v>
                </c:pt>
                <c:pt idx="117">
                  <c:v>45302</c:v>
                </c:pt>
                <c:pt idx="118">
                  <c:v>45303</c:v>
                </c:pt>
                <c:pt idx="119">
                  <c:v>45306</c:v>
                </c:pt>
                <c:pt idx="120">
                  <c:v>45307</c:v>
                </c:pt>
                <c:pt idx="121">
                  <c:v>45308</c:v>
                </c:pt>
                <c:pt idx="122">
                  <c:v>45309</c:v>
                </c:pt>
                <c:pt idx="123">
                  <c:v>45310</c:v>
                </c:pt>
                <c:pt idx="124">
                  <c:v>45313</c:v>
                </c:pt>
                <c:pt idx="125">
                  <c:v>45314</c:v>
                </c:pt>
                <c:pt idx="126">
                  <c:v>45315</c:v>
                </c:pt>
                <c:pt idx="127">
                  <c:v>45316</c:v>
                </c:pt>
                <c:pt idx="128">
                  <c:v>45317</c:v>
                </c:pt>
                <c:pt idx="129">
                  <c:v>45320</c:v>
                </c:pt>
                <c:pt idx="130">
                  <c:v>45321</c:v>
                </c:pt>
                <c:pt idx="131">
                  <c:v>45322</c:v>
                </c:pt>
                <c:pt idx="132">
                  <c:v>45323</c:v>
                </c:pt>
                <c:pt idx="133">
                  <c:v>45324</c:v>
                </c:pt>
                <c:pt idx="134">
                  <c:v>45327</c:v>
                </c:pt>
                <c:pt idx="135">
                  <c:v>45328</c:v>
                </c:pt>
                <c:pt idx="136">
                  <c:v>45329</c:v>
                </c:pt>
                <c:pt idx="137">
                  <c:v>45330</c:v>
                </c:pt>
                <c:pt idx="138">
                  <c:v>45341</c:v>
                </c:pt>
                <c:pt idx="139">
                  <c:v>45342</c:v>
                </c:pt>
                <c:pt idx="140">
                  <c:v>45343</c:v>
                </c:pt>
                <c:pt idx="141">
                  <c:v>45344</c:v>
                </c:pt>
                <c:pt idx="142">
                  <c:v>45345</c:v>
                </c:pt>
                <c:pt idx="143">
                  <c:v>45348</c:v>
                </c:pt>
                <c:pt idx="144">
                  <c:v>45349</c:v>
                </c:pt>
                <c:pt idx="145">
                  <c:v>45350</c:v>
                </c:pt>
                <c:pt idx="146">
                  <c:v>45351</c:v>
                </c:pt>
                <c:pt idx="147">
                  <c:v>45352</c:v>
                </c:pt>
                <c:pt idx="148">
                  <c:v>45355</c:v>
                </c:pt>
                <c:pt idx="149">
                  <c:v>45356</c:v>
                </c:pt>
                <c:pt idx="150">
                  <c:v>45357</c:v>
                </c:pt>
                <c:pt idx="151">
                  <c:v>45358</c:v>
                </c:pt>
                <c:pt idx="152">
                  <c:v>45359</c:v>
                </c:pt>
                <c:pt idx="153">
                  <c:v>45362</c:v>
                </c:pt>
                <c:pt idx="154">
                  <c:v>45363</c:v>
                </c:pt>
                <c:pt idx="155">
                  <c:v>45364</c:v>
                </c:pt>
                <c:pt idx="156">
                  <c:v>45365</c:v>
                </c:pt>
                <c:pt idx="157">
                  <c:v>45366</c:v>
                </c:pt>
                <c:pt idx="158">
                  <c:v>45369</c:v>
                </c:pt>
                <c:pt idx="159">
                  <c:v>45370</c:v>
                </c:pt>
                <c:pt idx="160">
                  <c:v>45371</c:v>
                </c:pt>
                <c:pt idx="161">
                  <c:v>45372</c:v>
                </c:pt>
                <c:pt idx="162">
                  <c:v>45373</c:v>
                </c:pt>
                <c:pt idx="163">
                  <c:v>45376</c:v>
                </c:pt>
                <c:pt idx="164">
                  <c:v>45377</c:v>
                </c:pt>
                <c:pt idx="165">
                  <c:v>45378</c:v>
                </c:pt>
                <c:pt idx="166">
                  <c:v>45379</c:v>
                </c:pt>
                <c:pt idx="167">
                  <c:v>45380</c:v>
                </c:pt>
                <c:pt idx="168">
                  <c:v>45383</c:v>
                </c:pt>
                <c:pt idx="169">
                  <c:v>45384</c:v>
                </c:pt>
                <c:pt idx="170">
                  <c:v>45385</c:v>
                </c:pt>
                <c:pt idx="171">
                  <c:v>45390</c:v>
                </c:pt>
                <c:pt idx="172">
                  <c:v>45391</c:v>
                </c:pt>
                <c:pt idx="173">
                  <c:v>45392</c:v>
                </c:pt>
                <c:pt idx="174">
                  <c:v>45393</c:v>
                </c:pt>
                <c:pt idx="175">
                  <c:v>45394</c:v>
                </c:pt>
                <c:pt idx="176">
                  <c:v>45397</c:v>
                </c:pt>
                <c:pt idx="177">
                  <c:v>45398</c:v>
                </c:pt>
                <c:pt idx="178">
                  <c:v>45399</c:v>
                </c:pt>
                <c:pt idx="179">
                  <c:v>45400</c:v>
                </c:pt>
                <c:pt idx="180">
                  <c:v>45401</c:v>
                </c:pt>
                <c:pt idx="181">
                  <c:v>45404</c:v>
                </c:pt>
                <c:pt idx="182">
                  <c:v>45405</c:v>
                </c:pt>
                <c:pt idx="183">
                  <c:v>45406</c:v>
                </c:pt>
                <c:pt idx="184">
                  <c:v>45407</c:v>
                </c:pt>
                <c:pt idx="185">
                  <c:v>45408</c:v>
                </c:pt>
                <c:pt idx="186">
                  <c:v>45411</c:v>
                </c:pt>
                <c:pt idx="187">
                  <c:v>45412</c:v>
                </c:pt>
                <c:pt idx="188">
                  <c:v>45418</c:v>
                </c:pt>
                <c:pt idx="189">
                  <c:v>45419</c:v>
                </c:pt>
                <c:pt idx="190">
                  <c:v>45420</c:v>
                </c:pt>
                <c:pt idx="191">
                  <c:v>45421</c:v>
                </c:pt>
                <c:pt idx="192">
                  <c:v>45422</c:v>
                </c:pt>
                <c:pt idx="193">
                  <c:v>45425</c:v>
                </c:pt>
                <c:pt idx="194">
                  <c:v>45426</c:v>
                </c:pt>
                <c:pt idx="195">
                  <c:v>45427</c:v>
                </c:pt>
                <c:pt idx="196">
                  <c:v>45428</c:v>
                </c:pt>
                <c:pt idx="197">
                  <c:v>45429</c:v>
                </c:pt>
                <c:pt idx="198">
                  <c:v>45432</c:v>
                </c:pt>
                <c:pt idx="199">
                  <c:v>45433</c:v>
                </c:pt>
                <c:pt idx="200">
                  <c:v>45434</c:v>
                </c:pt>
                <c:pt idx="201">
                  <c:v>45435</c:v>
                </c:pt>
                <c:pt idx="202">
                  <c:v>45436</c:v>
                </c:pt>
                <c:pt idx="203">
                  <c:v>45439</c:v>
                </c:pt>
                <c:pt idx="204">
                  <c:v>45440</c:v>
                </c:pt>
                <c:pt idx="205">
                  <c:v>45441</c:v>
                </c:pt>
                <c:pt idx="206">
                  <c:v>45442</c:v>
                </c:pt>
                <c:pt idx="207">
                  <c:v>45443</c:v>
                </c:pt>
                <c:pt idx="208">
                  <c:v>45446</c:v>
                </c:pt>
                <c:pt idx="209">
                  <c:v>45447</c:v>
                </c:pt>
                <c:pt idx="210">
                  <c:v>45448</c:v>
                </c:pt>
                <c:pt idx="211">
                  <c:v>45449</c:v>
                </c:pt>
                <c:pt idx="212">
                  <c:v>45450</c:v>
                </c:pt>
                <c:pt idx="213">
                  <c:v>45454</c:v>
                </c:pt>
                <c:pt idx="214">
                  <c:v>45455</c:v>
                </c:pt>
                <c:pt idx="215">
                  <c:v>45456</c:v>
                </c:pt>
                <c:pt idx="216">
                  <c:v>45457</c:v>
                </c:pt>
                <c:pt idx="217">
                  <c:v>45460</c:v>
                </c:pt>
                <c:pt idx="218">
                  <c:v>45461</c:v>
                </c:pt>
                <c:pt idx="219">
                  <c:v>45462</c:v>
                </c:pt>
                <c:pt idx="220">
                  <c:v>45463</c:v>
                </c:pt>
                <c:pt idx="221">
                  <c:v>45464</c:v>
                </c:pt>
                <c:pt idx="222">
                  <c:v>45467</c:v>
                </c:pt>
                <c:pt idx="223">
                  <c:v>45468</c:v>
                </c:pt>
                <c:pt idx="224">
                  <c:v>45469</c:v>
                </c:pt>
                <c:pt idx="225">
                  <c:v>45470</c:v>
                </c:pt>
                <c:pt idx="226">
                  <c:v>45471</c:v>
                </c:pt>
                <c:pt idx="227">
                  <c:v>45474</c:v>
                </c:pt>
                <c:pt idx="228">
                  <c:v>45475</c:v>
                </c:pt>
                <c:pt idx="229">
                  <c:v>45476</c:v>
                </c:pt>
                <c:pt idx="230">
                  <c:v>45477</c:v>
                </c:pt>
                <c:pt idx="231">
                  <c:v>45478</c:v>
                </c:pt>
                <c:pt idx="232">
                  <c:v>45481</c:v>
                </c:pt>
                <c:pt idx="233">
                  <c:v>45482</c:v>
                </c:pt>
                <c:pt idx="234">
                  <c:v>45483</c:v>
                </c:pt>
                <c:pt idx="235">
                  <c:v>45484</c:v>
                </c:pt>
                <c:pt idx="236">
                  <c:v>45485</c:v>
                </c:pt>
                <c:pt idx="237">
                  <c:v>45488</c:v>
                </c:pt>
                <c:pt idx="238">
                  <c:v>45489</c:v>
                </c:pt>
                <c:pt idx="239">
                  <c:v>45490</c:v>
                </c:pt>
                <c:pt idx="240">
                  <c:v>45491</c:v>
                </c:pt>
                <c:pt idx="241">
                  <c:v>45492</c:v>
                </c:pt>
                <c:pt idx="242">
                  <c:v>45495</c:v>
                </c:pt>
                <c:pt idx="243">
                  <c:v>45496</c:v>
                </c:pt>
                <c:pt idx="244">
                  <c:v>45497</c:v>
                </c:pt>
                <c:pt idx="245">
                  <c:v>45498</c:v>
                </c:pt>
                <c:pt idx="246">
                  <c:v>45499</c:v>
                </c:pt>
                <c:pt idx="247">
                  <c:v>45502</c:v>
                </c:pt>
                <c:pt idx="248">
                  <c:v>45503</c:v>
                </c:pt>
                <c:pt idx="249">
                  <c:v>45504</c:v>
                </c:pt>
                <c:pt idx="250">
                  <c:v>45505</c:v>
                </c:pt>
                <c:pt idx="251">
                  <c:v>45506</c:v>
                </c:pt>
                <c:pt idx="252">
                  <c:v>45509</c:v>
                </c:pt>
                <c:pt idx="253">
                  <c:v>45510</c:v>
                </c:pt>
                <c:pt idx="254">
                  <c:v>45511</c:v>
                </c:pt>
                <c:pt idx="255">
                  <c:v>45512</c:v>
                </c:pt>
                <c:pt idx="256">
                  <c:v>45513</c:v>
                </c:pt>
                <c:pt idx="257">
                  <c:v>45516</c:v>
                </c:pt>
                <c:pt idx="258">
                  <c:v>45517</c:v>
                </c:pt>
                <c:pt idx="259">
                  <c:v>45518</c:v>
                </c:pt>
                <c:pt idx="260">
                  <c:v>45519</c:v>
                </c:pt>
                <c:pt idx="261">
                  <c:v>45520</c:v>
                </c:pt>
                <c:pt idx="262">
                  <c:v>45523</c:v>
                </c:pt>
                <c:pt idx="263">
                  <c:v>45524</c:v>
                </c:pt>
                <c:pt idx="264">
                  <c:v>45525</c:v>
                </c:pt>
                <c:pt idx="265">
                  <c:v>45526</c:v>
                </c:pt>
                <c:pt idx="266">
                  <c:v>45527</c:v>
                </c:pt>
                <c:pt idx="267">
                  <c:v>45530</c:v>
                </c:pt>
                <c:pt idx="268">
                  <c:v>45531</c:v>
                </c:pt>
                <c:pt idx="269">
                  <c:v>45532</c:v>
                </c:pt>
                <c:pt idx="270">
                  <c:v>45533</c:v>
                </c:pt>
                <c:pt idx="271">
                  <c:v>45534</c:v>
                </c:pt>
                <c:pt idx="272">
                  <c:v>45537</c:v>
                </c:pt>
                <c:pt idx="273">
                  <c:v>45538</c:v>
                </c:pt>
                <c:pt idx="274">
                  <c:v>45539</c:v>
                </c:pt>
                <c:pt idx="275">
                  <c:v>45540</c:v>
                </c:pt>
                <c:pt idx="276">
                  <c:v>45541</c:v>
                </c:pt>
                <c:pt idx="277">
                  <c:v>45544</c:v>
                </c:pt>
                <c:pt idx="278">
                  <c:v>45545</c:v>
                </c:pt>
                <c:pt idx="279">
                  <c:v>45546</c:v>
                </c:pt>
                <c:pt idx="280">
                  <c:v>45547</c:v>
                </c:pt>
                <c:pt idx="281">
                  <c:v>45548</c:v>
                </c:pt>
                <c:pt idx="282">
                  <c:v>45553</c:v>
                </c:pt>
                <c:pt idx="283">
                  <c:v>45554</c:v>
                </c:pt>
                <c:pt idx="284">
                  <c:v>45555</c:v>
                </c:pt>
                <c:pt idx="285">
                  <c:v>45558</c:v>
                </c:pt>
                <c:pt idx="286">
                  <c:v>45559</c:v>
                </c:pt>
                <c:pt idx="287">
                  <c:v>45560</c:v>
                </c:pt>
                <c:pt idx="288">
                  <c:v>45561</c:v>
                </c:pt>
                <c:pt idx="289">
                  <c:v>45562</c:v>
                </c:pt>
                <c:pt idx="290">
                  <c:v>45565</c:v>
                </c:pt>
                <c:pt idx="291">
                  <c:v>45573</c:v>
                </c:pt>
                <c:pt idx="292">
                  <c:v>45574</c:v>
                </c:pt>
                <c:pt idx="293">
                  <c:v>45575</c:v>
                </c:pt>
                <c:pt idx="294">
                  <c:v>45576</c:v>
                </c:pt>
                <c:pt idx="295">
                  <c:v>45579</c:v>
                </c:pt>
                <c:pt idx="296">
                  <c:v>45580</c:v>
                </c:pt>
                <c:pt idx="297">
                  <c:v>45581</c:v>
                </c:pt>
                <c:pt idx="298">
                  <c:v>45582</c:v>
                </c:pt>
                <c:pt idx="299">
                  <c:v>45583</c:v>
                </c:pt>
                <c:pt idx="300">
                  <c:v>45586</c:v>
                </c:pt>
                <c:pt idx="301">
                  <c:v>45587</c:v>
                </c:pt>
                <c:pt idx="302">
                  <c:v>45588</c:v>
                </c:pt>
                <c:pt idx="303">
                  <c:v>45589</c:v>
                </c:pt>
                <c:pt idx="304">
                  <c:v>45590</c:v>
                </c:pt>
                <c:pt idx="305">
                  <c:v>45593</c:v>
                </c:pt>
                <c:pt idx="306">
                  <c:v>45594</c:v>
                </c:pt>
                <c:pt idx="307">
                  <c:v>45595</c:v>
                </c:pt>
                <c:pt idx="308">
                  <c:v>45596</c:v>
                </c:pt>
                <c:pt idx="309">
                  <c:v>45597</c:v>
                </c:pt>
                <c:pt idx="310">
                  <c:v>45600</c:v>
                </c:pt>
                <c:pt idx="311">
                  <c:v>45601</c:v>
                </c:pt>
                <c:pt idx="312">
                  <c:v>45602</c:v>
                </c:pt>
                <c:pt idx="313">
                  <c:v>45603</c:v>
                </c:pt>
                <c:pt idx="314">
                  <c:v>45604</c:v>
                </c:pt>
                <c:pt idx="315">
                  <c:v>45607</c:v>
                </c:pt>
                <c:pt idx="316">
                  <c:v>45608</c:v>
                </c:pt>
                <c:pt idx="317">
                  <c:v>45609</c:v>
                </c:pt>
                <c:pt idx="318">
                  <c:v>45610</c:v>
                </c:pt>
                <c:pt idx="319">
                  <c:v>45611</c:v>
                </c:pt>
                <c:pt idx="320">
                  <c:v>45614</c:v>
                </c:pt>
                <c:pt idx="321">
                  <c:v>45615</c:v>
                </c:pt>
                <c:pt idx="322">
                  <c:v>45616</c:v>
                </c:pt>
                <c:pt idx="323">
                  <c:v>45617</c:v>
                </c:pt>
                <c:pt idx="324">
                  <c:v>45618</c:v>
                </c:pt>
                <c:pt idx="325">
                  <c:v>45621</c:v>
                </c:pt>
                <c:pt idx="326">
                  <c:v>45622</c:v>
                </c:pt>
                <c:pt idx="327">
                  <c:v>45623</c:v>
                </c:pt>
                <c:pt idx="328">
                  <c:v>45624</c:v>
                </c:pt>
                <c:pt idx="329">
                  <c:v>45625</c:v>
                </c:pt>
                <c:pt idx="330">
                  <c:v>45628</c:v>
                </c:pt>
                <c:pt idx="331">
                  <c:v>45629</c:v>
                </c:pt>
                <c:pt idx="332">
                  <c:v>45630</c:v>
                </c:pt>
                <c:pt idx="333">
                  <c:v>45631</c:v>
                </c:pt>
                <c:pt idx="334">
                  <c:v>45632</c:v>
                </c:pt>
                <c:pt idx="335">
                  <c:v>45635</c:v>
                </c:pt>
                <c:pt idx="336">
                  <c:v>45636</c:v>
                </c:pt>
                <c:pt idx="337">
                  <c:v>45637</c:v>
                </c:pt>
                <c:pt idx="338">
                  <c:v>45638</c:v>
                </c:pt>
                <c:pt idx="339">
                  <c:v>45639</c:v>
                </c:pt>
                <c:pt idx="340">
                  <c:v>45642</c:v>
                </c:pt>
                <c:pt idx="341">
                  <c:v>45643</c:v>
                </c:pt>
                <c:pt idx="342">
                  <c:v>45644</c:v>
                </c:pt>
                <c:pt idx="343">
                  <c:v>45645</c:v>
                </c:pt>
                <c:pt idx="344">
                  <c:v>45646</c:v>
                </c:pt>
                <c:pt idx="345">
                  <c:v>45649</c:v>
                </c:pt>
                <c:pt idx="346">
                  <c:v>45650</c:v>
                </c:pt>
                <c:pt idx="347">
                  <c:v>45651</c:v>
                </c:pt>
                <c:pt idx="348">
                  <c:v>45652</c:v>
                </c:pt>
                <c:pt idx="349">
                  <c:v>45653</c:v>
                </c:pt>
                <c:pt idx="350">
                  <c:v>45656</c:v>
                </c:pt>
                <c:pt idx="351">
                  <c:v>45657</c:v>
                </c:pt>
                <c:pt idx="352">
                  <c:v>45659</c:v>
                </c:pt>
                <c:pt idx="353">
                  <c:v>45660</c:v>
                </c:pt>
                <c:pt idx="354">
                  <c:v>45663</c:v>
                </c:pt>
                <c:pt idx="355">
                  <c:v>45664</c:v>
                </c:pt>
                <c:pt idx="356">
                  <c:v>45665</c:v>
                </c:pt>
                <c:pt idx="357">
                  <c:v>45666</c:v>
                </c:pt>
                <c:pt idx="358">
                  <c:v>45667</c:v>
                </c:pt>
                <c:pt idx="359">
                  <c:v>45670</c:v>
                </c:pt>
                <c:pt idx="360">
                  <c:v>45671</c:v>
                </c:pt>
                <c:pt idx="361">
                  <c:v>45672</c:v>
                </c:pt>
                <c:pt idx="362">
                  <c:v>45673</c:v>
                </c:pt>
                <c:pt idx="363">
                  <c:v>45674</c:v>
                </c:pt>
                <c:pt idx="364">
                  <c:v>45677</c:v>
                </c:pt>
                <c:pt idx="365">
                  <c:v>45678</c:v>
                </c:pt>
                <c:pt idx="366">
                  <c:v>45679</c:v>
                </c:pt>
                <c:pt idx="367">
                  <c:v>45680</c:v>
                </c:pt>
                <c:pt idx="368">
                  <c:v>45681</c:v>
                </c:pt>
                <c:pt idx="369">
                  <c:v>45684</c:v>
                </c:pt>
                <c:pt idx="370">
                  <c:v>45693</c:v>
                </c:pt>
                <c:pt idx="371">
                  <c:v>45694</c:v>
                </c:pt>
                <c:pt idx="372">
                  <c:v>45695</c:v>
                </c:pt>
                <c:pt idx="373">
                  <c:v>45698</c:v>
                </c:pt>
                <c:pt idx="374">
                  <c:v>45699</c:v>
                </c:pt>
                <c:pt idx="375">
                  <c:v>45700</c:v>
                </c:pt>
                <c:pt idx="376">
                  <c:v>45701</c:v>
                </c:pt>
                <c:pt idx="377">
                  <c:v>45702</c:v>
                </c:pt>
                <c:pt idx="378">
                  <c:v>45705</c:v>
                </c:pt>
                <c:pt idx="379">
                  <c:v>45706</c:v>
                </c:pt>
                <c:pt idx="380">
                  <c:v>45707</c:v>
                </c:pt>
                <c:pt idx="381">
                  <c:v>45708</c:v>
                </c:pt>
                <c:pt idx="382">
                  <c:v>45709</c:v>
                </c:pt>
                <c:pt idx="383">
                  <c:v>45712</c:v>
                </c:pt>
                <c:pt idx="384">
                  <c:v>45713</c:v>
                </c:pt>
                <c:pt idx="385">
                  <c:v>45714</c:v>
                </c:pt>
                <c:pt idx="386">
                  <c:v>45715</c:v>
                </c:pt>
                <c:pt idx="387">
                  <c:v>45716</c:v>
                </c:pt>
                <c:pt idx="388">
                  <c:v>45719</c:v>
                </c:pt>
                <c:pt idx="389">
                  <c:v>45720</c:v>
                </c:pt>
                <c:pt idx="390">
                  <c:v>45721</c:v>
                </c:pt>
                <c:pt idx="391">
                  <c:v>45722</c:v>
                </c:pt>
                <c:pt idx="392">
                  <c:v>45723</c:v>
                </c:pt>
                <c:pt idx="393">
                  <c:v>45726</c:v>
                </c:pt>
                <c:pt idx="394">
                  <c:v>45727</c:v>
                </c:pt>
                <c:pt idx="395">
                  <c:v>45728</c:v>
                </c:pt>
                <c:pt idx="396">
                  <c:v>45729</c:v>
                </c:pt>
                <c:pt idx="397">
                  <c:v>45730</c:v>
                </c:pt>
                <c:pt idx="398">
                  <c:v>45733</c:v>
                </c:pt>
                <c:pt idx="399">
                  <c:v>45734</c:v>
                </c:pt>
                <c:pt idx="400">
                  <c:v>45735</c:v>
                </c:pt>
                <c:pt idx="401">
                  <c:v>45736</c:v>
                </c:pt>
                <c:pt idx="402">
                  <c:v>45737</c:v>
                </c:pt>
                <c:pt idx="403">
                  <c:v>45740</c:v>
                </c:pt>
                <c:pt idx="404">
                  <c:v>45741</c:v>
                </c:pt>
                <c:pt idx="405">
                  <c:v>45742</c:v>
                </c:pt>
                <c:pt idx="406">
                  <c:v>45743</c:v>
                </c:pt>
                <c:pt idx="407">
                  <c:v>45744</c:v>
                </c:pt>
                <c:pt idx="408">
                  <c:v>45747</c:v>
                </c:pt>
                <c:pt idx="409">
                  <c:v>45748</c:v>
                </c:pt>
                <c:pt idx="410">
                  <c:v>45749</c:v>
                </c:pt>
                <c:pt idx="411">
                  <c:v>45750</c:v>
                </c:pt>
                <c:pt idx="412">
                  <c:v>45754</c:v>
                </c:pt>
                <c:pt idx="413">
                  <c:v>45755</c:v>
                </c:pt>
                <c:pt idx="414">
                  <c:v>45756</c:v>
                </c:pt>
                <c:pt idx="415">
                  <c:v>45757</c:v>
                </c:pt>
                <c:pt idx="416">
                  <c:v>45758</c:v>
                </c:pt>
                <c:pt idx="417">
                  <c:v>45761</c:v>
                </c:pt>
                <c:pt idx="418">
                  <c:v>45762</c:v>
                </c:pt>
                <c:pt idx="419">
                  <c:v>45763</c:v>
                </c:pt>
                <c:pt idx="420">
                  <c:v>45764</c:v>
                </c:pt>
                <c:pt idx="421">
                  <c:v>45765</c:v>
                </c:pt>
                <c:pt idx="422">
                  <c:v>45768</c:v>
                </c:pt>
                <c:pt idx="423">
                  <c:v>45769</c:v>
                </c:pt>
                <c:pt idx="424">
                  <c:v>45770</c:v>
                </c:pt>
                <c:pt idx="425">
                  <c:v>45771</c:v>
                </c:pt>
                <c:pt idx="426">
                  <c:v>45772</c:v>
                </c:pt>
                <c:pt idx="427">
                  <c:v>45775</c:v>
                </c:pt>
                <c:pt idx="428">
                  <c:v>45776</c:v>
                </c:pt>
                <c:pt idx="429">
                  <c:v>45777</c:v>
                </c:pt>
                <c:pt idx="430">
                  <c:v>45783</c:v>
                </c:pt>
                <c:pt idx="431">
                  <c:v>45784</c:v>
                </c:pt>
                <c:pt idx="432">
                  <c:v>45785</c:v>
                </c:pt>
                <c:pt idx="433">
                  <c:v>45786</c:v>
                </c:pt>
                <c:pt idx="434">
                  <c:v>45789</c:v>
                </c:pt>
                <c:pt idx="435">
                  <c:v>45790</c:v>
                </c:pt>
                <c:pt idx="436">
                  <c:v>45791</c:v>
                </c:pt>
                <c:pt idx="437">
                  <c:v>45792</c:v>
                </c:pt>
                <c:pt idx="438">
                  <c:v>45793</c:v>
                </c:pt>
                <c:pt idx="439">
                  <c:v>45796</c:v>
                </c:pt>
                <c:pt idx="440">
                  <c:v>45797</c:v>
                </c:pt>
                <c:pt idx="441">
                  <c:v>45798</c:v>
                </c:pt>
                <c:pt idx="442">
                  <c:v>45799</c:v>
                </c:pt>
                <c:pt idx="443">
                  <c:v>45800</c:v>
                </c:pt>
                <c:pt idx="444">
                  <c:v>45803</c:v>
                </c:pt>
                <c:pt idx="445">
                  <c:v>45804</c:v>
                </c:pt>
                <c:pt idx="446">
                  <c:v>45805</c:v>
                </c:pt>
                <c:pt idx="447">
                  <c:v>45806</c:v>
                </c:pt>
                <c:pt idx="448">
                  <c:v>45807</c:v>
                </c:pt>
                <c:pt idx="449">
                  <c:v>45811</c:v>
                </c:pt>
                <c:pt idx="450">
                  <c:v>45812</c:v>
                </c:pt>
                <c:pt idx="451">
                  <c:v>45813</c:v>
                </c:pt>
                <c:pt idx="452">
                  <c:v>45814</c:v>
                </c:pt>
                <c:pt idx="453">
                  <c:v>45817</c:v>
                </c:pt>
                <c:pt idx="454">
                  <c:v>45818</c:v>
                </c:pt>
                <c:pt idx="455">
                  <c:v>45819</c:v>
                </c:pt>
                <c:pt idx="456">
                  <c:v>45820</c:v>
                </c:pt>
                <c:pt idx="457">
                  <c:v>45821</c:v>
                </c:pt>
                <c:pt idx="458">
                  <c:v>45824</c:v>
                </c:pt>
                <c:pt idx="459">
                  <c:v>45825</c:v>
                </c:pt>
                <c:pt idx="460">
                  <c:v>45826</c:v>
                </c:pt>
                <c:pt idx="461">
                  <c:v>45827</c:v>
                </c:pt>
                <c:pt idx="462">
                  <c:v>45828</c:v>
                </c:pt>
                <c:pt idx="463">
                  <c:v>45831</c:v>
                </c:pt>
                <c:pt idx="464">
                  <c:v>45832</c:v>
                </c:pt>
                <c:pt idx="465">
                  <c:v>45833</c:v>
                </c:pt>
                <c:pt idx="466">
                  <c:v>45834</c:v>
                </c:pt>
                <c:pt idx="467">
                  <c:v>45835</c:v>
                </c:pt>
                <c:pt idx="468">
                  <c:v>45838</c:v>
                </c:pt>
                <c:pt idx="469">
                  <c:v>45839</c:v>
                </c:pt>
                <c:pt idx="470">
                  <c:v>45840</c:v>
                </c:pt>
                <c:pt idx="471">
                  <c:v>45841</c:v>
                </c:pt>
                <c:pt idx="472">
                  <c:v>45842</c:v>
                </c:pt>
                <c:pt idx="473">
                  <c:v>45845</c:v>
                </c:pt>
                <c:pt idx="474">
                  <c:v>45846</c:v>
                </c:pt>
                <c:pt idx="475">
                  <c:v>45847</c:v>
                </c:pt>
                <c:pt idx="476">
                  <c:v>45848</c:v>
                </c:pt>
                <c:pt idx="477">
                  <c:v>45849</c:v>
                </c:pt>
                <c:pt idx="478">
                  <c:v>45852</c:v>
                </c:pt>
                <c:pt idx="479">
                  <c:v>45853</c:v>
                </c:pt>
                <c:pt idx="480">
                  <c:v>45854</c:v>
                </c:pt>
                <c:pt idx="481">
                  <c:v>45855</c:v>
                </c:pt>
                <c:pt idx="482">
                  <c:v>45856</c:v>
                </c:pt>
                <c:pt idx="483">
                  <c:v>45859</c:v>
                </c:pt>
                <c:pt idx="484">
                  <c:v>45860</c:v>
                </c:pt>
                <c:pt idx="485">
                  <c:v>45861</c:v>
                </c:pt>
                <c:pt idx="486">
                  <c:v>45862</c:v>
                </c:pt>
                <c:pt idx="487">
                  <c:v>45863</c:v>
                </c:pt>
                <c:pt idx="488">
                  <c:v>45866</c:v>
                </c:pt>
                <c:pt idx="489">
                  <c:v>45867</c:v>
                </c:pt>
                <c:pt idx="490">
                  <c:v>45868</c:v>
                </c:pt>
                <c:pt idx="491">
                  <c:v>45869</c:v>
                </c:pt>
                <c:pt idx="492">
                  <c:v>45870</c:v>
                </c:pt>
                <c:pt idx="493">
                  <c:v>45873</c:v>
                </c:pt>
                <c:pt idx="494">
                  <c:v>45874</c:v>
                </c:pt>
                <c:pt idx="495">
                  <c:v>45875</c:v>
                </c:pt>
                <c:pt idx="496">
                  <c:v>45876</c:v>
                </c:pt>
                <c:pt idx="497">
                  <c:v>45877</c:v>
                </c:pt>
                <c:pt idx="498">
                  <c:v>45880</c:v>
                </c:pt>
                <c:pt idx="499">
                  <c:v>45881</c:v>
                </c:pt>
                <c:pt idx="500">
                  <c:v>45882</c:v>
                </c:pt>
                <c:pt idx="501">
                  <c:v>45883</c:v>
                </c:pt>
                <c:pt idx="502">
                  <c:v>45884</c:v>
                </c:pt>
                <c:pt idx="503">
                  <c:v>45887</c:v>
                </c:pt>
                <c:pt idx="504">
                  <c:v>45888</c:v>
                </c:pt>
                <c:pt idx="505">
                  <c:v>45889</c:v>
                </c:pt>
                <c:pt idx="506">
                  <c:v>45890</c:v>
                </c:pt>
                <c:pt idx="507">
                  <c:v>45891</c:v>
                </c:pt>
                <c:pt idx="508">
                  <c:v>45894</c:v>
                </c:pt>
                <c:pt idx="509">
                  <c:v>45895</c:v>
                </c:pt>
                <c:pt idx="510">
                  <c:v>45896</c:v>
                </c:pt>
                <c:pt idx="511">
                  <c:v>45897</c:v>
                </c:pt>
                <c:pt idx="512">
                  <c:v>45898</c:v>
                </c:pt>
                <c:pt idx="513">
                  <c:v>45901</c:v>
                </c:pt>
                <c:pt idx="514">
                  <c:v>45902</c:v>
                </c:pt>
                <c:pt idx="515">
                  <c:v>45903</c:v>
                </c:pt>
                <c:pt idx="516">
                  <c:v>45904</c:v>
                </c:pt>
                <c:pt idx="517">
                  <c:v>45905</c:v>
                </c:pt>
                <c:pt idx="518">
                  <c:v>45908</c:v>
                </c:pt>
                <c:pt idx="519">
                  <c:v>45909</c:v>
                </c:pt>
                <c:pt idx="520">
                  <c:v>45910</c:v>
                </c:pt>
                <c:pt idx="521">
                  <c:v>45911</c:v>
                </c:pt>
                <c:pt idx="522">
                  <c:v>45912</c:v>
                </c:pt>
                <c:pt idx="523">
                  <c:v>45915</c:v>
                </c:pt>
                <c:pt idx="524">
                  <c:v>45916</c:v>
                </c:pt>
                <c:pt idx="525">
                  <c:v>45917</c:v>
                </c:pt>
                <c:pt idx="526">
                  <c:v>45918</c:v>
                </c:pt>
                <c:pt idx="527">
                  <c:v>45919</c:v>
                </c:pt>
                <c:pt idx="528">
                  <c:v>45922</c:v>
                </c:pt>
                <c:pt idx="529">
                  <c:v>45923</c:v>
                </c:pt>
                <c:pt idx="530">
                  <c:v>45924</c:v>
                </c:pt>
                <c:pt idx="531">
                  <c:v>45925</c:v>
                </c:pt>
                <c:pt idx="532">
                  <c:v>45926</c:v>
                </c:pt>
                <c:pt idx="533">
                  <c:v>45929</c:v>
                </c:pt>
                <c:pt idx="534">
                  <c:v>45930</c:v>
                </c:pt>
                <c:pt idx="535">
                  <c:v>45931</c:v>
                </c:pt>
                <c:pt idx="536">
                  <c:v>45932</c:v>
                </c:pt>
                <c:pt idx="537">
                  <c:v>45933</c:v>
                </c:pt>
                <c:pt idx="538">
                  <c:v>45936</c:v>
                </c:pt>
                <c:pt idx="539">
                  <c:v>45937</c:v>
                </c:pt>
                <c:pt idx="540">
                  <c:v>45938</c:v>
                </c:pt>
                <c:pt idx="541">
                  <c:v>45939</c:v>
                </c:pt>
                <c:pt idx="542">
                  <c:v>45940</c:v>
                </c:pt>
                <c:pt idx="543">
                  <c:v>45943</c:v>
                </c:pt>
                <c:pt idx="544">
                  <c:v>45944</c:v>
                </c:pt>
                <c:pt idx="545">
                  <c:v>45945</c:v>
                </c:pt>
                <c:pt idx="546">
                  <c:v>45946</c:v>
                </c:pt>
                <c:pt idx="547">
                  <c:v>45947</c:v>
                </c:pt>
                <c:pt idx="548">
                  <c:v>45950</c:v>
                </c:pt>
                <c:pt idx="549">
                  <c:v>45951</c:v>
                </c:pt>
                <c:pt idx="550">
                  <c:v>45952</c:v>
                </c:pt>
                <c:pt idx="551">
                  <c:v>45953</c:v>
                </c:pt>
                <c:pt idx="552">
                  <c:v>45954</c:v>
                </c:pt>
                <c:pt idx="553">
                  <c:v>45957</c:v>
                </c:pt>
                <c:pt idx="554">
                  <c:v>45958</c:v>
                </c:pt>
                <c:pt idx="555">
                  <c:v>45959</c:v>
                </c:pt>
                <c:pt idx="556">
                  <c:v>45960</c:v>
                </c:pt>
                <c:pt idx="557">
                  <c:v>45961</c:v>
                </c:pt>
                <c:pt idx="558">
                  <c:v>45964</c:v>
                </c:pt>
                <c:pt idx="559">
                  <c:v>45965</c:v>
                </c:pt>
                <c:pt idx="560">
                  <c:v>45966</c:v>
                </c:pt>
                <c:pt idx="561">
                  <c:v>45967</c:v>
                </c:pt>
                <c:pt idx="562">
                  <c:v>45968</c:v>
                </c:pt>
                <c:pt idx="563">
                  <c:v>45971</c:v>
                </c:pt>
                <c:pt idx="564">
                  <c:v>45972</c:v>
                </c:pt>
                <c:pt idx="565">
                  <c:v>45973</c:v>
                </c:pt>
                <c:pt idx="566">
                  <c:v>45974</c:v>
                </c:pt>
                <c:pt idx="567">
                  <c:v>45975</c:v>
                </c:pt>
                <c:pt idx="568">
                  <c:v>45978</c:v>
                </c:pt>
                <c:pt idx="569">
                  <c:v>45979</c:v>
                </c:pt>
                <c:pt idx="570">
                  <c:v>45980</c:v>
                </c:pt>
                <c:pt idx="571">
                  <c:v>45981</c:v>
                </c:pt>
                <c:pt idx="572">
                  <c:v>45982</c:v>
                </c:pt>
                <c:pt idx="573">
                  <c:v>45985</c:v>
                </c:pt>
                <c:pt idx="574">
                  <c:v>45986</c:v>
                </c:pt>
                <c:pt idx="575">
                  <c:v>45987</c:v>
                </c:pt>
                <c:pt idx="576">
                  <c:v>45988</c:v>
                </c:pt>
                <c:pt idx="577">
                  <c:v>45989</c:v>
                </c:pt>
                <c:pt idx="578">
                  <c:v>45992</c:v>
                </c:pt>
                <c:pt idx="579">
                  <c:v>45993</c:v>
                </c:pt>
                <c:pt idx="580">
                  <c:v>45994</c:v>
                </c:pt>
                <c:pt idx="581">
                  <c:v>45995</c:v>
                </c:pt>
                <c:pt idx="582">
                  <c:v>45996</c:v>
                </c:pt>
                <c:pt idx="583">
                  <c:v>45999</c:v>
                </c:pt>
                <c:pt idx="584">
                  <c:v>46000</c:v>
                </c:pt>
                <c:pt idx="585">
                  <c:v>46001</c:v>
                </c:pt>
                <c:pt idx="586">
                  <c:v>46002</c:v>
                </c:pt>
                <c:pt idx="587">
                  <c:v>46003</c:v>
                </c:pt>
                <c:pt idx="588">
                  <c:v>46006</c:v>
                </c:pt>
                <c:pt idx="589">
                  <c:v>46007</c:v>
                </c:pt>
                <c:pt idx="590">
                  <c:v>46008</c:v>
                </c:pt>
                <c:pt idx="591">
                  <c:v>46009</c:v>
                </c:pt>
                <c:pt idx="592">
                  <c:v>46010</c:v>
                </c:pt>
                <c:pt idx="593">
                  <c:v>46013</c:v>
                </c:pt>
                <c:pt idx="594">
                  <c:v>46014</c:v>
                </c:pt>
                <c:pt idx="595">
                  <c:v>46015</c:v>
                </c:pt>
                <c:pt idx="596">
                  <c:v>46016</c:v>
                </c:pt>
                <c:pt idx="597">
                  <c:v>46017</c:v>
                </c:pt>
                <c:pt idx="598">
                  <c:v>46020</c:v>
                </c:pt>
                <c:pt idx="599">
                  <c:v>46021</c:v>
                </c:pt>
                <c:pt idx="600">
                  <c:v>46022</c:v>
                </c:pt>
                <c:pt idx="601">
                  <c:v>46023</c:v>
                </c:pt>
                <c:pt idx="602">
                  <c:v>46024</c:v>
                </c:pt>
                <c:pt idx="603">
                  <c:v>46027</c:v>
                </c:pt>
                <c:pt idx="604">
                  <c:v>46028</c:v>
                </c:pt>
                <c:pt idx="605">
                  <c:v>46029</c:v>
                </c:pt>
                <c:pt idx="606">
                  <c:v>46030</c:v>
                </c:pt>
                <c:pt idx="607">
                  <c:v>46031</c:v>
                </c:pt>
                <c:pt idx="608">
                  <c:v>46034</c:v>
                </c:pt>
                <c:pt idx="609">
                  <c:v>46035</c:v>
                </c:pt>
                <c:pt idx="610">
                  <c:v>46036</c:v>
                </c:pt>
                <c:pt idx="611">
                  <c:v>46037</c:v>
                </c:pt>
                <c:pt idx="612">
                  <c:v>46038</c:v>
                </c:pt>
                <c:pt idx="613">
                  <c:v>46041</c:v>
                </c:pt>
                <c:pt idx="614">
                  <c:v>46042</c:v>
                </c:pt>
                <c:pt idx="615">
                  <c:v>46043</c:v>
                </c:pt>
                <c:pt idx="616">
                  <c:v>46044</c:v>
                </c:pt>
                <c:pt idx="617">
                  <c:v>46045</c:v>
                </c:pt>
                <c:pt idx="618">
                  <c:v>46048</c:v>
                </c:pt>
                <c:pt idx="619">
                  <c:v>46049</c:v>
                </c:pt>
                <c:pt idx="620">
                  <c:v>46050</c:v>
                </c:pt>
                <c:pt idx="621">
                  <c:v>46051</c:v>
                </c:pt>
                <c:pt idx="622">
                  <c:v>46052</c:v>
                </c:pt>
                <c:pt idx="623">
                  <c:v>46055</c:v>
                </c:pt>
                <c:pt idx="624">
                  <c:v>46056</c:v>
                </c:pt>
                <c:pt idx="625">
                  <c:v>46057</c:v>
                </c:pt>
                <c:pt idx="626">
                  <c:v>46058</c:v>
                </c:pt>
                <c:pt idx="627">
                  <c:v>46059</c:v>
                </c:pt>
                <c:pt idx="628">
                  <c:v>46062</c:v>
                </c:pt>
                <c:pt idx="629">
                  <c:v>46063</c:v>
                </c:pt>
                <c:pt idx="630">
                  <c:v>46064</c:v>
                </c:pt>
                <c:pt idx="631">
                  <c:v>46065</c:v>
                </c:pt>
                <c:pt idx="632">
                  <c:v>46066</c:v>
                </c:pt>
                <c:pt idx="633">
                  <c:v>46069</c:v>
                </c:pt>
                <c:pt idx="634">
                  <c:v>46070</c:v>
                </c:pt>
                <c:pt idx="635">
                  <c:v>46071</c:v>
                </c:pt>
                <c:pt idx="636">
                  <c:v>46072</c:v>
                </c:pt>
                <c:pt idx="637">
                  <c:v>46073</c:v>
                </c:pt>
                <c:pt idx="638">
                  <c:v>46076</c:v>
                </c:pt>
                <c:pt idx="639">
                  <c:v>46077</c:v>
                </c:pt>
                <c:pt idx="640">
                  <c:v>46078</c:v>
                </c:pt>
                <c:pt idx="641">
                  <c:v>46079</c:v>
                </c:pt>
                <c:pt idx="642">
                  <c:v>46080</c:v>
                </c:pt>
                <c:pt idx="643">
                  <c:v>46083</c:v>
                </c:pt>
                <c:pt idx="644">
                  <c:v>46084</c:v>
                </c:pt>
                <c:pt idx="645">
                  <c:v>46085</c:v>
                </c:pt>
                <c:pt idx="646">
                  <c:v>46086</c:v>
                </c:pt>
                <c:pt idx="647">
                  <c:v>46087</c:v>
                </c:pt>
                <c:pt idx="648">
                  <c:v>46090</c:v>
                </c:pt>
                <c:pt idx="649">
                  <c:v>46091</c:v>
                </c:pt>
                <c:pt idx="650">
                  <c:v>46092</c:v>
                </c:pt>
                <c:pt idx="651">
                  <c:v>46093</c:v>
                </c:pt>
                <c:pt idx="652">
                  <c:v>46094</c:v>
                </c:pt>
                <c:pt idx="653">
                  <c:v>46097</c:v>
                </c:pt>
                <c:pt idx="654">
                  <c:v>46098</c:v>
                </c:pt>
                <c:pt idx="655">
                  <c:v>46099</c:v>
                </c:pt>
                <c:pt idx="656">
                  <c:v>46100</c:v>
                </c:pt>
                <c:pt idx="657">
                  <c:v>46101</c:v>
                </c:pt>
                <c:pt idx="658">
                  <c:v>46104</c:v>
                </c:pt>
                <c:pt idx="659">
                  <c:v>46105</c:v>
                </c:pt>
                <c:pt idx="660">
                  <c:v>46106</c:v>
                </c:pt>
                <c:pt idx="661">
                  <c:v>46107</c:v>
                </c:pt>
                <c:pt idx="662">
                  <c:v>46108</c:v>
                </c:pt>
                <c:pt idx="663">
                  <c:v>46111</c:v>
                </c:pt>
                <c:pt idx="664">
                  <c:v>46112</c:v>
                </c:pt>
                <c:pt idx="665">
                  <c:v>46113</c:v>
                </c:pt>
                <c:pt idx="666">
                  <c:v>46114</c:v>
                </c:pt>
                <c:pt idx="667">
                  <c:v>46115</c:v>
                </c:pt>
                <c:pt idx="668">
                  <c:v>46118</c:v>
                </c:pt>
                <c:pt idx="669">
                  <c:v>46119</c:v>
                </c:pt>
                <c:pt idx="670">
                  <c:v>46120</c:v>
                </c:pt>
                <c:pt idx="671">
                  <c:v>46121</c:v>
                </c:pt>
                <c:pt idx="672">
                  <c:v>46122</c:v>
                </c:pt>
                <c:pt idx="673">
                  <c:v>46125</c:v>
                </c:pt>
                <c:pt idx="674">
                  <c:v>46126</c:v>
                </c:pt>
                <c:pt idx="675">
                  <c:v>46127</c:v>
                </c:pt>
                <c:pt idx="676">
                  <c:v>46128</c:v>
                </c:pt>
                <c:pt idx="677">
                  <c:v>46129</c:v>
                </c:pt>
                <c:pt idx="678">
                  <c:v>46132</c:v>
                </c:pt>
                <c:pt idx="679">
                  <c:v>46133</c:v>
                </c:pt>
                <c:pt idx="680">
                  <c:v>46134</c:v>
                </c:pt>
                <c:pt idx="681">
                  <c:v>46135</c:v>
                </c:pt>
                <c:pt idx="682">
                  <c:v>46136</c:v>
                </c:pt>
                <c:pt idx="683">
                  <c:v>46139</c:v>
                </c:pt>
                <c:pt idx="684">
                  <c:v>46140</c:v>
                </c:pt>
                <c:pt idx="685">
                  <c:v>46141</c:v>
                </c:pt>
                <c:pt idx="686">
                  <c:v>46142</c:v>
                </c:pt>
                <c:pt idx="687">
                  <c:v>46143</c:v>
                </c:pt>
                <c:pt idx="688">
                  <c:v>46146</c:v>
                </c:pt>
                <c:pt idx="689">
                  <c:v>46147</c:v>
                </c:pt>
                <c:pt idx="690">
                  <c:v>46148</c:v>
                </c:pt>
                <c:pt idx="691">
                  <c:v>46149</c:v>
                </c:pt>
                <c:pt idx="692">
                  <c:v>46150</c:v>
                </c:pt>
                <c:pt idx="693">
                  <c:v>46153</c:v>
                </c:pt>
                <c:pt idx="694">
                  <c:v>46154</c:v>
                </c:pt>
                <c:pt idx="695">
                  <c:v>46155</c:v>
                </c:pt>
                <c:pt idx="696">
                  <c:v>46156</c:v>
                </c:pt>
                <c:pt idx="697">
                  <c:v>46157</c:v>
                </c:pt>
                <c:pt idx="698">
                  <c:v>46160</c:v>
                </c:pt>
                <c:pt idx="699">
                  <c:v>46161</c:v>
                </c:pt>
                <c:pt idx="700">
                  <c:v>46162</c:v>
                </c:pt>
                <c:pt idx="701">
                  <c:v>46163</c:v>
                </c:pt>
                <c:pt idx="702">
                  <c:v>46164</c:v>
                </c:pt>
                <c:pt idx="703">
                  <c:v>46167</c:v>
                </c:pt>
                <c:pt idx="704">
                  <c:v>46168</c:v>
                </c:pt>
                <c:pt idx="705">
                  <c:v>46169</c:v>
                </c:pt>
                <c:pt idx="706">
                  <c:v>46170</c:v>
                </c:pt>
                <c:pt idx="707">
                  <c:v>46171</c:v>
                </c:pt>
                <c:pt idx="708">
                  <c:v>46174</c:v>
                </c:pt>
                <c:pt idx="709">
                  <c:v>46175</c:v>
                </c:pt>
                <c:pt idx="710">
                  <c:v>46176</c:v>
                </c:pt>
                <c:pt idx="711">
                  <c:v>46177</c:v>
                </c:pt>
                <c:pt idx="712">
                  <c:v>46178</c:v>
                </c:pt>
                <c:pt idx="713">
                  <c:v>46181</c:v>
                </c:pt>
                <c:pt idx="714">
                  <c:v>46182</c:v>
                </c:pt>
                <c:pt idx="715">
                  <c:v>46183</c:v>
                </c:pt>
                <c:pt idx="716">
                  <c:v>46184</c:v>
                </c:pt>
                <c:pt idx="717">
                  <c:v>46185</c:v>
                </c:pt>
                <c:pt idx="718">
                  <c:v>46188</c:v>
                </c:pt>
                <c:pt idx="719">
                  <c:v>46189</c:v>
                </c:pt>
                <c:pt idx="720">
                  <c:v>46190</c:v>
                </c:pt>
                <c:pt idx="721">
                  <c:v>46191</c:v>
                </c:pt>
                <c:pt idx="722">
                  <c:v>46192</c:v>
                </c:pt>
                <c:pt idx="723">
                  <c:v>46195</c:v>
                </c:pt>
                <c:pt idx="724">
                  <c:v>46196</c:v>
                </c:pt>
                <c:pt idx="725">
                  <c:v>46197</c:v>
                </c:pt>
                <c:pt idx="726">
                  <c:v>46198</c:v>
                </c:pt>
                <c:pt idx="727">
                  <c:v>46199</c:v>
                </c:pt>
                <c:pt idx="728">
                  <c:v>46202</c:v>
                </c:pt>
                <c:pt idx="729">
                  <c:v>46203</c:v>
                </c:pt>
                <c:pt idx="730">
                  <c:v>46204</c:v>
                </c:pt>
                <c:pt idx="731">
                  <c:v>46205</c:v>
                </c:pt>
                <c:pt idx="732">
                  <c:v>46206</c:v>
                </c:pt>
                <c:pt idx="733">
                  <c:v>46209</c:v>
                </c:pt>
                <c:pt idx="734">
                  <c:v>46210</c:v>
                </c:pt>
                <c:pt idx="735">
                  <c:v>46211</c:v>
                </c:pt>
                <c:pt idx="736">
                  <c:v>46212</c:v>
                </c:pt>
                <c:pt idx="737">
                  <c:v>46213</c:v>
                </c:pt>
                <c:pt idx="738">
                  <c:v>46216</c:v>
                </c:pt>
                <c:pt idx="739">
                  <c:v>46217</c:v>
                </c:pt>
                <c:pt idx="740">
                  <c:v>46218</c:v>
                </c:pt>
                <c:pt idx="741">
                  <c:v>46219</c:v>
                </c:pt>
                <c:pt idx="742">
                  <c:v>46220</c:v>
                </c:pt>
                <c:pt idx="743">
                  <c:v>46223</c:v>
                </c:pt>
                <c:pt idx="744">
                  <c:v>46224</c:v>
                </c:pt>
                <c:pt idx="745">
                  <c:v>46225</c:v>
                </c:pt>
                <c:pt idx="746">
                  <c:v>46226</c:v>
                </c:pt>
                <c:pt idx="747">
                  <c:v>46227</c:v>
                </c:pt>
                <c:pt idx="748">
                  <c:v>46230</c:v>
                </c:pt>
                <c:pt idx="749">
                  <c:v>46231</c:v>
                </c:pt>
                <c:pt idx="750">
                  <c:v>46232</c:v>
                </c:pt>
                <c:pt idx="751">
                  <c:v>46233</c:v>
                </c:pt>
                <c:pt idx="752">
                  <c:v>46234</c:v>
                </c:pt>
                <c:pt idx="753">
                  <c:v>46237</c:v>
                </c:pt>
                <c:pt idx="754">
                  <c:v>46238</c:v>
                </c:pt>
                <c:pt idx="755">
                  <c:v>46239</c:v>
                </c:pt>
                <c:pt idx="756">
                  <c:v>46240</c:v>
                </c:pt>
                <c:pt idx="757">
                  <c:v>46241</c:v>
                </c:pt>
                <c:pt idx="758">
                  <c:v>46244</c:v>
                </c:pt>
                <c:pt idx="759">
                  <c:v>46245</c:v>
                </c:pt>
                <c:pt idx="760">
                  <c:v>46246</c:v>
                </c:pt>
                <c:pt idx="761">
                  <c:v>46247</c:v>
                </c:pt>
                <c:pt idx="762">
                  <c:v>46248</c:v>
                </c:pt>
                <c:pt idx="763">
                  <c:v>46251</c:v>
                </c:pt>
                <c:pt idx="764">
                  <c:v>46252</c:v>
                </c:pt>
                <c:pt idx="765">
                  <c:v>46253</c:v>
                </c:pt>
                <c:pt idx="766">
                  <c:v>46254</c:v>
                </c:pt>
                <c:pt idx="767">
                  <c:v>46255</c:v>
                </c:pt>
                <c:pt idx="768">
                  <c:v>46258</c:v>
                </c:pt>
                <c:pt idx="769">
                  <c:v>46259</c:v>
                </c:pt>
                <c:pt idx="770">
                  <c:v>46260</c:v>
                </c:pt>
                <c:pt idx="771">
                  <c:v>46261</c:v>
                </c:pt>
                <c:pt idx="772">
                  <c:v>46262</c:v>
                </c:pt>
                <c:pt idx="773">
                  <c:v>46265</c:v>
                </c:pt>
                <c:pt idx="774">
                  <c:v>46266</c:v>
                </c:pt>
                <c:pt idx="775">
                  <c:v>46267</c:v>
                </c:pt>
                <c:pt idx="776">
                  <c:v>46268</c:v>
                </c:pt>
                <c:pt idx="777">
                  <c:v>46269</c:v>
                </c:pt>
                <c:pt idx="778">
                  <c:v>46272</c:v>
                </c:pt>
                <c:pt idx="779">
                  <c:v>46273</c:v>
                </c:pt>
                <c:pt idx="780">
                  <c:v>46274</c:v>
                </c:pt>
                <c:pt idx="781">
                  <c:v>46275</c:v>
                </c:pt>
                <c:pt idx="782">
                  <c:v>46276</c:v>
                </c:pt>
                <c:pt idx="783">
                  <c:v>46279</c:v>
                </c:pt>
                <c:pt idx="784">
                  <c:v>46280</c:v>
                </c:pt>
                <c:pt idx="785">
                  <c:v>46281</c:v>
                </c:pt>
                <c:pt idx="786">
                  <c:v>46282</c:v>
                </c:pt>
                <c:pt idx="787">
                  <c:v>46283</c:v>
                </c:pt>
                <c:pt idx="788">
                  <c:v>46286</c:v>
                </c:pt>
                <c:pt idx="789">
                  <c:v>46287</c:v>
                </c:pt>
                <c:pt idx="790">
                  <c:v>46288</c:v>
                </c:pt>
                <c:pt idx="791">
                  <c:v>46289</c:v>
                </c:pt>
                <c:pt idx="792">
                  <c:v>46290</c:v>
                </c:pt>
                <c:pt idx="793">
                  <c:v>46293</c:v>
                </c:pt>
                <c:pt idx="794">
                  <c:v>46294</c:v>
                </c:pt>
                <c:pt idx="795">
                  <c:v>46295</c:v>
                </c:pt>
                <c:pt idx="796">
                  <c:v>46296</c:v>
                </c:pt>
                <c:pt idx="797">
                  <c:v>46297</c:v>
                </c:pt>
                <c:pt idx="798">
                  <c:v>46300</c:v>
                </c:pt>
                <c:pt idx="799">
                  <c:v>46301</c:v>
                </c:pt>
                <c:pt idx="800">
                  <c:v>46302</c:v>
                </c:pt>
                <c:pt idx="801">
                  <c:v>46303</c:v>
                </c:pt>
                <c:pt idx="802">
                  <c:v>46304</c:v>
                </c:pt>
                <c:pt idx="803">
                  <c:v>46307</c:v>
                </c:pt>
                <c:pt idx="804">
                  <c:v>46308</c:v>
                </c:pt>
                <c:pt idx="805">
                  <c:v>46309</c:v>
                </c:pt>
                <c:pt idx="806">
                  <c:v>46310</c:v>
                </c:pt>
                <c:pt idx="807">
                  <c:v>46311</c:v>
                </c:pt>
                <c:pt idx="808">
                  <c:v>46314</c:v>
                </c:pt>
                <c:pt idx="809">
                  <c:v>46315</c:v>
                </c:pt>
                <c:pt idx="810">
                  <c:v>46316</c:v>
                </c:pt>
                <c:pt idx="811">
                  <c:v>46317</c:v>
                </c:pt>
                <c:pt idx="812">
                  <c:v>46318</c:v>
                </c:pt>
                <c:pt idx="813">
                  <c:v>46321</c:v>
                </c:pt>
                <c:pt idx="814">
                  <c:v>46322</c:v>
                </c:pt>
                <c:pt idx="815">
                  <c:v>46323</c:v>
                </c:pt>
                <c:pt idx="816">
                  <c:v>46324</c:v>
                </c:pt>
                <c:pt idx="817">
                  <c:v>46325</c:v>
                </c:pt>
                <c:pt idx="818">
                  <c:v>46328</c:v>
                </c:pt>
                <c:pt idx="819">
                  <c:v>46329</c:v>
                </c:pt>
                <c:pt idx="820">
                  <c:v>46330</c:v>
                </c:pt>
                <c:pt idx="821">
                  <c:v>46331</c:v>
                </c:pt>
                <c:pt idx="822">
                  <c:v>46332</c:v>
                </c:pt>
                <c:pt idx="823">
                  <c:v>46335</c:v>
                </c:pt>
                <c:pt idx="824">
                  <c:v>46336</c:v>
                </c:pt>
                <c:pt idx="825">
                  <c:v>46337</c:v>
                </c:pt>
                <c:pt idx="826">
                  <c:v>46338</c:v>
                </c:pt>
                <c:pt idx="827">
                  <c:v>46339</c:v>
                </c:pt>
                <c:pt idx="828">
                  <c:v>46342</c:v>
                </c:pt>
                <c:pt idx="829">
                  <c:v>46343</c:v>
                </c:pt>
                <c:pt idx="830">
                  <c:v>46344</c:v>
                </c:pt>
                <c:pt idx="831">
                  <c:v>46345</c:v>
                </c:pt>
                <c:pt idx="832">
                  <c:v>46346</c:v>
                </c:pt>
                <c:pt idx="833">
                  <c:v>46349</c:v>
                </c:pt>
                <c:pt idx="834">
                  <c:v>46350</c:v>
                </c:pt>
                <c:pt idx="835">
                  <c:v>46351</c:v>
                </c:pt>
                <c:pt idx="836">
                  <c:v>46352</c:v>
                </c:pt>
                <c:pt idx="837">
                  <c:v>46353</c:v>
                </c:pt>
                <c:pt idx="838">
                  <c:v>46356</c:v>
                </c:pt>
                <c:pt idx="839">
                  <c:v>46357</c:v>
                </c:pt>
                <c:pt idx="840">
                  <c:v>46358</c:v>
                </c:pt>
                <c:pt idx="841">
                  <c:v>46359</c:v>
                </c:pt>
                <c:pt idx="842">
                  <c:v>46360</c:v>
                </c:pt>
                <c:pt idx="843">
                  <c:v>46363</c:v>
                </c:pt>
                <c:pt idx="844">
                  <c:v>46364</c:v>
                </c:pt>
                <c:pt idx="845">
                  <c:v>46365</c:v>
                </c:pt>
                <c:pt idx="846">
                  <c:v>46366</c:v>
                </c:pt>
                <c:pt idx="847">
                  <c:v>46367</c:v>
                </c:pt>
                <c:pt idx="848">
                  <c:v>46370</c:v>
                </c:pt>
                <c:pt idx="849">
                  <c:v>46371</c:v>
                </c:pt>
                <c:pt idx="850">
                  <c:v>46372</c:v>
                </c:pt>
                <c:pt idx="851">
                  <c:v>46373</c:v>
                </c:pt>
                <c:pt idx="852">
                  <c:v>46374</c:v>
                </c:pt>
                <c:pt idx="853">
                  <c:v>46377</c:v>
                </c:pt>
                <c:pt idx="854">
                  <c:v>46378</c:v>
                </c:pt>
                <c:pt idx="855">
                  <c:v>46379</c:v>
                </c:pt>
                <c:pt idx="856">
                  <c:v>46380</c:v>
                </c:pt>
                <c:pt idx="857">
                  <c:v>46381</c:v>
                </c:pt>
                <c:pt idx="858">
                  <c:v>46384</c:v>
                </c:pt>
                <c:pt idx="859">
                  <c:v>46385</c:v>
                </c:pt>
                <c:pt idx="860">
                  <c:v>46386</c:v>
                </c:pt>
                <c:pt idx="861">
                  <c:v>46387</c:v>
                </c:pt>
                <c:pt idx="862">
                  <c:v>46388</c:v>
                </c:pt>
                <c:pt idx="863">
                  <c:v>46391</c:v>
                </c:pt>
                <c:pt idx="864">
                  <c:v>46392</c:v>
                </c:pt>
                <c:pt idx="865">
                  <c:v>46393</c:v>
                </c:pt>
                <c:pt idx="866">
                  <c:v>46394</c:v>
                </c:pt>
                <c:pt idx="867">
                  <c:v>46395</c:v>
                </c:pt>
                <c:pt idx="868">
                  <c:v>46398</c:v>
                </c:pt>
                <c:pt idx="869">
                  <c:v>46399</c:v>
                </c:pt>
                <c:pt idx="870">
                  <c:v>46400</c:v>
                </c:pt>
                <c:pt idx="871">
                  <c:v>46401</c:v>
                </c:pt>
                <c:pt idx="872">
                  <c:v>46402</c:v>
                </c:pt>
                <c:pt idx="873">
                  <c:v>46405</c:v>
                </c:pt>
                <c:pt idx="874">
                  <c:v>46406</c:v>
                </c:pt>
                <c:pt idx="875">
                  <c:v>46407</c:v>
                </c:pt>
                <c:pt idx="876">
                  <c:v>46408</c:v>
                </c:pt>
                <c:pt idx="877">
                  <c:v>46409</c:v>
                </c:pt>
                <c:pt idx="878">
                  <c:v>46412</c:v>
                </c:pt>
                <c:pt idx="879">
                  <c:v>46413</c:v>
                </c:pt>
                <c:pt idx="880">
                  <c:v>46414</c:v>
                </c:pt>
                <c:pt idx="881">
                  <c:v>46415</c:v>
                </c:pt>
                <c:pt idx="882">
                  <c:v>46416</c:v>
                </c:pt>
                <c:pt idx="883">
                  <c:v>46419</c:v>
                </c:pt>
                <c:pt idx="884">
                  <c:v>46420</c:v>
                </c:pt>
                <c:pt idx="885">
                  <c:v>46421</c:v>
                </c:pt>
                <c:pt idx="886">
                  <c:v>46422</c:v>
                </c:pt>
                <c:pt idx="887">
                  <c:v>46423</c:v>
                </c:pt>
                <c:pt idx="888">
                  <c:v>46426</c:v>
                </c:pt>
                <c:pt idx="889">
                  <c:v>46427</c:v>
                </c:pt>
                <c:pt idx="890">
                  <c:v>46428</c:v>
                </c:pt>
                <c:pt idx="891">
                  <c:v>46429</c:v>
                </c:pt>
                <c:pt idx="892">
                  <c:v>46430</c:v>
                </c:pt>
                <c:pt idx="893">
                  <c:v>46433</c:v>
                </c:pt>
                <c:pt idx="894">
                  <c:v>46434</c:v>
                </c:pt>
                <c:pt idx="895">
                  <c:v>46435</c:v>
                </c:pt>
                <c:pt idx="896">
                  <c:v>46436</c:v>
                </c:pt>
                <c:pt idx="897">
                  <c:v>46437</c:v>
                </c:pt>
                <c:pt idx="898">
                  <c:v>46440</c:v>
                </c:pt>
                <c:pt idx="899">
                  <c:v>46441</c:v>
                </c:pt>
                <c:pt idx="900">
                  <c:v>46442</c:v>
                </c:pt>
                <c:pt idx="901">
                  <c:v>46443</c:v>
                </c:pt>
                <c:pt idx="902">
                  <c:v>46444</c:v>
                </c:pt>
                <c:pt idx="903">
                  <c:v>46447</c:v>
                </c:pt>
                <c:pt idx="904">
                  <c:v>46448</c:v>
                </c:pt>
                <c:pt idx="905">
                  <c:v>46449</c:v>
                </c:pt>
                <c:pt idx="906">
                  <c:v>46450</c:v>
                </c:pt>
                <c:pt idx="907">
                  <c:v>46451</c:v>
                </c:pt>
                <c:pt idx="908">
                  <c:v>46454</c:v>
                </c:pt>
                <c:pt idx="909">
                  <c:v>46455</c:v>
                </c:pt>
                <c:pt idx="910">
                  <c:v>46456</c:v>
                </c:pt>
                <c:pt idx="911">
                  <c:v>46457</c:v>
                </c:pt>
                <c:pt idx="912">
                  <c:v>46458</c:v>
                </c:pt>
                <c:pt idx="913">
                  <c:v>46461</c:v>
                </c:pt>
                <c:pt idx="914">
                  <c:v>46462</c:v>
                </c:pt>
                <c:pt idx="915">
                  <c:v>46463</c:v>
                </c:pt>
                <c:pt idx="916">
                  <c:v>46464</c:v>
                </c:pt>
                <c:pt idx="917">
                  <c:v>46465</c:v>
                </c:pt>
                <c:pt idx="918">
                  <c:v>46468</c:v>
                </c:pt>
                <c:pt idx="919">
                  <c:v>46469</c:v>
                </c:pt>
                <c:pt idx="920">
                  <c:v>46470</c:v>
                </c:pt>
                <c:pt idx="921">
                  <c:v>46471</c:v>
                </c:pt>
                <c:pt idx="922">
                  <c:v>46472</c:v>
                </c:pt>
                <c:pt idx="923">
                  <c:v>46475</c:v>
                </c:pt>
                <c:pt idx="924">
                  <c:v>46476</c:v>
                </c:pt>
                <c:pt idx="925">
                  <c:v>46477</c:v>
                </c:pt>
                <c:pt idx="926">
                  <c:v>46478</c:v>
                </c:pt>
                <c:pt idx="927">
                  <c:v>46479</c:v>
                </c:pt>
                <c:pt idx="928">
                  <c:v>46482</c:v>
                </c:pt>
                <c:pt idx="929">
                  <c:v>46483</c:v>
                </c:pt>
                <c:pt idx="930">
                  <c:v>46484</c:v>
                </c:pt>
                <c:pt idx="931">
                  <c:v>46485</c:v>
                </c:pt>
                <c:pt idx="932">
                  <c:v>46486</c:v>
                </c:pt>
                <c:pt idx="933">
                  <c:v>46489</c:v>
                </c:pt>
                <c:pt idx="934">
                  <c:v>46490</c:v>
                </c:pt>
                <c:pt idx="935">
                  <c:v>46491</c:v>
                </c:pt>
                <c:pt idx="936">
                  <c:v>46492</c:v>
                </c:pt>
                <c:pt idx="937">
                  <c:v>46493</c:v>
                </c:pt>
                <c:pt idx="938">
                  <c:v>46496</c:v>
                </c:pt>
                <c:pt idx="939">
                  <c:v>46497</c:v>
                </c:pt>
                <c:pt idx="940">
                  <c:v>46498</c:v>
                </c:pt>
                <c:pt idx="941">
                  <c:v>46499</c:v>
                </c:pt>
                <c:pt idx="942">
                  <c:v>46500</c:v>
                </c:pt>
                <c:pt idx="943">
                  <c:v>46503</c:v>
                </c:pt>
                <c:pt idx="944">
                  <c:v>46504</c:v>
                </c:pt>
                <c:pt idx="945">
                  <c:v>46505</c:v>
                </c:pt>
                <c:pt idx="946">
                  <c:v>46506</c:v>
                </c:pt>
                <c:pt idx="947">
                  <c:v>46507</c:v>
                </c:pt>
                <c:pt idx="948">
                  <c:v>46510</c:v>
                </c:pt>
                <c:pt idx="949">
                  <c:v>46511</c:v>
                </c:pt>
                <c:pt idx="950">
                  <c:v>46512</c:v>
                </c:pt>
                <c:pt idx="951">
                  <c:v>46513</c:v>
                </c:pt>
                <c:pt idx="952">
                  <c:v>46514</c:v>
                </c:pt>
                <c:pt idx="953">
                  <c:v>46517</c:v>
                </c:pt>
                <c:pt idx="954">
                  <c:v>46518</c:v>
                </c:pt>
                <c:pt idx="955">
                  <c:v>46519</c:v>
                </c:pt>
                <c:pt idx="956">
                  <c:v>46520</c:v>
                </c:pt>
                <c:pt idx="957">
                  <c:v>46521</c:v>
                </c:pt>
                <c:pt idx="958">
                  <c:v>46524</c:v>
                </c:pt>
                <c:pt idx="959">
                  <c:v>46525</c:v>
                </c:pt>
                <c:pt idx="960">
                  <c:v>46526</c:v>
                </c:pt>
                <c:pt idx="961">
                  <c:v>46527</c:v>
                </c:pt>
                <c:pt idx="962">
                  <c:v>46528</c:v>
                </c:pt>
                <c:pt idx="963">
                  <c:v>46531</c:v>
                </c:pt>
                <c:pt idx="964">
                  <c:v>46532</c:v>
                </c:pt>
                <c:pt idx="965">
                  <c:v>46533</c:v>
                </c:pt>
                <c:pt idx="966">
                  <c:v>46534</c:v>
                </c:pt>
                <c:pt idx="967">
                  <c:v>46535</c:v>
                </c:pt>
                <c:pt idx="968">
                  <c:v>46538</c:v>
                </c:pt>
                <c:pt idx="969">
                  <c:v>46539</c:v>
                </c:pt>
                <c:pt idx="970">
                  <c:v>46540</c:v>
                </c:pt>
                <c:pt idx="971">
                  <c:v>46541</c:v>
                </c:pt>
                <c:pt idx="972">
                  <c:v>46542</c:v>
                </c:pt>
                <c:pt idx="973">
                  <c:v>46545</c:v>
                </c:pt>
                <c:pt idx="974">
                  <c:v>46546</c:v>
                </c:pt>
                <c:pt idx="975">
                  <c:v>46547</c:v>
                </c:pt>
                <c:pt idx="976">
                  <c:v>46548</c:v>
                </c:pt>
                <c:pt idx="977">
                  <c:v>46549</c:v>
                </c:pt>
                <c:pt idx="978">
                  <c:v>46552</c:v>
                </c:pt>
                <c:pt idx="979">
                  <c:v>46553</c:v>
                </c:pt>
                <c:pt idx="980">
                  <c:v>46554</c:v>
                </c:pt>
                <c:pt idx="981">
                  <c:v>46555</c:v>
                </c:pt>
                <c:pt idx="982">
                  <c:v>46556</c:v>
                </c:pt>
                <c:pt idx="983">
                  <c:v>46559</c:v>
                </c:pt>
                <c:pt idx="984">
                  <c:v>46560</c:v>
                </c:pt>
                <c:pt idx="985">
                  <c:v>46561</c:v>
                </c:pt>
                <c:pt idx="986">
                  <c:v>46562</c:v>
                </c:pt>
                <c:pt idx="987">
                  <c:v>46563</c:v>
                </c:pt>
                <c:pt idx="988">
                  <c:v>46566</c:v>
                </c:pt>
                <c:pt idx="989">
                  <c:v>46567</c:v>
                </c:pt>
                <c:pt idx="990">
                  <c:v>46568</c:v>
                </c:pt>
                <c:pt idx="991">
                  <c:v>46569</c:v>
                </c:pt>
                <c:pt idx="992">
                  <c:v>46570</c:v>
                </c:pt>
                <c:pt idx="993">
                  <c:v>46573</c:v>
                </c:pt>
                <c:pt idx="994">
                  <c:v>46574</c:v>
                </c:pt>
                <c:pt idx="995">
                  <c:v>46575</c:v>
                </c:pt>
                <c:pt idx="996">
                  <c:v>46576</c:v>
                </c:pt>
                <c:pt idx="997">
                  <c:v>46577</c:v>
                </c:pt>
                <c:pt idx="998">
                  <c:v>46580</c:v>
                </c:pt>
              </c:numCache>
            </c:numRef>
          </c:cat>
          <c:val>
            <c:numRef>
              <c:f>Daily!$AC$2:$AC$1057</c:f>
            </c:numRef>
          </c:val>
          <c:smooth val="0"/>
          <c:extLst>
            <c:ext xmlns:c16="http://schemas.microsoft.com/office/drawing/2014/chart" uri="{C3380CC4-5D6E-409C-BE32-E72D297353CC}">
              <c16:uniqueId val="{0000001E-094D-4E29-B010-D717A2A1A293}"/>
            </c:ext>
          </c:extLst>
        </c:ser>
        <c:ser>
          <c:idx val="25"/>
          <c:order val="25"/>
          <c:tx>
            <c:strRef>
              <c:f>Daily!$AD$1</c:f>
              <c:strCache>
                <c:ptCount val="1"/>
                <c:pt idx="0">
                  <c:v>M+12</c:v>
                </c:pt>
              </c:strCache>
            </c:strRef>
          </c:tx>
          <c:spPr>
            <a:ln w="28575" cap="rnd" cmpd="sng" algn="ctr">
              <a:solidFill>
                <a:schemeClr val="accent2">
                  <a:lumMod val="60000"/>
                  <a:lumOff val="40000"/>
                  <a:shade val="95000"/>
                  <a:satMod val="105000"/>
                </a:schemeClr>
              </a:solidFill>
              <a:prstDash val="solid"/>
              <a:round/>
            </a:ln>
            <a:effectLst/>
          </c:spPr>
          <c:marker>
            <c:symbol val="none"/>
          </c:marker>
          <c:cat>
            <c:numRef>
              <c:f>Daily!$A$2:$A$1000</c:f>
              <c:numCache>
                <c:formatCode>d\-mmm\-yy</c:formatCode>
                <c:ptCount val="999"/>
                <c:pt idx="0">
                  <c:v>45128</c:v>
                </c:pt>
                <c:pt idx="1">
                  <c:v>45131</c:v>
                </c:pt>
                <c:pt idx="2">
                  <c:v>45132</c:v>
                </c:pt>
                <c:pt idx="3">
                  <c:v>45133</c:v>
                </c:pt>
                <c:pt idx="4">
                  <c:v>45134</c:v>
                </c:pt>
                <c:pt idx="5">
                  <c:v>45135</c:v>
                </c:pt>
                <c:pt idx="6">
                  <c:v>45138</c:v>
                </c:pt>
                <c:pt idx="7">
                  <c:v>45139</c:v>
                </c:pt>
                <c:pt idx="8">
                  <c:v>45140</c:v>
                </c:pt>
                <c:pt idx="9">
                  <c:v>45141</c:v>
                </c:pt>
                <c:pt idx="10">
                  <c:v>45142</c:v>
                </c:pt>
                <c:pt idx="11">
                  <c:v>45145</c:v>
                </c:pt>
                <c:pt idx="12">
                  <c:v>45146</c:v>
                </c:pt>
                <c:pt idx="13">
                  <c:v>45147</c:v>
                </c:pt>
                <c:pt idx="14">
                  <c:v>45148</c:v>
                </c:pt>
                <c:pt idx="15">
                  <c:v>45149</c:v>
                </c:pt>
                <c:pt idx="16">
                  <c:v>45152</c:v>
                </c:pt>
                <c:pt idx="17">
                  <c:v>45153</c:v>
                </c:pt>
                <c:pt idx="18">
                  <c:v>45154</c:v>
                </c:pt>
                <c:pt idx="19">
                  <c:v>45155</c:v>
                </c:pt>
                <c:pt idx="20">
                  <c:v>45156</c:v>
                </c:pt>
                <c:pt idx="21">
                  <c:v>45159</c:v>
                </c:pt>
                <c:pt idx="22">
                  <c:v>45160</c:v>
                </c:pt>
                <c:pt idx="23">
                  <c:v>45161</c:v>
                </c:pt>
                <c:pt idx="24">
                  <c:v>45162</c:v>
                </c:pt>
                <c:pt idx="25">
                  <c:v>45163</c:v>
                </c:pt>
                <c:pt idx="26">
                  <c:v>45166</c:v>
                </c:pt>
                <c:pt idx="27">
                  <c:v>45167</c:v>
                </c:pt>
                <c:pt idx="28">
                  <c:v>45168</c:v>
                </c:pt>
                <c:pt idx="29">
                  <c:v>45169</c:v>
                </c:pt>
                <c:pt idx="30">
                  <c:v>45170</c:v>
                </c:pt>
                <c:pt idx="31">
                  <c:v>45173</c:v>
                </c:pt>
                <c:pt idx="32">
                  <c:v>45174</c:v>
                </c:pt>
                <c:pt idx="33">
                  <c:v>45175</c:v>
                </c:pt>
                <c:pt idx="34">
                  <c:v>45176</c:v>
                </c:pt>
                <c:pt idx="35">
                  <c:v>45177</c:v>
                </c:pt>
                <c:pt idx="36">
                  <c:v>45180</c:v>
                </c:pt>
                <c:pt idx="37">
                  <c:v>45181</c:v>
                </c:pt>
                <c:pt idx="38">
                  <c:v>45182</c:v>
                </c:pt>
                <c:pt idx="39">
                  <c:v>45183</c:v>
                </c:pt>
                <c:pt idx="40">
                  <c:v>45184</c:v>
                </c:pt>
                <c:pt idx="41">
                  <c:v>45187</c:v>
                </c:pt>
                <c:pt idx="42">
                  <c:v>45188</c:v>
                </c:pt>
                <c:pt idx="43">
                  <c:v>45189</c:v>
                </c:pt>
                <c:pt idx="44">
                  <c:v>45190</c:v>
                </c:pt>
                <c:pt idx="45">
                  <c:v>45191</c:v>
                </c:pt>
                <c:pt idx="46">
                  <c:v>45194</c:v>
                </c:pt>
                <c:pt idx="47">
                  <c:v>45195</c:v>
                </c:pt>
                <c:pt idx="48">
                  <c:v>45196</c:v>
                </c:pt>
                <c:pt idx="49">
                  <c:v>45197</c:v>
                </c:pt>
                <c:pt idx="50">
                  <c:v>45208</c:v>
                </c:pt>
                <c:pt idx="51">
                  <c:v>45209</c:v>
                </c:pt>
                <c:pt idx="52">
                  <c:v>45210</c:v>
                </c:pt>
                <c:pt idx="53">
                  <c:v>45211</c:v>
                </c:pt>
                <c:pt idx="54">
                  <c:v>45212</c:v>
                </c:pt>
                <c:pt idx="55">
                  <c:v>45215</c:v>
                </c:pt>
                <c:pt idx="56">
                  <c:v>45216</c:v>
                </c:pt>
                <c:pt idx="57">
                  <c:v>45217</c:v>
                </c:pt>
                <c:pt idx="58">
                  <c:v>45218</c:v>
                </c:pt>
                <c:pt idx="59">
                  <c:v>45219</c:v>
                </c:pt>
                <c:pt idx="60">
                  <c:v>45222</c:v>
                </c:pt>
                <c:pt idx="61">
                  <c:v>45223</c:v>
                </c:pt>
                <c:pt idx="62">
                  <c:v>45224</c:v>
                </c:pt>
                <c:pt idx="63">
                  <c:v>45225</c:v>
                </c:pt>
                <c:pt idx="64">
                  <c:v>45226</c:v>
                </c:pt>
                <c:pt idx="65">
                  <c:v>45229</c:v>
                </c:pt>
                <c:pt idx="66">
                  <c:v>45230</c:v>
                </c:pt>
                <c:pt idx="67">
                  <c:v>45231</c:v>
                </c:pt>
                <c:pt idx="68">
                  <c:v>45232</c:v>
                </c:pt>
                <c:pt idx="69">
                  <c:v>45233</c:v>
                </c:pt>
                <c:pt idx="70">
                  <c:v>45236</c:v>
                </c:pt>
                <c:pt idx="71">
                  <c:v>45237</c:v>
                </c:pt>
                <c:pt idx="72">
                  <c:v>45238</c:v>
                </c:pt>
                <c:pt idx="73">
                  <c:v>45239</c:v>
                </c:pt>
                <c:pt idx="74">
                  <c:v>45240</c:v>
                </c:pt>
                <c:pt idx="75">
                  <c:v>45243</c:v>
                </c:pt>
                <c:pt idx="76">
                  <c:v>45244</c:v>
                </c:pt>
                <c:pt idx="77">
                  <c:v>45245</c:v>
                </c:pt>
                <c:pt idx="78">
                  <c:v>45246</c:v>
                </c:pt>
                <c:pt idx="79">
                  <c:v>45247</c:v>
                </c:pt>
                <c:pt idx="80">
                  <c:v>45250</c:v>
                </c:pt>
                <c:pt idx="81">
                  <c:v>45251</c:v>
                </c:pt>
                <c:pt idx="82">
                  <c:v>45252</c:v>
                </c:pt>
                <c:pt idx="83">
                  <c:v>45253</c:v>
                </c:pt>
                <c:pt idx="84">
                  <c:v>45254</c:v>
                </c:pt>
                <c:pt idx="85">
                  <c:v>45257</c:v>
                </c:pt>
                <c:pt idx="86">
                  <c:v>45258</c:v>
                </c:pt>
                <c:pt idx="87">
                  <c:v>45259</c:v>
                </c:pt>
                <c:pt idx="88">
                  <c:v>45260</c:v>
                </c:pt>
                <c:pt idx="89">
                  <c:v>45261</c:v>
                </c:pt>
                <c:pt idx="90">
                  <c:v>45264</c:v>
                </c:pt>
                <c:pt idx="91">
                  <c:v>45265</c:v>
                </c:pt>
                <c:pt idx="92">
                  <c:v>45266</c:v>
                </c:pt>
                <c:pt idx="93">
                  <c:v>45267</c:v>
                </c:pt>
                <c:pt idx="94">
                  <c:v>45268</c:v>
                </c:pt>
                <c:pt idx="95">
                  <c:v>45271</c:v>
                </c:pt>
                <c:pt idx="96">
                  <c:v>45272</c:v>
                </c:pt>
                <c:pt idx="97">
                  <c:v>45273</c:v>
                </c:pt>
                <c:pt idx="98">
                  <c:v>45274</c:v>
                </c:pt>
                <c:pt idx="99">
                  <c:v>45275</c:v>
                </c:pt>
                <c:pt idx="100">
                  <c:v>45278</c:v>
                </c:pt>
                <c:pt idx="101">
                  <c:v>45279</c:v>
                </c:pt>
                <c:pt idx="102">
                  <c:v>45280</c:v>
                </c:pt>
                <c:pt idx="103">
                  <c:v>45281</c:v>
                </c:pt>
                <c:pt idx="104">
                  <c:v>45282</c:v>
                </c:pt>
                <c:pt idx="105">
                  <c:v>45285</c:v>
                </c:pt>
                <c:pt idx="106">
                  <c:v>45286</c:v>
                </c:pt>
                <c:pt idx="107">
                  <c:v>45287</c:v>
                </c:pt>
                <c:pt idx="108">
                  <c:v>45288</c:v>
                </c:pt>
                <c:pt idx="109">
                  <c:v>45289</c:v>
                </c:pt>
                <c:pt idx="110">
                  <c:v>45293</c:v>
                </c:pt>
                <c:pt idx="111">
                  <c:v>45294</c:v>
                </c:pt>
                <c:pt idx="112">
                  <c:v>45295</c:v>
                </c:pt>
                <c:pt idx="113">
                  <c:v>45296</c:v>
                </c:pt>
                <c:pt idx="114">
                  <c:v>45299</c:v>
                </c:pt>
                <c:pt idx="115">
                  <c:v>45300</c:v>
                </c:pt>
                <c:pt idx="116">
                  <c:v>45301</c:v>
                </c:pt>
                <c:pt idx="117">
                  <c:v>45302</c:v>
                </c:pt>
                <c:pt idx="118">
                  <c:v>45303</c:v>
                </c:pt>
                <c:pt idx="119">
                  <c:v>45306</c:v>
                </c:pt>
                <c:pt idx="120">
                  <c:v>45307</c:v>
                </c:pt>
                <c:pt idx="121">
                  <c:v>45308</c:v>
                </c:pt>
                <c:pt idx="122">
                  <c:v>45309</c:v>
                </c:pt>
                <c:pt idx="123">
                  <c:v>45310</c:v>
                </c:pt>
                <c:pt idx="124">
                  <c:v>45313</c:v>
                </c:pt>
                <c:pt idx="125">
                  <c:v>45314</c:v>
                </c:pt>
                <c:pt idx="126">
                  <c:v>45315</c:v>
                </c:pt>
                <c:pt idx="127">
                  <c:v>45316</c:v>
                </c:pt>
                <c:pt idx="128">
                  <c:v>45317</c:v>
                </c:pt>
                <c:pt idx="129">
                  <c:v>45320</c:v>
                </c:pt>
                <c:pt idx="130">
                  <c:v>45321</c:v>
                </c:pt>
                <c:pt idx="131">
                  <c:v>45322</c:v>
                </c:pt>
                <c:pt idx="132">
                  <c:v>45323</c:v>
                </c:pt>
                <c:pt idx="133">
                  <c:v>45324</c:v>
                </c:pt>
                <c:pt idx="134">
                  <c:v>45327</c:v>
                </c:pt>
                <c:pt idx="135">
                  <c:v>45328</c:v>
                </c:pt>
                <c:pt idx="136">
                  <c:v>45329</c:v>
                </c:pt>
                <c:pt idx="137">
                  <c:v>45330</c:v>
                </c:pt>
                <c:pt idx="138">
                  <c:v>45341</c:v>
                </c:pt>
                <c:pt idx="139">
                  <c:v>45342</c:v>
                </c:pt>
                <c:pt idx="140">
                  <c:v>45343</c:v>
                </c:pt>
                <c:pt idx="141">
                  <c:v>45344</c:v>
                </c:pt>
                <c:pt idx="142">
                  <c:v>45345</c:v>
                </c:pt>
                <c:pt idx="143">
                  <c:v>45348</c:v>
                </c:pt>
                <c:pt idx="144">
                  <c:v>45349</c:v>
                </c:pt>
                <c:pt idx="145">
                  <c:v>45350</c:v>
                </c:pt>
                <c:pt idx="146">
                  <c:v>45351</c:v>
                </c:pt>
                <c:pt idx="147">
                  <c:v>45352</c:v>
                </c:pt>
                <c:pt idx="148">
                  <c:v>45355</c:v>
                </c:pt>
                <c:pt idx="149">
                  <c:v>45356</c:v>
                </c:pt>
                <c:pt idx="150">
                  <c:v>45357</c:v>
                </c:pt>
                <c:pt idx="151">
                  <c:v>45358</c:v>
                </c:pt>
                <c:pt idx="152">
                  <c:v>45359</c:v>
                </c:pt>
                <c:pt idx="153">
                  <c:v>45362</c:v>
                </c:pt>
                <c:pt idx="154">
                  <c:v>45363</c:v>
                </c:pt>
                <c:pt idx="155">
                  <c:v>45364</c:v>
                </c:pt>
                <c:pt idx="156">
                  <c:v>45365</c:v>
                </c:pt>
                <c:pt idx="157">
                  <c:v>45366</c:v>
                </c:pt>
                <c:pt idx="158">
                  <c:v>45369</c:v>
                </c:pt>
                <c:pt idx="159">
                  <c:v>45370</c:v>
                </c:pt>
                <c:pt idx="160">
                  <c:v>45371</c:v>
                </c:pt>
                <c:pt idx="161">
                  <c:v>45372</c:v>
                </c:pt>
                <c:pt idx="162">
                  <c:v>45373</c:v>
                </c:pt>
                <c:pt idx="163">
                  <c:v>45376</c:v>
                </c:pt>
                <c:pt idx="164">
                  <c:v>45377</c:v>
                </c:pt>
                <c:pt idx="165">
                  <c:v>45378</c:v>
                </c:pt>
                <c:pt idx="166">
                  <c:v>45379</c:v>
                </c:pt>
                <c:pt idx="167">
                  <c:v>45380</c:v>
                </c:pt>
                <c:pt idx="168">
                  <c:v>45383</c:v>
                </c:pt>
                <c:pt idx="169">
                  <c:v>45384</c:v>
                </c:pt>
                <c:pt idx="170">
                  <c:v>45385</c:v>
                </c:pt>
                <c:pt idx="171">
                  <c:v>45390</c:v>
                </c:pt>
                <c:pt idx="172">
                  <c:v>45391</c:v>
                </c:pt>
                <c:pt idx="173">
                  <c:v>45392</c:v>
                </c:pt>
                <c:pt idx="174">
                  <c:v>45393</c:v>
                </c:pt>
                <c:pt idx="175">
                  <c:v>45394</c:v>
                </c:pt>
                <c:pt idx="176">
                  <c:v>45397</c:v>
                </c:pt>
                <c:pt idx="177">
                  <c:v>45398</c:v>
                </c:pt>
                <c:pt idx="178">
                  <c:v>45399</c:v>
                </c:pt>
                <c:pt idx="179">
                  <c:v>45400</c:v>
                </c:pt>
                <c:pt idx="180">
                  <c:v>45401</c:v>
                </c:pt>
                <c:pt idx="181">
                  <c:v>45404</c:v>
                </c:pt>
                <c:pt idx="182">
                  <c:v>45405</c:v>
                </c:pt>
                <c:pt idx="183">
                  <c:v>45406</c:v>
                </c:pt>
                <c:pt idx="184">
                  <c:v>45407</c:v>
                </c:pt>
                <c:pt idx="185">
                  <c:v>45408</c:v>
                </c:pt>
                <c:pt idx="186">
                  <c:v>45411</c:v>
                </c:pt>
                <c:pt idx="187">
                  <c:v>45412</c:v>
                </c:pt>
                <c:pt idx="188">
                  <c:v>45418</c:v>
                </c:pt>
                <c:pt idx="189">
                  <c:v>45419</c:v>
                </c:pt>
                <c:pt idx="190">
                  <c:v>45420</c:v>
                </c:pt>
                <c:pt idx="191">
                  <c:v>45421</c:v>
                </c:pt>
                <c:pt idx="192">
                  <c:v>45422</c:v>
                </c:pt>
                <c:pt idx="193">
                  <c:v>45425</c:v>
                </c:pt>
                <c:pt idx="194">
                  <c:v>45426</c:v>
                </c:pt>
                <c:pt idx="195">
                  <c:v>45427</c:v>
                </c:pt>
                <c:pt idx="196">
                  <c:v>45428</c:v>
                </c:pt>
                <c:pt idx="197">
                  <c:v>45429</c:v>
                </c:pt>
                <c:pt idx="198">
                  <c:v>45432</c:v>
                </c:pt>
                <c:pt idx="199">
                  <c:v>45433</c:v>
                </c:pt>
                <c:pt idx="200">
                  <c:v>45434</c:v>
                </c:pt>
                <c:pt idx="201">
                  <c:v>45435</c:v>
                </c:pt>
                <c:pt idx="202">
                  <c:v>45436</c:v>
                </c:pt>
                <c:pt idx="203">
                  <c:v>45439</c:v>
                </c:pt>
                <c:pt idx="204">
                  <c:v>45440</c:v>
                </c:pt>
                <c:pt idx="205">
                  <c:v>45441</c:v>
                </c:pt>
                <c:pt idx="206">
                  <c:v>45442</c:v>
                </c:pt>
                <c:pt idx="207">
                  <c:v>45443</c:v>
                </c:pt>
                <c:pt idx="208">
                  <c:v>45446</c:v>
                </c:pt>
                <c:pt idx="209">
                  <c:v>45447</c:v>
                </c:pt>
                <c:pt idx="210">
                  <c:v>45448</c:v>
                </c:pt>
                <c:pt idx="211">
                  <c:v>45449</c:v>
                </c:pt>
                <c:pt idx="212">
                  <c:v>45450</c:v>
                </c:pt>
                <c:pt idx="213">
                  <c:v>45454</c:v>
                </c:pt>
                <c:pt idx="214">
                  <c:v>45455</c:v>
                </c:pt>
                <c:pt idx="215">
                  <c:v>45456</c:v>
                </c:pt>
                <c:pt idx="216">
                  <c:v>45457</c:v>
                </c:pt>
                <c:pt idx="217">
                  <c:v>45460</c:v>
                </c:pt>
                <c:pt idx="218">
                  <c:v>45461</c:v>
                </c:pt>
                <c:pt idx="219">
                  <c:v>45462</c:v>
                </c:pt>
                <c:pt idx="220">
                  <c:v>45463</c:v>
                </c:pt>
                <c:pt idx="221">
                  <c:v>45464</c:v>
                </c:pt>
                <c:pt idx="222">
                  <c:v>45467</c:v>
                </c:pt>
                <c:pt idx="223">
                  <c:v>45468</c:v>
                </c:pt>
                <c:pt idx="224">
                  <c:v>45469</c:v>
                </c:pt>
                <c:pt idx="225">
                  <c:v>45470</c:v>
                </c:pt>
                <c:pt idx="226">
                  <c:v>45471</c:v>
                </c:pt>
                <c:pt idx="227">
                  <c:v>45474</c:v>
                </c:pt>
                <c:pt idx="228">
                  <c:v>45475</c:v>
                </c:pt>
                <c:pt idx="229">
                  <c:v>45476</c:v>
                </c:pt>
                <c:pt idx="230">
                  <c:v>45477</c:v>
                </c:pt>
                <c:pt idx="231">
                  <c:v>45478</c:v>
                </c:pt>
                <c:pt idx="232">
                  <c:v>45481</c:v>
                </c:pt>
                <c:pt idx="233">
                  <c:v>45482</c:v>
                </c:pt>
                <c:pt idx="234">
                  <c:v>45483</c:v>
                </c:pt>
                <c:pt idx="235">
                  <c:v>45484</c:v>
                </c:pt>
                <c:pt idx="236">
                  <c:v>45485</c:v>
                </c:pt>
                <c:pt idx="237">
                  <c:v>45488</c:v>
                </c:pt>
                <c:pt idx="238">
                  <c:v>45489</c:v>
                </c:pt>
                <c:pt idx="239">
                  <c:v>45490</c:v>
                </c:pt>
                <c:pt idx="240">
                  <c:v>45491</c:v>
                </c:pt>
                <c:pt idx="241">
                  <c:v>45492</c:v>
                </c:pt>
                <c:pt idx="242">
                  <c:v>45495</c:v>
                </c:pt>
                <c:pt idx="243">
                  <c:v>45496</c:v>
                </c:pt>
                <c:pt idx="244">
                  <c:v>45497</c:v>
                </c:pt>
                <c:pt idx="245">
                  <c:v>45498</c:v>
                </c:pt>
                <c:pt idx="246">
                  <c:v>45499</c:v>
                </c:pt>
                <c:pt idx="247">
                  <c:v>45502</c:v>
                </c:pt>
                <c:pt idx="248">
                  <c:v>45503</c:v>
                </c:pt>
                <c:pt idx="249">
                  <c:v>45504</c:v>
                </c:pt>
                <c:pt idx="250">
                  <c:v>45505</c:v>
                </c:pt>
                <c:pt idx="251">
                  <c:v>45506</c:v>
                </c:pt>
                <c:pt idx="252">
                  <c:v>45509</c:v>
                </c:pt>
                <c:pt idx="253">
                  <c:v>45510</c:v>
                </c:pt>
                <c:pt idx="254">
                  <c:v>45511</c:v>
                </c:pt>
                <c:pt idx="255">
                  <c:v>45512</c:v>
                </c:pt>
                <c:pt idx="256">
                  <c:v>45513</c:v>
                </c:pt>
                <c:pt idx="257">
                  <c:v>45516</c:v>
                </c:pt>
                <c:pt idx="258">
                  <c:v>45517</c:v>
                </c:pt>
                <c:pt idx="259">
                  <c:v>45518</c:v>
                </c:pt>
                <c:pt idx="260">
                  <c:v>45519</c:v>
                </c:pt>
                <c:pt idx="261">
                  <c:v>45520</c:v>
                </c:pt>
                <c:pt idx="262">
                  <c:v>45523</c:v>
                </c:pt>
                <c:pt idx="263">
                  <c:v>45524</c:v>
                </c:pt>
                <c:pt idx="264">
                  <c:v>45525</c:v>
                </c:pt>
                <c:pt idx="265">
                  <c:v>45526</c:v>
                </c:pt>
                <c:pt idx="266">
                  <c:v>45527</c:v>
                </c:pt>
                <c:pt idx="267">
                  <c:v>45530</c:v>
                </c:pt>
                <c:pt idx="268">
                  <c:v>45531</c:v>
                </c:pt>
                <c:pt idx="269">
                  <c:v>45532</c:v>
                </c:pt>
                <c:pt idx="270">
                  <c:v>45533</c:v>
                </c:pt>
                <c:pt idx="271">
                  <c:v>45534</c:v>
                </c:pt>
                <c:pt idx="272">
                  <c:v>45537</c:v>
                </c:pt>
                <c:pt idx="273">
                  <c:v>45538</c:v>
                </c:pt>
                <c:pt idx="274">
                  <c:v>45539</c:v>
                </c:pt>
                <c:pt idx="275">
                  <c:v>45540</c:v>
                </c:pt>
                <c:pt idx="276">
                  <c:v>45541</c:v>
                </c:pt>
                <c:pt idx="277">
                  <c:v>45544</c:v>
                </c:pt>
                <c:pt idx="278">
                  <c:v>45545</c:v>
                </c:pt>
                <c:pt idx="279">
                  <c:v>45546</c:v>
                </c:pt>
                <c:pt idx="280">
                  <c:v>45547</c:v>
                </c:pt>
                <c:pt idx="281">
                  <c:v>45548</c:v>
                </c:pt>
                <c:pt idx="282">
                  <c:v>45553</c:v>
                </c:pt>
                <c:pt idx="283">
                  <c:v>45554</c:v>
                </c:pt>
                <c:pt idx="284">
                  <c:v>45555</c:v>
                </c:pt>
                <c:pt idx="285">
                  <c:v>45558</c:v>
                </c:pt>
                <c:pt idx="286">
                  <c:v>45559</c:v>
                </c:pt>
                <c:pt idx="287">
                  <c:v>45560</c:v>
                </c:pt>
                <c:pt idx="288">
                  <c:v>45561</c:v>
                </c:pt>
                <c:pt idx="289">
                  <c:v>45562</c:v>
                </c:pt>
                <c:pt idx="290">
                  <c:v>45565</c:v>
                </c:pt>
                <c:pt idx="291">
                  <c:v>45573</c:v>
                </c:pt>
                <c:pt idx="292">
                  <c:v>45574</c:v>
                </c:pt>
                <c:pt idx="293">
                  <c:v>45575</c:v>
                </c:pt>
                <c:pt idx="294">
                  <c:v>45576</c:v>
                </c:pt>
                <c:pt idx="295">
                  <c:v>45579</c:v>
                </c:pt>
                <c:pt idx="296">
                  <c:v>45580</c:v>
                </c:pt>
                <c:pt idx="297">
                  <c:v>45581</c:v>
                </c:pt>
                <c:pt idx="298">
                  <c:v>45582</c:v>
                </c:pt>
                <c:pt idx="299">
                  <c:v>45583</c:v>
                </c:pt>
                <c:pt idx="300">
                  <c:v>45586</c:v>
                </c:pt>
                <c:pt idx="301">
                  <c:v>45587</c:v>
                </c:pt>
                <c:pt idx="302">
                  <c:v>45588</c:v>
                </c:pt>
                <c:pt idx="303">
                  <c:v>45589</c:v>
                </c:pt>
                <c:pt idx="304">
                  <c:v>45590</c:v>
                </c:pt>
                <c:pt idx="305">
                  <c:v>45593</c:v>
                </c:pt>
                <c:pt idx="306">
                  <c:v>45594</c:v>
                </c:pt>
                <c:pt idx="307">
                  <c:v>45595</c:v>
                </c:pt>
                <c:pt idx="308">
                  <c:v>45596</c:v>
                </c:pt>
                <c:pt idx="309">
                  <c:v>45597</c:v>
                </c:pt>
                <c:pt idx="310">
                  <c:v>45600</c:v>
                </c:pt>
                <c:pt idx="311">
                  <c:v>45601</c:v>
                </c:pt>
                <c:pt idx="312">
                  <c:v>45602</c:v>
                </c:pt>
                <c:pt idx="313">
                  <c:v>45603</c:v>
                </c:pt>
                <c:pt idx="314">
                  <c:v>45604</c:v>
                </c:pt>
                <c:pt idx="315">
                  <c:v>45607</c:v>
                </c:pt>
                <c:pt idx="316">
                  <c:v>45608</c:v>
                </c:pt>
                <c:pt idx="317">
                  <c:v>45609</c:v>
                </c:pt>
                <c:pt idx="318">
                  <c:v>45610</c:v>
                </c:pt>
                <c:pt idx="319">
                  <c:v>45611</c:v>
                </c:pt>
                <c:pt idx="320">
                  <c:v>45614</c:v>
                </c:pt>
                <c:pt idx="321">
                  <c:v>45615</c:v>
                </c:pt>
                <c:pt idx="322">
                  <c:v>45616</c:v>
                </c:pt>
                <c:pt idx="323">
                  <c:v>45617</c:v>
                </c:pt>
                <c:pt idx="324">
                  <c:v>45618</c:v>
                </c:pt>
                <c:pt idx="325">
                  <c:v>45621</c:v>
                </c:pt>
                <c:pt idx="326">
                  <c:v>45622</c:v>
                </c:pt>
                <c:pt idx="327">
                  <c:v>45623</c:v>
                </c:pt>
                <c:pt idx="328">
                  <c:v>45624</c:v>
                </c:pt>
                <c:pt idx="329">
                  <c:v>45625</c:v>
                </c:pt>
                <c:pt idx="330">
                  <c:v>45628</c:v>
                </c:pt>
                <c:pt idx="331">
                  <c:v>45629</c:v>
                </c:pt>
                <c:pt idx="332">
                  <c:v>45630</c:v>
                </c:pt>
                <c:pt idx="333">
                  <c:v>45631</c:v>
                </c:pt>
                <c:pt idx="334">
                  <c:v>45632</c:v>
                </c:pt>
                <c:pt idx="335">
                  <c:v>45635</c:v>
                </c:pt>
                <c:pt idx="336">
                  <c:v>45636</c:v>
                </c:pt>
                <c:pt idx="337">
                  <c:v>45637</c:v>
                </c:pt>
                <c:pt idx="338">
                  <c:v>45638</c:v>
                </c:pt>
                <c:pt idx="339">
                  <c:v>45639</c:v>
                </c:pt>
                <c:pt idx="340">
                  <c:v>45642</c:v>
                </c:pt>
                <c:pt idx="341">
                  <c:v>45643</c:v>
                </c:pt>
                <c:pt idx="342">
                  <c:v>45644</c:v>
                </c:pt>
                <c:pt idx="343">
                  <c:v>45645</c:v>
                </c:pt>
                <c:pt idx="344">
                  <c:v>45646</c:v>
                </c:pt>
                <c:pt idx="345">
                  <c:v>45649</c:v>
                </c:pt>
                <c:pt idx="346">
                  <c:v>45650</c:v>
                </c:pt>
                <c:pt idx="347">
                  <c:v>45651</c:v>
                </c:pt>
                <c:pt idx="348">
                  <c:v>45652</c:v>
                </c:pt>
                <c:pt idx="349">
                  <c:v>45653</c:v>
                </c:pt>
                <c:pt idx="350">
                  <c:v>45656</c:v>
                </c:pt>
                <c:pt idx="351">
                  <c:v>45657</c:v>
                </c:pt>
                <c:pt idx="352">
                  <c:v>45659</c:v>
                </c:pt>
                <c:pt idx="353">
                  <c:v>45660</c:v>
                </c:pt>
                <c:pt idx="354">
                  <c:v>45663</c:v>
                </c:pt>
                <c:pt idx="355">
                  <c:v>45664</c:v>
                </c:pt>
                <c:pt idx="356">
                  <c:v>45665</c:v>
                </c:pt>
                <c:pt idx="357">
                  <c:v>45666</c:v>
                </c:pt>
                <c:pt idx="358">
                  <c:v>45667</c:v>
                </c:pt>
                <c:pt idx="359">
                  <c:v>45670</c:v>
                </c:pt>
                <c:pt idx="360">
                  <c:v>45671</c:v>
                </c:pt>
                <c:pt idx="361">
                  <c:v>45672</c:v>
                </c:pt>
                <c:pt idx="362">
                  <c:v>45673</c:v>
                </c:pt>
                <c:pt idx="363">
                  <c:v>45674</c:v>
                </c:pt>
                <c:pt idx="364">
                  <c:v>45677</c:v>
                </c:pt>
                <c:pt idx="365">
                  <c:v>45678</c:v>
                </c:pt>
                <c:pt idx="366">
                  <c:v>45679</c:v>
                </c:pt>
                <c:pt idx="367">
                  <c:v>45680</c:v>
                </c:pt>
                <c:pt idx="368">
                  <c:v>45681</c:v>
                </c:pt>
                <c:pt idx="369">
                  <c:v>45684</c:v>
                </c:pt>
                <c:pt idx="370">
                  <c:v>45693</c:v>
                </c:pt>
                <c:pt idx="371">
                  <c:v>45694</c:v>
                </c:pt>
                <c:pt idx="372">
                  <c:v>45695</c:v>
                </c:pt>
                <c:pt idx="373">
                  <c:v>45698</c:v>
                </c:pt>
                <c:pt idx="374">
                  <c:v>45699</c:v>
                </c:pt>
                <c:pt idx="375">
                  <c:v>45700</c:v>
                </c:pt>
                <c:pt idx="376">
                  <c:v>45701</c:v>
                </c:pt>
                <c:pt idx="377">
                  <c:v>45702</c:v>
                </c:pt>
                <c:pt idx="378">
                  <c:v>45705</c:v>
                </c:pt>
                <c:pt idx="379">
                  <c:v>45706</c:v>
                </c:pt>
                <c:pt idx="380">
                  <c:v>45707</c:v>
                </c:pt>
                <c:pt idx="381">
                  <c:v>45708</c:v>
                </c:pt>
                <c:pt idx="382">
                  <c:v>45709</c:v>
                </c:pt>
                <c:pt idx="383">
                  <c:v>45712</c:v>
                </c:pt>
                <c:pt idx="384">
                  <c:v>45713</c:v>
                </c:pt>
                <c:pt idx="385">
                  <c:v>45714</c:v>
                </c:pt>
                <c:pt idx="386">
                  <c:v>45715</c:v>
                </c:pt>
                <c:pt idx="387">
                  <c:v>45716</c:v>
                </c:pt>
                <c:pt idx="388">
                  <c:v>45719</c:v>
                </c:pt>
                <c:pt idx="389">
                  <c:v>45720</c:v>
                </c:pt>
                <c:pt idx="390">
                  <c:v>45721</c:v>
                </c:pt>
                <c:pt idx="391">
                  <c:v>45722</c:v>
                </c:pt>
                <c:pt idx="392">
                  <c:v>45723</c:v>
                </c:pt>
                <c:pt idx="393">
                  <c:v>45726</c:v>
                </c:pt>
                <c:pt idx="394">
                  <c:v>45727</c:v>
                </c:pt>
                <c:pt idx="395">
                  <c:v>45728</c:v>
                </c:pt>
                <c:pt idx="396">
                  <c:v>45729</c:v>
                </c:pt>
                <c:pt idx="397">
                  <c:v>45730</c:v>
                </c:pt>
                <c:pt idx="398">
                  <c:v>45733</c:v>
                </c:pt>
                <c:pt idx="399">
                  <c:v>45734</c:v>
                </c:pt>
                <c:pt idx="400">
                  <c:v>45735</c:v>
                </c:pt>
                <c:pt idx="401">
                  <c:v>45736</c:v>
                </c:pt>
                <c:pt idx="402">
                  <c:v>45737</c:v>
                </c:pt>
                <c:pt idx="403">
                  <c:v>45740</c:v>
                </c:pt>
                <c:pt idx="404">
                  <c:v>45741</c:v>
                </c:pt>
                <c:pt idx="405">
                  <c:v>45742</c:v>
                </c:pt>
                <c:pt idx="406">
                  <c:v>45743</c:v>
                </c:pt>
                <c:pt idx="407">
                  <c:v>45744</c:v>
                </c:pt>
                <c:pt idx="408">
                  <c:v>45747</c:v>
                </c:pt>
                <c:pt idx="409">
                  <c:v>45748</c:v>
                </c:pt>
                <c:pt idx="410">
                  <c:v>45749</c:v>
                </c:pt>
                <c:pt idx="411">
                  <c:v>45750</c:v>
                </c:pt>
                <c:pt idx="412">
                  <c:v>45754</c:v>
                </c:pt>
                <c:pt idx="413">
                  <c:v>45755</c:v>
                </c:pt>
                <c:pt idx="414">
                  <c:v>45756</c:v>
                </c:pt>
                <c:pt idx="415">
                  <c:v>45757</c:v>
                </c:pt>
                <c:pt idx="416">
                  <c:v>45758</c:v>
                </c:pt>
                <c:pt idx="417">
                  <c:v>45761</c:v>
                </c:pt>
                <c:pt idx="418">
                  <c:v>45762</c:v>
                </c:pt>
                <c:pt idx="419">
                  <c:v>45763</c:v>
                </c:pt>
                <c:pt idx="420">
                  <c:v>45764</c:v>
                </c:pt>
                <c:pt idx="421">
                  <c:v>45765</c:v>
                </c:pt>
                <c:pt idx="422">
                  <c:v>45768</c:v>
                </c:pt>
                <c:pt idx="423">
                  <c:v>45769</c:v>
                </c:pt>
                <c:pt idx="424">
                  <c:v>45770</c:v>
                </c:pt>
                <c:pt idx="425">
                  <c:v>45771</c:v>
                </c:pt>
                <c:pt idx="426">
                  <c:v>45772</c:v>
                </c:pt>
                <c:pt idx="427">
                  <c:v>45775</c:v>
                </c:pt>
                <c:pt idx="428">
                  <c:v>45776</c:v>
                </c:pt>
                <c:pt idx="429">
                  <c:v>45777</c:v>
                </c:pt>
                <c:pt idx="430">
                  <c:v>45783</c:v>
                </c:pt>
                <c:pt idx="431">
                  <c:v>45784</c:v>
                </c:pt>
                <c:pt idx="432">
                  <c:v>45785</c:v>
                </c:pt>
                <c:pt idx="433">
                  <c:v>45786</c:v>
                </c:pt>
                <c:pt idx="434">
                  <c:v>45789</c:v>
                </c:pt>
                <c:pt idx="435">
                  <c:v>45790</c:v>
                </c:pt>
                <c:pt idx="436">
                  <c:v>45791</c:v>
                </c:pt>
                <c:pt idx="437">
                  <c:v>45792</c:v>
                </c:pt>
                <c:pt idx="438">
                  <c:v>45793</c:v>
                </c:pt>
                <c:pt idx="439">
                  <c:v>45796</c:v>
                </c:pt>
                <c:pt idx="440">
                  <c:v>45797</c:v>
                </c:pt>
                <c:pt idx="441">
                  <c:v>45798</c:v>
                </c:pt>
                <c:pt idx="442">
                  <c:v>45799</c:v>
                </c:pt>
                <c:pt idx="443">
                  <c:v>45800</c:v>
                </c:pt>
                <c:pt idx="444">
                  <c:v>45803</c:v>
                </c:pt>
                <c:pt idx="445">
                  <c:v>45804</c:v>
                </c:pt>
                <c:pt idx="446">
                  <c:v>45805</c:v>
                </c:pt>
                <c:pt idx="447">
                  <c:v>45806</c:v>
                </c:pt>
                <c:pt idx="448">
                  <c:v>45807</c:v>
                </c:pt>
                <c:pt idx="449">
                  <c:v>45811</c:v>
                </c:pt>
                <c:pt idx="450">
                  <c:v>45812</c:v>
                </c:pt>
                <c:pt idx="451">
                  <c:v>45813</c:v>
                </c:pt>
                <c:pt idx="452">
                  <c:v>45814</c:v>
                </c:pt>
                <c:pt idx="453">
                  <c:v>45817</c:v>
                </c:pt>
                <c:pt idx="454">
                  <c:v>45818</c:v>
                </c:pt>
                <c:pt idx="455">
                  <c:v>45819</c:v>
                </c:pt>
                <c:pt idx="456">
                  <c:v>45820</c:v>
                </c:pt>
                <c:pt idx="457">
                  <c:v>45821</c:v>
                </c:pt>
                <c:pt idx="458">
                  <c:v>45824</c:v>
                </c:pt>
                <c:pt idx="459">
                  <c:v>45825</c:v>
                </c:pt>
                <c:pt idx="460">
                  <c:v>45826</c:v>
                </c:pt>
                <c:pt idx="461">
                  <c:v>45827</c:v>
                </c:pt>
                <c:pt idx="462">
                  <c:v>45828</c:v>
                </c:pt>
                <c:pt idx="463">
                  <c:v>45831</c:v>
                </c:pt>
                <c:pt idx="464">
                  <c:v>45832</c:v>
                </c:pt>
                <c:pt idx="465">
                  <c:v>45833</c:v>
                </c:pt>
                <c:pt idx="466">
                  <c:v>45834</c:v>
                </c:pt>
                <c:pt idx="467">
                  <c:v>45835</c:v>
                </c:pt>
                <c:pt idx="468">
                  <c:v>45838</c:v>
                </c:pt>
                <c:pt idx="469">
                  <c:v>45839</c:v>
                </c:pt>
                <c:pt idx="470">
                  <c:v>45840</c:v>
                </c:pt>
                <c:pt idx="471">
                  <c:v>45841</c:v>
                </c:pt>
                <c:pt idx="472">
                  <c:v>45842</c:v>
                </c:pt>
                <c:pt idx="473">
                  <c:v>45845</c:v>
                </c:pt>
                <c:pt idx="474">
                  <c:v>45846</c:v>
                </c:pt>
                <c:pt idx="475">
                  <c:v>45847</c:v>
                </c:pt>
                <c:pt idx="476">
                  <c:v>45848</c:v>
                </c:pt>
                <c:pt idx="477">
                  <c:v>45849</c:v>
                </c:pt>
                <c:pt idx="478">
                  <c:v>45852</c:v>
                </c:pt>
                <c:pt idx="479">
                  <c:v>45853</c:v>
                </c:pt>
                <c:pt idx="480">
                  <c:v>45854</c:v>
                </c:pt>
                <c:pt idx="481">
                  <c:v>45855</c:v>
                </c:pt>
                <c:pt idx="482">
                  <c:v>45856</c:v>
                </c:pt>
                <c:pt idx="483">
                  <c:v>45859</c:v>
                </c:pt>
                <c:pt idx="484">
                  <c:v>45860</c:v>
                </c:pt>
                <c:pt idx="485">
                  <c:v>45861</c:v>
                </c:pt>
                <c:pt idx="486">
                  <c:v>45862</c:v>
                </c:pt>
                <c:pt idx="487">
                  <c:v>45863</c:v>
                </c:pt>
                <c:pt idx="488">
                  <c:v>45866</c:v>
                </c:pt>
                <c:pt idx="489">
                  <c:v>45867</c:v>
                </c:pt>
                <c:pt idx="490">
                  <c:v>45868</c:v>
                </c:pt>
                <c:pt idx="491">
                  <c:v>45869</c:v>
                </c:pt>
                <c:pt idx="492">
                  <c:v>45870</c:v>
                </c:pt>
                <c:pt idx="493">
                  <c:v>45873</c:v>
                </c:pt>
                <c:pt idx="494">
                  <c:v>45874</c:v>
                </c:pt>
                <c:pt idx="495">
                  <c:v>45875</c:v>
                </c:pt>
                <c:pt idx="496">
                  <c:v>45876</c:v>
                </c:pt>
                <c:pt idx="497">
                  <c:v>45877</c:v>
                </c:pt>
                <c:pt idx="498">
                  <c:v>45880</c:v>
                </c:pt>
                <c:pt idx="499">
                  <c:v>45881</c:v>
                </c:pt>
                <c:pt idx="500">
                  <c:v>45882</c:v>
                </c:pt>
                <c:pt idx="501">
                  <c:v>45883</c:v>
                </c:pt>
                <c:pt idx="502">
                  <c:v>45884</c:v>
                </c:pt>
                <c:pt idx="503">
                  <c:v>45887</c:v>
                </c:pt>
                <c:pt idx="504">
                  <c:v>45888</c:v>
                </c:pt>
                <c:pt idx="505">
                  <c:v>45889</c:v>
                </c:pt>
                <c:pt idx="506">
                  <c:v>45890</c:v>
                </c:pt>
                <c:pt idx="507">
                  <c:v>45891</c:v>
                </c:pt>
                <c:pt idx="508">
                  <c:v>45894</c:v>
                </c:pt>
                <c:pt idx="509">
                  <c:v>45895</c:v>
                </c:pt>
                <c:pt idx="510">
                  <c:v>45896</c:v>
                </c:pt>
                <c:pt idx="511">
                  <c:v>45897</c:v>
                </c:pt>
                <c:pt idx="512">
                  <c:v>45898</c:v>
                </c:pt>
                <c:pt idx="513">
                  <c:v>45901</c:v>
                </c:pt>
                <c:pt idx="514">
                  <c:v>45902</c:v>
                </c:pt>
                <c:pt idx="515">
                  <c:v>45903</c:v>
                </c:pt>
                <c:pt idx="516">
                  <c:v>45904</c:v>
                </c:pt>
                <c:pt idx="517">
                  <c:v>45905</c:v>
                </c:pt>
                <c:pt idx="518">
                  <c:v>45908</c:v>
                </c:pt>
                <c:pt idx="519">
                  <c:v>45909</c:v>
                </c:pt>
                <c:pt idx="520">
                  <c:v>45910</c:v>
                </c:pt>
                <c:pt idx="521">
                  <c:v>45911</c:v>
                </c:pt>
                <c:pt idx="522">
                  <c:v>45912</c:v>
                </c:pt>
                <c:pt idx="523">
                  <c:v>45915</c:v>
                </c:pt>
                <c:pt idx="524">
                  <c:v>45916</c:v>
                </c:pt>
                <c:pt idx="525">
                  <c:v>45917</c:v>
                </c:pt>
                <c:pt idx="526">
                  <c:v>45918</c:v>
                </c:pt>
                <c:pt idx="527">
                  <c:v>45919</c:v>
                </c:pt>
                <c:pt idx="528">
                  <c:v>45922</c:v>
                </c:pt>
                <c:pt idx="529">
                  <c:v>45923</c:v>
                </c:pt>
                <c:pt idx="530">
                  <c:v>45924</c:v>
                </c:pt>
                <c:pt idx="531">
                  <c:v>45925</c:v>
                </c:pt>
                <c:pt idx="532">
                  <c:v>45926</c:v>
                </c:pt>
                <c:pt idx="533">
                  <c:v>45929</c:v>
                </c:pt>
                <c:pt idx="534">
                  <c:v>45930</c:v>
                </c:pt>
                <c:pt idx="535">
                  <c:v>45931</c:v>
                </c:pt>
                <c:pt idx="536">
                  <c:v>45932</c:v>
                </c:pt>
                <c:pt idx="537">
                  <c:v>45933</c:v>
                </c:pt>
                <c:pt idx="538">
                  <c:v>45936</c:v>
                </c:pt>
                <c:pt idx="539">
                  <c:v>45937</c:v>
                </c:pt>
                <c:pt idx="540">
                  <c:v>45938</c:v>
                </c:pt>
                <c:pt idx="541">
                  <c:v>45939</c:v>
                </c:pt>
                <c:pt idx="542">
                  <c:v>45940</c:v>
                </c:pt>
                <c:pt idx="543">
                  <c:v>45943</c:v>
                </c:pt>
                <c:pt idx="544">
                  <c:v>45944</c:v>
                </c:pt>
                <c:pt idx="545">
                  <c:v>45945</c:v>
                </c:pt>
                <c:pt idx="546">
                  <c:v>45946</c:v>
                </c:pt>
                <c:pt idx="547">
                  <c:v>45947</c:v>
                </c:pt>
                <c:pt idx="548">
                  <c:v>45950</c:v>
                </c:pt>
                <c:pt idx="549">
                  <c:v>45951</c:v>
                </c:pt>
                <c:pt idx="550">
                  <c:v>45952</c:v>
                </c:pt>
                <c:pt idx="551">
                  <c:v>45953</c:v>
                </c:pt>
                <c:pt idx="552">
                  <c:v>45954</c:v>
                </c:pt>
                <c:pt idx="553">
                  <c:v>45957</c:v>
                </c:pt>
                <c:pt idx="554">
                  <c:v>45958</c:v>
                </c:pt>
                <c:pt idx="555">
                  <c:v>45959</c:v>
                </c:pt>
                <c:pt idx="556">
                  <c:v>45960</c:v>
                </c:pt>
                <c:pt idx="557">
                  <c:v>45961</c:v>
                </c:pt>
                <c:pt idx="558">
                  <c:v>45964</c:v>
                </c:pt>
                <c:pt idx="559">
                  <c:v>45965</c:v>
                </c:pt>
                <c:pt idx="560">
                  <c:v>45966</c:v>
                </c:pt>
                <c:pt idx="561">
                  <c:v>45967</c:v>
                </c:pt>
                <c:pt idx="562">
                  <c:v>45968</c:v>
                </c:pt>
                <c:pt idx="563">
                  <c:v>45971</c:v>
                </c:pt>
                <c:pt idx="564">
                  <c:v>45972</c:v>
                </c:pt>
                <c:pt idx="565">
                  <c:v>45973</c:v>
                </c:pt>
                <c:pt idx="566">
                  <c:v>45974</c:v>
                </c:pt>
                <c:pt idx="567">
                  <c:v>45975</c:v>
                </c:pt>
                <c:pt idx="568">
                  <c:v>45978</c:v>
                </c:pt>
                <c:pt idx="569">
                  <c:v>45979</c:v>
                </c:pt>
                <c:pt idx="570">
                  <c:v>45980</c:v>
                </c:pt>
                <c:pt idx="571">
                  <c:v>45981</c:v>
                </c:pt>
                <c:pt idx="572">
                  <c:v>45982</c:v>
                </c:pt>
                <c:pt idx="573">
                  <c:v>45985</c:v>
                </c:pt>
                <c:pt idx="574">
                  <c:v>45986</c:v>
                </c:pt>
                <c:pt idx="575">
                  <c:v>45987</c:v>
                </c:pt>
                <c:pt idx="576">
                  <c:v>45988</c:v>
                </c:pt>
                <c:pt idx="577">
                  <c:v>45989</c:v>
                </c:pt>
                <c:pt idx="578">
                  <c:v>45992</c:v>
                </c:pt>
                <c:pt idx="579">
                  <c:v>45993</c:v>
                </c:pt>
                <c:pt idx="580">
                  <c:v>45994</c:v>
                </c:pt>
                <c:pt idx="581">
                  <c:v>45995</c:v>
                </c:pt>
                <c:pt idx="582">
                  <c:v>45996</c:v>
                </c:pt>
                <c:pt idx="583">
                  <c:v>45999</c:v>
                </c:pt>
                <c:pt idx="584">
                  <c:v>46000</c:v>
                </c:pt>
                <c:pt idx="585">
                  <c:v>46001</c:v>
                </c:pt>
                <c:pt idx="586">
                  <c:v>46002</c:v>
                </c:pt>
                <c:pt idx="587">
                  <c:v>46003</c:v>
                </c:pt>
                <c:pt idx="588">
                  <c:v>46006</c:v>
                </c:pt>
                <c:pt idx="589">
                  <c:v>46007</c:v>
                </c:pt>
                <c:pt idx="590">
                  <c:v>46008</c:v>
                </c:pt>
                <c:pt idx="591">
                  <c:v>46009</c:v>
                </c:pt>
                <c:pt idx="592">
                  <c:v>46010</c:v>
                </c:pt>
                <c:pt idx="593">
                  <c:v>46013</c:v>
                </c:pt>
                <c:pt idx="594">
                  <c:v>46014</c:v>
                </c:pt>
                <c:pt idx="595">
                  <c:v>46015</c:v>
                </c:pt>
                <c:pt idx="596">
                  <c:v>46016</c:v>
                </c:pt>
                <c:pt idx="597">
                  <c:v>46017</c:v>
                </c:pt>
                <c:pt idx="598">
                  <c:v>46020</c:v>
                </c:pt>
                <c:pt idx="599">
                  <c:v>46021</c:v>
                </c:pt>
                <c:pt idx="600">
                  <c:v>46022</c:v>
                </c:pt>
                <c:pt idx="601">
                  <c:v>46023</c:v>
                </c:pt>
                <c:pt idx="602">
                  <c:v>46024</c:v>
                </c:pt>
                <c:pt idx="603">
                  <c:v>46027</c:v>
                </c:pt>
                <c:pt idx="604">
                  <c:v>46028</c:v>
                </c:pt>
                <c:pt idx="605">
                  <c:v>46029</c:v>
                </c:pt>
                <c:pt idx="606">
                  <c:v>46030</c:v>
                </c:pt>
                <c:pt idx="607">
                  <c:v>46031</c:v>
                </c:pt>
                <c:pt idx="608">
                  <c:v>46034</c:v>
                </c:pt>
                <c:pt idx="609">
                  <c:v>46035</c:v>
                </c:pt>
                <c:pt idx="610">
                  <c:v>46036</c:v>
                </c:pt>
                <c:pt idx="611">
                  <c:v>46037</c:v>
                </c:pt>
                <c:pt idx="612">
                  <c:v>46038</c:v>
                </c:pt>
                <c:pt idx="613">
                  <c:v>46041</c:v>
                </c:pt>
                <c:pt idx="614">
                  <c:v>46042</c:v>
                </c:pt>
                <c:pt idx="615">
                  <c:v>46043</c:v>
                </c:pt>
                <c:pt idx="616">
                  <c:v>46044</c:v>
                </c:pt>
                <c:pt idx="617">
                  <c:v>46045</c:v>
                </c:pt>
                <c:pt idx="618">
                  <c:v>46048</c:v>
                </c:pt>
                <c:pt idx="619">
                  <c:v>46049</c:v>
                </c:pt>
                <c:pt idx="620">
                  <c:v>46050</c:v>
                </c:pt>
                <c:pt idx="621">
                  <c:v>46051</c:v>
                </c:pt>
                <c:pt idx="622">
                  <c:v>46052</c:v>
                </c:pt>
                <c:pt idx="623">
                  <c:v>46055</c:v>
                </c:pt>
                <c:pt idx="624">
                  <c:v>46056</c:v>
                </c:pt>
                <c:pt idx="625">
                  <c:v>46057</c:v>
                </c:pt>
                <c:pt idx="626">
                  <c:v>46058</c:v>
                </c:pt>
                <c:pt idx="627">
                  <c:v>46059</c:v>
                </c:pt>
                <c:pt idx="628">
                  <c:v>46062</c:v>
                </c:pt>
                <c:pt idx="629">
                  <c:v>46063</c:v>
                </c:pt>
                <c:pt idx="630">
                  <c:v>46064</c:v>
                </c:pt>
                <c:pt idx="631">
                  <c:v>46065</c:v>
                </c:pt>
                <c:pt idx="632">
                  <c:v>46066</c:v>
                </c:pt>
                <c:pt idx="633">
                  <c:v>46069</c:v>
                </c:pt>
                <c:pt idx="634">
                  <c:v>46070</c:v>
                </c:pt>
                <c:pt idx="635">
                  <c:v>46071</c:v>
                </c:pt>
                <c:pt idx="636">
                  <c:v>46072</c:v>
                </c:pt>
                <c:pt idx="637">
                  <c:v>46073</c:v>
                </c:pt>
                <c:pt idx="638">
                  <c:v>46076</c:v>
                </c:pt>
                <c:pt idx="639">
                  <c:v>46077</c:v>
                </c:pt>
                <c:pt idx="640">
                  <c:v>46078</c:v>
                </c:pt>
                <c:pt idx="641">
                  <c:v>46079</c:v>
                </c:pt>
                <c:pt idx="642">
                  <c:v>46080</c:v>
                </c:pt>
                <c:pt idx="643">
                  <c:v>46083</c:v>
                </c:pt>
                <c:pt idx="644">
                  <c:v>46084</c:v>
                </c:pt>
                <c:pt idx="645">
                  <c:v>46085</c:v>
                </c:pt>
                <c:pt idx="646">
                  <c:v>46086</c:v>
                </c:pt>
                <c:pt idx="647">
                  <c:v>46087</c:v>
                </c:pt>
                <c:pt idx="648">
                  <c:v>46090</c:v>
                </c:pt>
                <c:pt idx="649">
                  <c:v>46091</c:v>
                </c:pt>
                <c:pt idx="650">
                  <c:v>46092</c:v>
                </c:pt>
                <c:pt idx="651">
                  <c:v>46093</c:v>
                </c:pt>
                <c:pt idx="652">
                  <c:v>46094</c:v>
                </c:pt>
                <c:pt idx="653">
                  <c:v>46097</c:v>
                </c:pt>
                <c:pt idx="654">
                  <c:v>46098</c:v>
                </c:pt>
                <c:pt idx="655">
                  <c:v>46099</c:v>
                </c:pt>
                <c:pt idx="656">
                  <c:v>46100</c:v>
                </c:pt>
                <c:pt idx="657">
                  <c:v>46101</c:v>
                </c:pt>
                <c:pt idx="658">
                  <c:v>46104</c:v>
                </c:pt>
                <c:pt idx="659">
                  <c:v>46105</c:v>
                </c:pt>
                <c:pt idx="660">
                  <c:v>46106</c:v>
                </c:pt>
                <c:pt idx="661">
                  <c:v>46107</c:v>
                </c:pt>
                <c:pt idx="662">
                  <c:v>46108</c:v>
                </c:pt>
                <c:pt idx="663">
                  <c:v>46111</c:v>
                </c:pt>
                <c:pt idx="664">
                  <c:v>46112</c:v>
                </c:pt>
                <c:pt idx="665">
                  <c:v>46113</c:v>
                </c:pt>
                <c:pt idx="666">
                  <c:v>46114</c:v>
                </c:pt>
                <c:pt idx="667">
                  <c:v>46115</c:v>
                </c:pt>
                <c:pt idx="668">
                  <c:v>46118</c:v>
                </c:pt>
                <c:pt idx="669">
                  <c:v>46119</c:v>
                </c:pt>
                <c:pt idx="670">
                  <c:v>46120</c:v>
                </c:pt>
                <c:pt idx="671">
                  <c:v>46121</c:v>
                </c:pt>
                <c:pt idx="672">
                  <c:v>46122</c:v>
                </c:pt>
                <c:pt idx="673">
                  <c:v>46125</c:v>
                </c:pt>
                <c:pt idx="674">
                  <c:v>46126</c:v>
                </c:pt>
                <c:pt idx="675">
                  <c:v>46127</c:v>
                </c:pt>
                <c:pt idx="676">
                  <c:v>46128</c:v>
                </c:pt>
                <c:pt idx="677">
                  <c:v>46129</c:v>
                </c:pt>
                <c:pt idx="678">
                  <c:v>46132</c:v>
                </c:pt>
                <c:pt idx="679">
                  <c:v>46133</c:v>
                </c:pt>
                <c:pt idx="680">
                  <c:v>46134</c:v>
                </c:pt>
                <c:pt idx="681">
                  <c:v>46135</c:v>
                </c:pt>
                <c:pt idx="682">
                  <c:v>46136</c:v>
                </c:pt>
                <c:pt idx="683">
                  <c:v>46139</c:v>
                </c:pt>
                <c:pt idx="684">
                  <c:v>46140</c:v>
                </c:pt>
                <c:pt idx="685">
                  <c:v>46141</c:v>
                </c:pt>
                <c:pt idx="686">
                  <c:v>46142</c:v>
                </c:pt>
                <c:pt idx="687">
                  <c:v>46143</c:v>
                </c:pt>
                <c:pt idx="688">
                  <c:v>46146</c:v>
                </c:pt>
                <c:pt idx="689">
                  <c:v>46147</c:v>
                </c:pt>
                <c:pt idx="690">
                  <c:v>46148</c:v>
                </c:pt>
                <c:pt idx="691">
                  <c:v>46149</c:v>
                </c:pt>
                <c:pt idx="692">
                  <c:v>46150</c:v>
                </c:pt>
                <c:pt idx="693">
                  <c:v>46153</c:v>
                </c:pt>
                <c:pt idx="694">
                  <c:v>46154</c:v>
                </c:pt>
                <c:pt idx="695">
                  <c:v>46155</c:v>
                </c:pt>
                <c:pt idx="696">
                  <c:v>46156</c:v>
                </c:pt>
                <c:pt idx="697">
                  <c:v>46157</c:v>
                </c:pt>
                <c:pt idx="698">
                  <c:v>46160</c:v>
                </c:pt>
                <c:pt idx="699">
                  <c:v>46161</c:v>
                </c:pt>
                <c:pt idx="700">
                  <c:v>46162</c:v>
                </c:pt>
                <c:pt idx="701">
                  <c:v>46163</c:v>
                </c:pt>
                <c:pt idx="702">
                  <c:v>46164</c:v>
                </c:pt>
                <c:pt idx="703">
                  <c:v>46167</c:v>
                </c:pt>
                <c:pt idx="704">
                  <c:v>46168</c:v>
                </c:pt>
                <c:pt idx="705">
                  <c:v>46169</c:v>
                </c:pt>
                <c:pt idx="706">
                  <c:v>46170</c:v>
                </c:pt>
                <c:pt idx="707">
                  <c:v>46171</c:v>
                </c:pt>
                <c:pt idx="708">
                  <c:v>46174</c:v>
                </c:pt>
                <c:pt idx="709">
                  <c:v>46175</c:v>
                </c:pt>
                <c:pt idx="710">
                  <c:v>46176</c:v>
                </c:pt>
                <c:pt idx="711">
                  <c:v>46177</c:v>
                </c:pt>
                <c:pt idx="712">
                  <c:v>46178</c:v>
                </c:pt>
                <c:pt idx="713">
                  <c:v>46181</c:v>
                </c:pt>
                <c:pt idx="714">
                  <c:v>46182</c:v>
                </c:pt>
                <c:pt idx="715">
                  <c:v>46183</c:v>
                </c:pt>
                <c:pt idx="716">
                  <c:v>46184</c:v>
                </c:pt>
                <c:pt idx="717">
                  <c:v>46185</c:v>
                </c:pt>
                <c:pt idx="718">
                  <c:v>46188</c:v>
                </c:pt>
                <c:pt idx="719">
                  <c:v>46189</c:v>
                </c:pt>
                <c:pt idx="720">
                  <c:v>46190</c:v>
                </c:pt>
                <c:pt idx="721">
                  <c:v>46191</c:v>
                </c:pt>
                <c:pt idx="722">
                  <c:v>46192</c:v>
                </c:pt>
                <c:pt idx="723">
                  <c:v>46195</c:v>
                </c:pt>
                <c:pt idx="724">
                  <c:v>46196</c:v>
                </c:pt>
                <c:pt idx="725">
                  <c:v>46197</c:v>
                </c:pt>
                <c:pt idx="726">
                  <c:v>46198</c:v>
                </c:pt>
                <c:pt idx="727">
                  <c:v>46199</c:v>
                </c:pt>
                <c:pt idx="728">
                  <c:v>46202</c:v>
                </c:pt>
                <c:pt idx="729">
                  <c:v>46203</c:v>
                </c:pt>
                <c:pt idx="730">
                  <c:v>46204</c:v>
                </c:pt>
                <c:pt idx="731">
                  <c:v>46205</c:v>
                </c:pt>
                <c:pt idx="732">
                  <c:v>46206</c:v>
                </c:pt>
                <c:pt idx="733">
                  <c:v>46209</c:v>
                </c:pt>
                <c:pt idx="734">
                  <c:v>46210</c:v>
                </c:pt>
                <c:pt idx="735">
                  <c:v>46211</c:v>
                </c:pt>
                <c:pt idx="736">
                  <c:v>46212</c:v>
                </c:pt>
                <c:pt idx="737">
                  <c:v>46213</c:v>
                </c:pt>
                <c:pt idx="738">
                  <c:v>46216</c:v>
                </c:pt>
                <c:pt idx="739">
                  <c:v>46217</c:v>
                </c:pt>
                <c:pt idx="740">
                  <c:v>46218</c:v>
                </c:pt>
                <c:pt idx="741">
                  <c:v>46219</c:v>
                </c:pt>
                <c:pt idx="742">
                  <c:v>46220</c:v>
                </c:pt>
                <c:pt idx="743">
                  <c:v>46223</c:v>
                </c:pt>
                <c:pt idx="744">
                  <c:v>46224</c:v>
                </c:pt>
                <c:pt idx="745">
                  <c:v>46225</c:v>
                </c:pt>
                <c:pt idx="746">
                  <c:v>46226</c:v>
                </c:pt>
                <c:pt idx="747">
                  <c:v>46227</c:v>
                </c:pt>
                <c:pt idx="748">
                  <c:v>46230</c:v>
                </c:pt>
                <c:pt idx="749">
                  <c:v>46231</c:v>
                </c:pt>
                <c:pt idx="750">
                  <c:v>46232</c:v>
                </c:pt>
                <c:pt idx="751">
                  <c:v>46233</c:v>
                </c:pt>
                <c:pt idx="752">
                  <c:v>46234</c:v>
                </c:pt>
                <c:pt idx="753">
                  <c:v>46237</c:v>
                </c:pt>
                <c:pt idx="754">
                  <c:v>46238</c:v>
                </c:pt>
                <c:pt idx="755">
                  <c:v>46239</c:v>
                </c:pt>
                <c:pt idx="756">
                  <c:v>46240</c:v>
                </c:pt>
                <c:pt idx="757">
                  <c:v>46241</c:v>
                </c:pt>
                <c:pt idx="758">
                  <c:v>46244</c:v>
                </c:pt>
                <c:pt idx="759">
                  <c:v>46245</c:v>
                </c:pt>
                <c:pt idx="760">
                  <c:v>46246</c:v>
                </c:pt>
                <c:pt idx="761">
                  <c:v>46247</c:v>
                </c:pt>
                <c:pt idx="762">
                  <c:v>46248</c:v>
                </c:pt>
                <c:pt idx="763">
                  <c:v>46251</c:v>
                </c:pt>
                <c:pt idx="764">
                  <c:v>46252</c:v>
                </c:pt>
                <c:pt idx="765">
                  <c:v>46253</c:v>
                </c:pt>
                <c:pt idx="766">
                  <c:v>46254</c:v>
                </c:pt>
                <c:pt idx="767">
                  <c:v>46255</c:v>
                </c:pt>
                <c:pt idx="768">
                  <c:v>46258</c:v>
                </c:pt>
                <c:pt idx="769">
                  <c:v>46259</c:v>
                </c:pt>
                <c:pt idx="770">
                  <c:v>46260</c:v>
                </c:pt>
                <c:pt idx="771">
                  <c:v>46261</c:v>
                </c:pt>
                <c:pt idx="772">
                  <c:v>46262</c:v>
                </c:pt>
                <c:pt idx="773">
                  <c:v>46265</c:v>
                </c:pt>
                <c:pt idx="774">
                  <c:v>46266</c:v>
                </c:pt>
                <c:pt idx="775">
                  <c:v>46267</c:v>
                </c:pt>
                <c:pt idx="776">
                  <c:v>46268</c:v>
                </c:pt>
                <c:pt idx="777">
                  <c:v>46269</c:v>
                </c:pt>
                <c:pt idx="778">
                  <c:v>46272</c:v>
                </c:pt>
                <c:pt idx="779">
                  <c:v>46273</c:v>
                </c:pt>
                <c:pt idx="780">
                  <c:v>46274</c:v>
                </c:pt>
                <c:pt idx="781">
                  <c:v>46275</c:v>
                </c:pt>
                <c:pt idx="782">
                  <c:v>46276</c:v>
                </c:pt>
                <c:pt idx="783">
                  <c:v>46279</c:v>
                </c:pt>
                <c:pt idx="784">
                  <c:v>46280</c:v>
                </c:pt>
                <c:pt idx="785">
                  <c:v>46281</c:v>
                </c:pt>
                <c:pt idx="786">
                  <c:v>46282</c:v>
                </c:pt>
                <c:pt idx="787">
                  <c:v>46283</c:v>
                </c:pt>
                <c:pt idx="788">
                  <c:v>46286</c:v>
                </c:pt>
                <c:pt idx="789">
                  <c:v>46287</c:v>
                </c:pt>
                <c:pt idx="790">
                  <c:v>46288</c:v>
                </c:pt>
                <c:pt idx="791">
                  <c:v>46289</c:v>
                </c:pt>
                <c:pt idx="792">
                  <c:v>46290</c:v>
                </c:pt>
                <c:pt idx="793">
                  <c:v>46293</c:v>
                </c:pt>
                <c:pt idx="794">
                  <c:v>46294</c:v>
                </c:pt>
                <c:pt idx="795">
                  <c:v>46295</c:v>
                </c:pt>
                <c:pt idx="796">
                  <c:v>46296</c:v>
                </c:pt>
                <c:pt idx="797">
                  <c:v>46297</c:v>
                </c:pt>
                <c:pt idx="798">
                  <c:v>46300</c:v>
                </c:pt>
                <c:pt idx="799">
                  <c:v>46301</c:v>
                </c:pt>
                <c:pt idx="800">
                  <c:v>46302</c:v>
                </c:pt>
                <c:pt idx="801">
                  <c:v>46303</c:v>
                </c:pt>
                <c:pt idx="802">
                  <c:v>46304</c:v>
                </c:pt>
                <c:pt idx="803">
                  <c:v>46307</c:v>
                </c:pt>
                <c:pt idx="804">
                  <c:v>46308</c:v>
                </c:pt>
                <c:pt idx="805">
                  <c:v>46309</c:v>
                </c:pt>
                <c:pt idx="806">
                  <c:v>46310</c:v>
                </c:pt>
                <c:pt idx="807">
                  <c:v>46311</c:v>
                </c:pt>
                <c:pt idx="808">
                  <c:v>46314</c:v>
                </c:pt>
                <c:pt idx="809">
                  <c:v>46315</c:v>
                </c:pt>
                <c:pt idx="810">
                  <c:v>46316</c:v>
                </c:pt>
                <c:pt idx="811">
                  <c:v>46317</c:v>
                </c:pt>
                <c:pt idx="812">
                  <c:v>46318</c:v>
                </c:pt>
                <c:pt idx="813">
                  <c:v>46321</c:v>
                </c:pt>
                <c:pt idx="814">
                  <c:v>46322</c:v>
                </c:pt>
                <c:pt idx="815">
                  <c:v>46323</c:v>
                </c:pt>
                <c:pt idx="816">
                  <c:v>46324</c:v>
                </c:pt>
                <c:pt idx="817">
                  <c:v>46325</c:v>
                </c:pt>
                <c:pt idx="818">
                  <c:v>46328</c:v>
                </c:pt>
                <c:pt idx="819">
                  <c:v>46329</c:v>
                </c:pt>
                <c:pt idx="820">
                  <c:v>46330</c:v>
                </c:pt>
                <c:pt idx="821">
                  <c:v>46331</c:v>
                </c:pt>
                <c:pt idx="822">
                  <c:v>46332</c:v>
                </c:pt>
                <c:pt idx="823">
                  <c:v>46335</c:v>
                </c:pt>
                <c:pt idx="824">
                  <c:v>46336</c:v>
                </c:pt>
                <c:pt idx="825">
                  <c:v>46337</c:v>
                </c:pt>
                <c:pt idx="826">
                  <c:v>46338</c:v>
                </c:pt>
                <c:pt idx="827">
                  <c:v>46339</c:v>
                </c:pt>
                <c:pt idx="828">
                  <c:v>46342</c:v>
                </c:pt>
                <c:pt idx="829">
                  <c:v>46343</c:v>
                </c:pt>
                <c:pt idx="830">
                  <c:v>46344</c:v>
                </c:pt>
                <c:pt idx="831">
                  <c:v>46345</c:v>
                </c:pt>
                <c:pt idx="832">
                  <c:v>46346</c:v>
                </c:pt>
                <c:pt idx="833">
                  <c:v>46349</c:v>
                </c:pt>
                <c:pt idx="834">
                  <c:v>46350</c:v>
                </c:pt>
                <c:pt idx="835">
                  <c:v>46351</c:v>
                </c:pt>
                <c:pt idx="836">
                  <c:v>46352</c:v>
                </c:pt>
                <c:pt idx="837">
                  <c:v>46353</c:v>
                </c:pt>
                <c:pt idx="838">
                  <c:v>46356</c:v>
                </c:pt>
                <c:pt idx="839">
                  <c:v>46357</c:v>
                </c:pt>
                <c:pt idx="840">
                  <c:v>46358</c:v>
                </c:pt>
                <c:pt idx="841">
                  <c:v>46359</c:v>
                </c:pt>
                <c:pt idx="842">
                  <c:v>46360</c:v>
                </c:pt>
                <c:pt idx="843">
                  <c:v>46363</c:v>
                </c:pt>
                <c:pt idx="844">
                  <c:v>46364</c:v>
                </c:pt>
                <c:pt idx="845">
                  <c:v>46365</c:v>
                </c:pt>
                <c:pt idx="846">
                  <c:v>46366</c:v>
                </c:pt>
                <c:pt idx="847">
                  <c:v>46367</c:v>
                </c:pt>
                <c:pt idx="848">
                  <c:v>46370</c:v>
                </c:pt>
                <c:pt idx="849">
                  <c:v>46371</c:v>
                </c:pt>
                <c:pt idx="850">
                  <c:v>46372</c:v>
                </c:pt>
                <c:pt idx="851">
                  <c:v>46373</c:v>
                </c:pt>
                <c:pt idx="852">
                  <c:v>46374</c:v>
                </c:pt>
                <c:pt idx="853">
                  <c:v>46377</c:v>
                </c:pt>
                <c:pt idx="854">
                  <c:v>46378</c:v>
                </c:pt>
                <c:pt idx="855">
                  <c:v>46379</c:v>
                </c:pt>
                <c:pt idx="856">
                  <c:v>46380</c:v>
                </c:pt>
                <c:pt idx="857">
                  <c:v>46381</c:v>
                </c:pt>
                <c:pt idx="858">
                  <c:v>46384</c:v>
                </c:pt>
                <c:pt idx="859">
                  <c:v>46385</c:v>
                </c:pt>
                <c:pt idx="860">
                  <c:v>46386</c:v>
                </c:pt>
                <c:pt idx="861">
                  <c:v>46387</c:v>
                </c:pt>
                <c:pt idx="862">
                  <c:v>46388</c:v>
                </c:pt>
                <c:pt idx="863">
                  <c:v>46391</c:v>
                </c:pt>
                <c:pt idx="864">
                  <c:v>46392</c:v>
                </c:pt>
                <c:pt idx="865">
                  <c:v>46393</c:v>
                </c:pt>
                <c:pt idx="866">
                  <c:v>46394</c:v>
                </c:pt>
                <c:pt idx="867">
                  <c:v>46395</c:v>
                </c:pt>
                <c:pt idx="868">
                  <c:v>46398</c:v>
                </c:pt>
                <c:pt idx="869">
                  <c:v>46399</c:v>
                </c:pt>
                <c:pt idx="870">
                  <c:v>46400</c:v>
                </c:pt>
                <c:pt idx="871">
                  <c:v>46401</c:v>
                </c:pt>
                <c:pt idx="872">
                  <c:v>46402</c:v>
                </c:pt>
                <c:pt idx="873">
                  <c:v>46405</c:v>
                </c:pt>
                <c:pt idx="874">
                  <c:v>46406</c:v>
                </c:pt>
                <c:pt idx="875">
                  <c:v>46407</c:v>
                </c:pt>
                <c:pt idx="876">
                  <c:v>46408</c:v>
                </c:pt>
                <c:pt idx="877">
                  <c:v>46409</c:v>
                </c:pt>
                <c:pt idx="878">
                  <c:v>46412</c:v>
                </c:pt>
                <c:pt idx="879">
                  <c:v>46413</c:v>
                </c:pt>
                <c:pt idx="880">
                  <c:v>46414</c:v>
                </c:pt>
                <c:pt idx="881">
                  <c:v>46415</c:v>
                </c:pt>
                <c:pt idx="882">
                  <c:v>46416</c:v>
                </c:pt>
                <c:pt idx="883">
                  <c:v>46419</c:v>
                </c:pt>
                <c:pt idx="884">
                  <c:v>46420</c:v>
                </c:pt>
                <c:pt idx="885">
                  <c:v>46421</c:v>
                </c:pt>
                <c:pt idx="886">
                  <c:v>46422</c:v>
                </c:pt>
                <c:pt idx="887">
                  <c:v>46423</c:v>
                </c:pt>
                <c:pt idx="888">
                  <c:v>46426</c:v>
                </c:pt>
                <c:pt idx="889">
                  <c:v>46427</c:v>
                </c:pt>
                <c:pt idx="890">
                  <c:v>46428</c:v>
                </c:pt>
                <c:pt idx="891">
                  <c:v>46429</c:v>
                </c:pt>
                <c:pt idx="892">
                  <c:v>46430</c:v>
                </c:pt>
                <c:pt idx="893">
                  <c:v>46433</c:v>
                </c:pt>
                <c:pt idx="894">
                  <c:v>46434</c:v>
                </c:pt>
                <c:pt idx="895">
                  <c:v>46435</c:v>
                </c:pt>
                <c:pt idx="896">
                  <c:v>46436</c:v>
                </c:pt>
                <c:pt idx="897">
                  <c:v>46437</c:v>
                </c:pt>
                <c:pt idx="898">
                  <c:v>46440</c:v>
                </c:pt>
                <c:pt idx="899">
                  <c:v>46441</c:v>
                </c:pt>
                <c:pt idx="900">
                  <c:v>46442</c:v>
                </c:pt>
                <c:pt idx="901">
                  <c:v>46443</c:v>
                </c:pt>
                <c:pt idx="902">
                  <c:v>46444</c:v>
                </c:pt>
                <c:pt idx="903">
                  <c:v>46447</c:v>
                </c:pt>
                <c:pt idx="904">
                  <c:v>46448</c:v>
                </c:pt>
                <c:pt idx="905">
                  <c:v>46449</c:v>
                </c:pt>
                <c:pt idx="906">
                  <c:v>46450</c:v>
                </c:pt>
                <c:pt idx="907">
                  <c:v>46451</c:v>
                </c:pt>
                <c:pt idx="908">
                  <c:v>46454</c:v>
                </c:pt>
                <c:pt idx="909">
                  <c:v>46455</c:v>
                </c:pt>
                <c:pt idx="910">
                  <c:v>46456</c:v>
                </c:pt>
                <c:pt idx="911">
                  <c:v>46457</c:v>
                </c:pt>
                <c:pt idx="912">
                  <c:v>46458</c:v>
                </c:pt>
                <c:pt idx="913">
                  <c:v>46461</c:v>
                </c:pt>
                <c:pt idx="914">
                  <c:v>46462</c:v>
                </c:pt>
                <c:pt idx="915">
                  <c:v>46463</c:v>
                </c:pt>
                <c:pt idx="916">
                  <c:v>46464</c:v>
                </c:pt>
                <c:pt idx="917">
                  <c:v>46465</c:v>
                </c:pt>
                <c:pt idx="918">
                  <c:v>46468</c:v>
                </c:pt>
                <c:pt idx="919">
                  <c:v>46469</c:v>
                </c:pt>
                <c:pt idx="920">
                  <c:v>46470</c:v>
                </c:pt>
                <c:pt idx="921">
                  <c:v>46471</c:v>
                </c:pt>
                <c:pt idx="922">
                  <c:v>46472</c:v>
                </c:pt>
                <c:pt idx="923">
                  <c:v>46475</c:v>
                </c:pt>
                <c:pt idx="924">
                  <c:v>46476</c:v>
                </c:pt>
                <c:pt idx="925">
                  <c:v>46477</c:v>
                </c:pt>
                <c:pt idx="926">
                  <c:v>46478</c:v>
                </c:pt>
                <c:pt idx="927">
                  <c:v>46479</c:v>
                </c:pt>
                <c:pt idx="928">
                  <c:v>46482</c:v>
                </c:pt>
                <c:pt idx="929">
                  <c:v>46483</c:v>
                </c:pt>
                <c:pt idx="930">
                  <c:v>46484</c:v>
                </c:pt>
                <c:pt idx="931">
                  <c:v>46485</c:v>
                </c:pt>
                <c:pt idx="932">
                  <c:v>46486</c:v>
                </c:pt>
                <c:pt idx="933">
                  <c:v>46489</c:v>
                </c:pt>
                <c:pt idx="934">
                  <c:v>46490</c:v>
                </c:pt>
                <c:pt idx="935">
                  <c:v>46491</c:v>
                </c:pt>
                <c:pt idx="936">
                  <c:v>46492</c:v>
                </c:pt>
                <c:pt idx="937">
                  <c:v>46493</c:v>
                </c:pt>
                <c:pt idx="938">
                  <c:v>46496</c:v>
                </c:pt>
                <c:pt idx="939">
                  <c:v>46497</c:v>
                </c:pt>
                <c:pt idx="940">
                  <c:v>46498</c:v>
                </c:pt>
                <c:pt idx="941">
                  <c:v>46499</c:v>
                </c:pt>
                <c:pt idx="942">
                  <c:v>46500</c:v>
                </c:pt>
                <c:pt idx="943">
                  <c:v>46503</c:v>
                </c:pt>
                <c:pt idx="944">
                  <c:v>46504</c:v>
                </c:pt>
                <c:pt idx="945">
                  <c:v>46505</c:v>
                </c:pt>
                <c:pt idx="946">
                  <c:v>46506</c:v>
                </c:pt>
                <c:pt idx="947">
                  <c:v>46507</c:v>
                </c:pt>
                <c:pt idx="948">
                  <c:v>46510</c:v>
                </c:pt>
                <c:pt idx="949">
                  <c:v>46511</c:v>
                </c:pt>
                <c:pt idx="950">
                  <c:v>46512</c:v>
                </c:pt>
                <c:pt idx="951">
                  <c:v>46513</c:v>
                </c:pt>
                <c:pt idx="952">
                  <c:v>46514</c:v>
                </c:pt>
                <c:pt idx="953">
                  <c:v>46517</c:v>
                </c:pt>
                <c:pt idx="954">
                  <c:v>46518</c:v>
                </c:pt>
                <c:pt idx="955">
                  <c:v>46519</c:v>
                </c:pt>
                <c:pt idx="956">
                  <c:v>46520</c:v>
                </c:pt>
                <c:pt idx="957">
                  <c:v>46521</c:v>
                </c:pt>
                <c:pt idx="958">
                  <c:v>46524</c:v>
                </c:pt>
                <c:pt idx="959">
                  <c:v>46525</c:v>
                </c:pt>
                <c:pt idx="960">
                  <c:v>46526</c:v>
                </c:pt>
                <c:pt idx="961">
                  <c:v>46527</c:v>
                </c:pt>
                <c:pt idx="962">
                  <c:v>46528</c:v>
                </c:pt>
                <c:pt idx="963">
                  <c:v>46531</c:v>
                </c:pt>
                <c:pt idx="964">
                  <c:v>46532</c:v>
                </c:pt>
                <c:pt idx="965">
                  <c:v>46533</c:v>
                </c:pt>
                <c:pt idx="966">
                  <c:v>46534</c:v>
                </c:pt>
                <c:pt idx="967">
                  <c:v>46535</c:v>
                </c:pt>
                <c:pt idx="968">
                  <c:v>46538</c:v>
                </c:pt>
                <c:pt idx="969">
                  <c:v>46539</c:v>
                </c:pt>
                <c:pt idx="970">
                  <c:v>46540</c:v>
                </c:pt>
                <c:pt idx="971">
                  <c:v>46541</c:v>
                </c:pt>
                <c:pt idx="972">
                  <c:v>46542</c:v>
                </c:pt>
                <c:pt idx="973">
                  <c:v>46545</c:v>
                </c:pt>
                <c:pt idx="974">
                  <c:v>46546</c:v>
                </c:pt>
                <c:pt idx="975">
                  <c:v>46547</c:v>
                </c:pt>
                <c:pt idx="976">
                  <c:v>46548</c:v>
                </c:pt>
                <c:pt idx="977">
                  <c:v>46549</c:v>
                </c:pt>
                <c:pt idx="978">
                  <c:v>46552</c:v>
                </c:pt>
                <c:pt idx="979">
                  <c:v>46553</c:v>
                </c:pt>
                <c:pt idx="980">
                  <c:v>46554</c:v>
                </c:pt>
                <c:pt idx="981">
                  <c:v>46555</c:v>
                </c:pt>
                <c:pt idx="982">
                  <c:v>46556</c:v>
                </c:pt>
                <c:pt idx="983">
                  <c:v>46559</c:v>
                </c:pt>
                <c:pt idx="984">
                  <c:v>46560</c:v>
                </c:pt>
                <c:pt idx="985">
                  <c:v>46561</c:v>
                </c:pt>
                <c:pt idx="986">
                  <c:v>46562</c:v>
                </c:pt>
                <c:pt idx="987">
                  <c:v>46563</c:v>
                </c:pt>
                <c:pt idx="988">
                  <c:v>46566</c:v>
                </c:pt>
                <c:pt idx="989">
                  <c:v>46567</c:v>
                </c:pt>
                <c:pt idx="990">
                  <c:v>46568</c:v>
                </c:pt>
                <c:pt idx="991">
                  <c:v>46569</c:v>
                </c:pt>
                <c:pt idx="992">
                  <c:v>46570</c:v>
                </c:pt>
                <c:pt idx="993">
                  <c:v>46573</c:v>
                </c:pt>
                <c:pt idx="994">
                  <c:v>46574</c:v>
                </c:pt>
                <c:pt idx="995">
                  <c:v>46575</c:v>
                </c:pt>
                <c:pt idx="996">
                  <c:v>46576</c:v>
                </c:pt>
                <c:pt idx="997">
                  <c:v>46577</c:v>
                </c:pt>
                <c:pt idx="998">
                  <c:v>46580</c:v>
                </c:pt>
              </c:numCache>
            </c:numRef>
          </c:cat>
          <c:val>
            <c:numRef>
              <c:f>Daily!$AD$2:$AD$1057</c:f>
            </c:numRef>
          </c:val>
          <c:smooth val="0"/>
          <c:extLst>
            <c:ext xmlns:c16="http://schemas.microsoft.com/office/drawing/2014/chart" uri="{C3380CC4-5D6E-409C-BE32-E72D297353CC}">
              <c16:uniqueId val="{0000001F-094D-4E29-B010-D717A2A1A293}"/>
            </c:ext>
          </c:extLst>
        </c:ser>
        <c:dLbls>
          <c:showLegendKey val="0"/>
          <c:showVal val="0"/>
          <c:showCatName val="0"/>
          <c:showSerName val="0"/>
          <c:showPercent val="0"/>
          <c:showBubbleSize val="0"/>
        </c:dLbls>
        <c:marker val="1"/>
        <c:smooth val="0"/>
        <c:axId val="831629328"/>
        <c:axId val="1069910368"/>
        <c:extLst>
          <c:ext xmlns:c15="http://schemas.microsoft.com/office/drawing/2012/chart" uri="{02D57815-91ED-43cb-92C2-25804820EDAC}">
            <c15:filteredLineSeries>
              <c15:ser>
                <c:idx val="27"/>
                <c:order val="27"/>
                <c:tx>
                  <c:strRef>
                    <c:extLst>
                      <c:ext uri="{02D57815-91ED-43cb-92C2-25804820EDAC}">
                        <c15:formulaRef>
                          <c15:sqref>Daily!$AF$1</c15:sqref>
                        </c15:formulaRef>
                      </c:ext>
                    </c:extLst>
                    <c:strCache>
                      <c:ptCount val="1"/>
                      <c:pt idx="0">
                        <c:v>Most active contract</c:v>
                      </c:pt>
                    </c:strCache>
                  </c:strRef>
                </c:tx>
                <c:spPr>
                  <a:ln w="28575" cap="rnd" cmpd="sng" algn="ctr">
                    <a:solidFill>
                      <a:schemeClr val="accent4">
                        <a:lumMod val="60000"/>
                        <a:lumOff val="40000"/>
                        <a:shade val="95000"/>
                        <a:satMod val="105000"/>
                      </a:schemeClr>
                    </a:solidFill>
                    <a:prstDash val="solid"/>
                    <a:round/>
                  </a:ln>
                  <a:effectLst/>
                </c:spPr>
                <c:marker>
                  <c:symbol val="none"/>
                </c:marker>
                <c:cat>
                  <c:numRef>
                    <c:extLst>
                      <c:ext uri="{02D57815-91ED-43cb-92C2-25804820EDAC}">
                        <c15:formulaRef>
                          <c15:sqref>Daily!$A$2:$A$1000</c15:sqref>
                        </c15:formulaRef>
                      </c:ext>
                    </c:extLst>
                    <c:numCache>
                      <c:formatCode>d\-mmm\-yy</c:formatCode>
                      <c:ptCount val="999"/>
                      <c:pt idx="0">
                        <c:v>45128</c:v>
                      </c:pt>
                      <c:pt idx="1">
                        <c:v>45131</c:v>
                      </c:pt>
                      <c:pt idx="2">
                        <c:v>45132</c:v>
                      </c:pt>
                      <c:pt idx="3">
                        <c:v>45133</c:v>
                      </c:pt>
                      <c:pt idx="4">
                        <c:v>45134</c:v>
                      </c:pt>
                      <c:pt idx="5">
                        <c:v>45135</c:v>
                      </c:pt>
                      <c:pt idx="6">
                        <c:v>45138</c:v>
                      </c:pt>
                      <c:pt idx="7">
                        <c:v>45139</c:v>
                      </c:pt>
                      <c:pt idx="8">
                        <c:v>45140</c:v>
                      </c:pt>
                      <c:pt idx="9">
                        <c:v>45141</c:v>
                      </c:pt>
                      <c:pt idx="10">
                        <c:v>45142</c:v>
                      </c:pt>
                      <c:pt idx="11">
                        <c:v>45145</c:v>
                      </c:pt>
                      <c:pt idx="12">
                        <c:v>45146</c:v>
                      </c:pt>
                      <c:pt idx="13">
                        <c:v>45147</c:v>
                      </c:pt>
                      <c:pt idx="14">
                        <c:v>45148</c:v>
                      </c:pt>
                      <c:pt idx="15">
                        <c:v>45149</c:v>
                      </c:pt>
                      <c:pt idx="16">
                        <c:v>45152</c:v>
                      </c:pt>
                      <c:pt idx="17">
                        <c:v>45153</c:v>
                      </c:pt>
                      <c:pt idx="18">
                        <c:v>45154</c:v>
                      </c:pt>
                      <c:pt idx="19">
                        <c:v>45155</c:v>
                      </c:pt>
                      <c:pt idx="20">
                        <c:v>45156</c:v>
                      </c:pt>
                      <c:pt idx="21">
                        <c:v>45159</c:v>
                      </c:pt>
                      <c:pt idx="22">
                        <c:v>45160</c:v>
                      </c:pt>
                      <c:pt idx="23">
                        <c:v>45161</c:v>
                      </c:pt>
                      <c:pt idx="24">
                        <c:v>45162</c:v>
                      </c:pt>
                      <c:pt idx="25">
                        <c:v>45163</c:v>
                      </c:pt>
                      <c:pt idx="26">
                        <c:v>45166</c:v>
                      </c:pt>
                      <c:pt idx="27">
                        <c:v>45167</c:v>
                      </c:pt>
                      <c:pt idx="28">
                        <c:v>45168</c:v>
                      </c:pt>
                      <c:pt idx="29">
                        <c:v>45169</c:v>
                      </c:pt>
                      <c:pt idx="30">
                        <c:v>45170</c:v>
                      </c:pt>
                      <c:pt idx="31">
                        <c:v>45173</c:v>
                      </c:pt>
                      <c:pt idx="32">
                        <c:v>45174</c:v>
                      </c:pt>
                      <c:pt idx="33">
                        <c:v>45175</c:v>
                      </c:pt>
                      <c:pt idx="34">
                        <c:v>45176</c:v>
                      </c:pt>
                      <c:pt idx="35">
                        <c:v>45177</c:v>
                      </c:pt>
                      <c:pt idx="36">
                        <c:v>45180</c:v>
                      </c:pt>
                      <c:pt idx="37">
                        <c:v>45181</c:v>
                      </c:pt>
                      <c:pt idx="38">
                        <c:v>45182</c:v>
                      </c:pt>
                      <c:pt idx="39">
                        <c:v>45183</c:v>
                      </c:pt>
                      <c:pt idx="40">
                        <c:v>45184</c:v>
                      </c:pt>
                      <c:pt idx="41">
                        <c:v>45187</c:v>
                      </c:pt>
                      <c:pt idx="42">
                        <c:v>45188</c:v>
                      </c:pt>
                      <c:pt idx="43">
                        <c:v>45189</c:v>
                      </c:pt>
                      <c:pt idx="44">
                        <c:v>45190</c:v>
                      </c:pt>
                      <c:pt idx="45">
                        <c:v>45191</c:v>
                      </c:pt>
                      <c:pt idx="46">
                        <c:v>45194</c:v>
                      </c:pt>
                      <c:pt idx="47">
                        <c:v>45195</c:v>
                      </c:pt>
                      <c:pt idx="48">
                        <c:v>45196</c:v>
                      </c:pt>
                      <c:pt idx="49">
                        <c:v>45197</c:v>
                      </c:pt>
                      <c:pt idx="50">
                        <c:v>45208</c:v>
                      </c:pt>
                      <c:pt idx="51">
                        <c:v>45209</c:v>
                      </c:pt>
                      <c:pt idx="52">
                        <c:v>45210</c:v>
                      </c:pt>
                      <c:pt idx="53">
                        <c:v>45211</c:v>
                      </c:pt>
                      <c:pt idx="54">
                        <c:v>45212</c:v>
                      </c:pt>
                      <c:pt idx="55">
                        <c:v>45215</c:v>
                      </c:pt>
                      <c:pt idx="56">
                        <c:v>45216</c:v>
                      </c:pt>
                      <c:pt idx="57">
                        <c:v>45217</c:v>
                      </c:pt>
                      <c:pt idx="58">
                        <c:v>45218</c:v>
                      </c:pt>
                      <c:pt idx="59">
                        <c:v>45219</c:v>
                      </c:pt>
                      <c:pt idx="60">
                        <c:v>45222</c:v>
                      </c:pt>
                      <c:pt idx="61">
                        <c:v>45223</c:v>
                      </c:pt>
                      <c:pt idx="62">
                        <c:v>45224</c:v>
                      </c:pt>
                      <c:pt idx="63">
                        <c:v>45225</c:v>
                      </c:pt>
                      <c:pt idx="64">
                        <c:v>45226</c:v>
                      </c:pt>
                      <c:pt idx="65">
                        <c:v>45229</c:v>
                      </c:pt>
                      <c:pt idx="66">
                        <c:v>45230</c:v>
                      </c:pt>
                      <c:pt idx="67">
                        <c:v>45231</c:v>
                      </c:pt>
                      <c:pt idx="68">
                        <c:v>45232</c:v>
                      </c:pt>
                      <c:pt idx="69">
                        <c:v>45233</c:v>
                      </c:pt>
                      <c:pt idx="70">
                        <c:v>45236</c:v>
                      </c:pt>
                      <c:pt idx="71">
                        <c:v>45237</c:v>
                      </c:pt>
                      <c:pt idx="72">
                        <c:v>45238</c:v>
                      </c:pt>
                      <c:pt idx="73">
                        <c:v>45239</c:v>
                      </c:pt>
                      <c:pt idx="74">
                        <c:v>45240</c:v>
                      </c:pt>
                      <c:pt idx="75">
                        <c:v>45243</c:v>
                      </c:pt>
                      <c:pt idx="76">
                        <c:v>45244</c:v>
                      </c:pt>
                      <c:pt idx="77">
                        <c:v>45245</c:v>
                      </c:pt>
                      <c:pt idx="78">
                        <c:v>45246</c:v>
                      </c:pt>
                      <c:pt idx="79">
                        <c:v>45247</c:v>
                      </c:pt>
                      <c:pt idx="80">
                        <c:v>45250</c:v>
                      </c:pt>
                      <c:pt idx="81">
                        <c:v>45251</c:v>
                      </c:pt>
                      <c:pt idx="82">
                        <c:v>45252</c:v>
                      </c:pt>
                      <c:pt idx="83">
                        <c:v>45253</c:v>
                      </c:pt>
                      <c:pt idx="84">
                        <c:v>45254</c:v>
                      </c:pt>
                      <c:pt idx="85">
                        <c:v>45257</c:v>
                      </c:pt>
                      <c:pt idx="86">
                        <c:v>45258</c:v>
                      </c:pt>
                      <c:pt idx="87">
                        <c:v>45259</c:v>
                      </c:pt>
                      <c:pt idx="88">
                        <c:v>45260</c:v>
                      </c:pt>
                      <c:pt idx="89">
                        <c:v>45261</c:v>
                      </c:pt>
                      <c:pt idx="90">
                        <c:v>45264</c:v>
                      </c:pt>
                      <c:pt idx="91">
                        <c:v>45265</c:v>
                      </c:pt>
                      <c:pt idx="92">
                        <c:v>45266</c:v>
                      </c:pt>
                      <c:pt idx="93">
                        <c:v>45267</c:v>
                      </c:pt>
                      <c:pt idx="94">
                        <c:v>45268</c:v>
                      </c:pt>
                      <c:pt idx="95">
                        <c:v>45271</c:v>
                      </c:pt>
                      <c:pt idx="96">
                        <c:v>45272</c:v>
                      </c:pt>
                      <c:pt idx="97">
                        <c:v>45273</c:v>
                      </c:pt>
                      <c:pt idx="98">
                        <c:v>45274</c:v>
                      </c:pt>
                      <c:pt idx="99">
                        <c:v>45275</c:v>
                      </c:pt>
                      <c:pt idx="100">
                        <c:v>45278</c:v>
                      </c:pt>
                      <c:pt idx="101">
                        <c:v>45279</c:v>
                      </c:pt>
                      <c:pt idx="102">
                        <c:v>45280</c:v>
                      </c:pt>
                      <c:pt idx="103">
                        <c:v>45281</c:v>
                      </c:pt>
                      <c:pt idx="104">
                        <c:v>45282</c:v>
                      </c:pt>
                      <c:pt idx="105">
                        <c:v>45285</c:v>
                      </c:pt>
                      <c:pt idx="106">
                        <c:v>45286</c:v>
                      </c:pt>
                      <c:pt idx="107">
                        <c:v>45287</c:v>
                      </c:pt>
                      <c:pt idx="108">
                        <c:v>45288</c:v>
                      </c:pt>
                      <c:pt idx="109">
                        <c:v>45289</c:v>
                      </c:pt>
                      <c:pt idx="110">
                        <c:v>45293</c:v>
                      </c:pt>
                      <c:pt idx="111">
                        <c:v>45294</c:v>
                      </c:pt>
                      <c:pt idx="112">
                        <c:v>45295</c:v>
                      </c:pt>
                      <c:pt idx="113">
                        <c:v>45296</c:v>
                      </c:pt>
                      <c:pt idx="114">
                        <c:v>45299</c:v>
                      </c:pt>
                      <c:pt idx="115">
                        <c:v>45300</c:v>
                      </c:pt>
                      <c:pt idx="116">
                        <c:v>45301</c:v>
                      </c:pt>
                      <c:pt idx="117">
                        <c:v>45302</c:v>
                      </c:pt>
                      <c:pt idx="118">
                        <c:v>45303</c:v>
                      </c:pt>
                      <c:pt idx="119">
                        <c:v>45306</c:v>
                      </c:pt>
                      <c:pt idx="120">
                        <c:v>45307</c:v>
                      </c:pt>
                      <c:pt idx="121">
                        <c:v>45308</c:v>
                      </c:pt>
                      <c:pt idx="122">
                        <c:v>45309</c:v>
                      </c:pt>
                      <c:pt idx="123">
                        <c:v>45310</c:v>
                      </c:pt>
                      <c:pt idx="124">
                        <c:v>45313</c:v>
                      </c:pt>
                      <c:pt idx="125">
                        <c:v>45314</c:v>
                      </c:pt>
                      <c:pt idx="126">
                        <c:v>45315</c:v>
                      </c:pt>
                      <c:pt idx="127">
                        <c:v>45316</c:v>
                      </c:pt>
                      <c:pt idx="128">
                        <c:v>45317</c:v>
                      </c:pt>
                      <c:pt idx="129">
                        <c:v>45320</c:v>
                      </c:pt>
                      <c:pt idx="130">
                        <c:v>45321</c:v>
                      </c:pt>
                      <c:pt idx="131">
                        <c:v>45322</c:v>
                      </c:pt>
                      <c:pt idx="132">
                        <c:v>45323</c:v>
                      </c:pt>
                      <c:pt idx="133">
                        <c:v>45324</c:v>
                      </c:pt>
                      <c:pt idx="134">
                        <c:v>45327</c:v>
                      </c:pt>
                      <c:pt idx="135">
                        <c:v>45328</c:v>
                      </c:pt>
                      <c:pt idx="136">
                        <c:v>45329</c:v>
                      </c:pt>
                      <c:pt idx="137">
                        <c:v>45330</c:v>
                      </c:pt>
                      <c:pt idx="138">
                        <c:v>45341</c:v>
                      </c:pt>
                      <c:pt idx="139">
                        <c:v>45342</c:v>
                      </c:pt>
                      <c:pt idx="140">
                        <c:v>45343</c:v>
                      </c:pt>
                      <c:pt idx="141">
                        <c:v>45344</c:v>
                      </c:pt>
                      <c:pt idx="142">
                        <c:v>45345</c:v>
                      </c:pt>
                      <c:pt idx="143">
                        <c:v>45348</c:v>
                      </c:pt>
                      <c:pt idx="144">
                        <c:v>45349</c:v>
                      </c:pt>
                      <c:pt idx="145">
                        <c:v>45350</c:v>
                      </c:pt>
                      <c:pt idx="146">
                        <c:v>45351</c:v>
                      </c:pt>
                      <c:pt idx="147">
                        <c:v>45352</c:v>
                      </c:pt>
                      <c:pt idx="148">
                        <c:v>45355</c:v>
                      </c:pt>
                      <c:pt idx="149">
                        <c:v>45356</c:v>
                      </c:pt>
                      <c:pt idx="150">
                        <c:v>45357</c:v>
                      </c:pt>
                      <c:pt idx="151">
                        <c:v>45358</c:v>
                      </c:pt>
                      <c:pt idx="152">
                        <c:v>45359</c:v>
                      </c:pt>
                      <c:pt idx="153">
                        <c:v>45362</c:v>
                      </c:pt>
                      <c:pt idx="154">
                        <c:v>45363</c:v>
                      </c:pt>
                      <c:pt idx="155">
                        <c:v>45364</c:v>
                      </c:pt>
                      <c:pt idx="156">
                        <c:v>45365</c:v>
                      </c:pt>
                      <c:pt idx="157">
                        <c:v>45366</c:v>
                      </c:pt>
                      <c:pt idx="158">
                        <c:v>45369</c:v>
                      </c:pt>
                      <c:pt idx="159">
                        <c:v>45370</c:v>
                      </c:pt>
                      <c:pt idx="160">
                        <c:v>45371</c:v>
                      </c:pt>
                      <c:pt idx="161">
                        <c:v>45372</c:v>
                      </c:pt>
                      <c:pt idx="162">
                        <c:v>45373</c:v>
                      </c:pt>
                      <c:pt idx="163">
                        <c:v>45376</c:v>
                      </c:pt>
                      <c:pt idx="164">
                        <c:v>45377</c:v>
                      </c:pt>
                      <c:pt idx="165">
                        <c:v>45378</c:v>
                      </c:pt>
                      <c:pt idx="166">
                        <c:v>45379</c:v>
                      </c:pt>
                      <c:pt idx="167">
                        <c:v>45380</c:v>
                      </c:pt>
                      <c:pt idx="168">
                        <c:v>45383</c:v>
                      </c:pt>
                      <c:pt idx="169">
                        <c:v>45384</c:v>
                      </c:pt>
                      <c:pt idx="170">
                        <c:v>45385</c:v>
                      </c:pt>
                      <c:pt idx="171">
                        <c:v>45390</c:v>
                      </c:pt>
                      <c:pt idx="172">
                        <c:v>45391</c:v>
                      </c:pt>
                      <c:pt idx="173">
                        <c:v>45392</c:v>
                      </c:pt>
                      <c:pt idx="174">
                        <c:v>45393</c:v>
                      </c:pt>
                      <c:pt idx="175">
                        <c:v>45394</c:v>
                      </c:pt>
                      <c:pt idx="176">
                        <c:v>45397</c:v>
                      </c:pt>
                      <c:pt idx="177">
                        <c:v>45398</c:v>
                      </c:pt>
                      <c:pt idx="178">
                        <c:v>45399</c:v>
                      </c:pt>
                      <c:pt idx="179">
                        <c:v>45400</c:v>
                      </c:pt>
                      <c:pt idx="180">
                        <c:v>45401</c:v>
                      </c:pt>
                      <c:pt idx="181">
                        <c:v>45404</c:v>
                      </c:pt>
                      <c:pt idx="182">
                        <c:v>45405</c:v>
                      </c:pt>
                      <c:pt idx="183">
                        <c:v>45406</c:v>
                      </c:pt>
                      <c:pt idx="184">
                        <c:v>45407</c:v>
                      </c:pt>
                      <c:pt idx="185">
                        <c:v>45408</c:v>
                      </c:pt>
                      <c:pt idx="186">
                        <c:v>45411</c:v>
                      </c:pt>
                      <c:pt idx="187">
                        <c:v>45412</c:v>
                      </c:pt>
                      <c:pt idx="188">
                        <c:v>45418</c:v>
                      </c:pt>
                      <c:pt idx="189">
                        <c:v>45419</c:v>
                      </c:pt>
                      <c:pt idx="190">
                        <c:v>45420</c:v>
                      </c:pt>
                      <c:pt idx="191">
                        <c:v>45421</c:v>
                      </c:pt>
                      <c:pt idx="192">
                        <c:v>45422</c:v>
                      </c:pt>
                      <c:pt idx="193">
                        <c:v>45425</c:v>
                      </c:pt>
                      <c:pt idx="194">
                        <c:v>45426</c:v>
                      </c:pt>
                      <c:pt idx="195">
                        <c:v>45427</c:v>
                      </c:pt>
                      <c:pt idx="196">
                        <c:v>45428</c:v>
                      </c:pt>
                      <c:pt idx="197">
                        <c:v>45429</c:v>
                      </c:pt>
                      <c:pt idx="198">
                        <c:v>45432</c:v>
                      </c:pt>
                      <c:pt idx="199">
                        <c:v>45433</c:v>
                      </c:pt>
                      <c:pt idx="200">
                        <c:v>45434</c:v>
                      </c:pt>
                      <c:pt idx="201">
                        <c:v>45435</c:v>
                      </c:pt>
                      <c:pt idx="202">
                        <c:v>45436</c:v>
                      </c:pt>
                      <c:pt idx="203">
                        <c:v>45439</c:v>
                      </c:pt>
                      <c:pt idx="204">
                        <c:v>45440</c:v>
                      </c:pt>
                      <c:pt idx="205">
                        <c:v>45441</c:v>
                      </c:pt>
                      <c:pt idx="206">
                        <c:v>45442</c:v>
                      </c:pt>
                      <c:pt idx="207">
                        <c:v>45443</c:v>
                      </c:pt>
                      <c:pt idx="208">
                        <c:v>45446</c:v>
                      </c:pt>
                      <c:pt idx="209">
                        <c:v>45447</c:v>
                      </c:pt>
                      <c:pt idx="210">
                        <c:v>45448</c:v>
                      </c:pt>
                      <c:pt idx="211">
                        <c:v>45449</c:v>
                      </c:pt>
                      <c:pt idx="212">
                        <c:v>45450</c:v>
                      </c:pt>
                      <c:pt idx="213">
                        <c:v>45454</c:v>
                      </c:pt>
                      <c:pt idx="214">
                        <c:v>45455</c:v>
                      </c:pt>
                      <c:pt idx="215">
                        <c:v>45456</c:v>
                      </c:pt>
                      <c:pt idx="216">
                        <c:v>45457</c:v>
                      </c:pt>
                      <c:pt idx="217">
                        <c:v>45460</c:v>
                      </c:pt>
                      <c:pt idx="218">
                        <c:v>45461</c:v>
                      </c:pt>
                      <c:pt idx="219">
                        <c:v>45462</c:v>
                      </c:pt>
                      <c:pt idx="220">
                        <c:v>45463</c:v>
                      </c:pt>
                      <c:pt idx="221">
                        <c:v>45464</c:v>
                      </c:pt>
                      <c:pt idx="222">
                        <c:v>45467</c:v>
                      </c:pt>
                      <c:pt idx="223">
                        <c:v>45468</c:v>
                      </c:pt>
                      <c:pt idx="224">
                        <c:v>45469</c:v>
                      </c:pt>
                      <c:pt idx="225">
                        <c:v>45470</c:v>
                      </c:pt>
                      <c:pt idx="226">
                        <c:v>45471</c:v>
                      </c:pt>
                      <c:pt idx="227">
                        <c:v>45474</c:v>
                      </c:pt>
                      <c:pt idx="228">
                        <c:v>45475</c:v>
                      </c:pt>
                      <c:pt idx="229">
                        <c:v>45476</c:v>
                      </c:pt>
                      <c:pt idx="230">
                        <c:v>45477</c:v>
                      </c:pt>
                      <c:pt idx="231">
                        <c:v>45478</c:v>
                      </c:pt>
                      <c:pt idx="232">
                        <c:v>45481</c:v>
                      </c:pt>
                      <c:pt idx="233">
                        <c:v>45482</c:v>
                      </c:pt>
                      <c:pt idx="234">
                        <c:v>45483</c:v>
                      </c:pt>
                      <c:pt idx="235">
                        <c:v>45484</c:v>
                      </c:pt>
                      <c:pt idx="236">
                        <c:v>45485</c:v>
                      </c:pt>
                      <c:pt idx="237">
                        <c:v>45488</c:v>
                      </c:pt>
                      <c:pt idx="238">
                        <c:v>45489</c:v>
                      </c:pt>
                      <c:pt idx="239">
                        <c:v>45490</c:v>
                      </c:pt>
                      <c:pt idx="240">
                        <c:v>45491</c:v>
                      </c:pt>
                      <c:pt idx="241">
                        <c:v>45492</c:v>
                      </c:pt>
                      <c:pt idx="242">
                        <c:v>45495</c:v>
                      </c:pt>
                      <c:pt idx="243">
                        <c:v>45496</c:v>
                      </c:pt>
                      <c:pt idx="244">
                        <c:v>45497</c:v>
                      </c:pt>
                      <c:pt idx="245">
                        <c:v>45498</c:v>
                      </c:pt>
                      <c:pt idx="246">
                        <c:v>45499</c:v>
                      </c:pt>
                      <c:pt idx="247">
                        <c:v>45502</c:v>
                      </c:pt>
                      <c:pt idx="248">
                        <c:v>45503</c:v>
                      </c:pt>
                      <c:pt idx="249">
                        <c:v>45504</c:v>
                      </c:pt>
                      <c:pt idx="250">
                        <c:v>45505</c:v>
                      </c:pt>
                      <c:pt idx="251">
                        <c:v>45506</c:v>
                      </c:pt>
                      <c:pt idx="252">
                        <c:v>45509</c:v>
                      </c:pt>
                      <c:pt idx="253">
                        <c:v>45510</c:v>
                      </c:pt>
                      <c:pt idx="254">
                        <c:v>45511</c:v>
                      </c:pt>
                      <c:pt idx="255">
                        <c:v>45512</c:v>
                      </c:pt>
                      <c:pt idx="256">
                        <c:v>45513</c:v>
                      </c:pt>
                      <c:pt idx="257">
                        <c:v>45516</c:v>
                      </c:pt>
                      <c:pt idx="258">
                        <c:v>45517</c:v>
                      </c:pt>
                      <c:pt idx="259">
                        <c:v>45518</c:v>
                      </c:pt>
                      <c:pt idx="260">
                        <c:v>45519</c:v>
                      </c:pt>
                      <c:pt idx="261">
                        <c:v>45520</c:v>
                      </c:pt>
                      <c:pt idx="262">
                        <c:v>45523</c:v>
                      </c:pt>
                      <c:pt idx="263">
                        <c:v>45524</c:v>
                      </c:pt>
                      <c:pt idx="264">
                        <c:v>45525</c:v>
                      </c:pt>
                      <c:pt idx="265">
                        <c:v>45526</c:v>
                      </c:pt>
                      <c:pt idx="266">
                        <c:v>45527</c:v>
                      </c:pt>
                      <c:pt idx="267">
                        <c:v>45530</c:v>
                      </c:pt>
                      <c:pt idx="268">
                        <c:v>45531</c:v>
                      </c:pt>
                      <c:pt idx="269">
                        <c:v>45532</c:v>
                      </c:pt>
                      <c:pt idx="270">
                        <c:v>45533</c:v>
                      </c:pt>
                      <c:pt idx="271">
                        <c:v>45534</c:v>
                      </c:pt>
                      <c:pt idx="272">
                        <c:v>45537</c:v>
                      </c:pt>
                      <c:pt idx="273">
                        <c:v>45538</c:v>
                      </c:pt>
                      <c:pt idx="274">
                        <c:v>45539</c:v>
                      </c:pt>
                      <c:pt idx="275">
                        <c:v>45540</c:v>
                      </c:pt>
                      <c:pt idx="276">
                        <c:v>45541</c:v>
                      </c:pt>
                      <c:pt idx="277">
                        <c:v>45544</c:v>
                      </c:pt>
                      <c:pt idx="278">
                        <c:v>45545</c:v>
                      </c:pt>
                      <c:pt idx="279">
                        <c:v>45546</c:v>
                      </c:pt>
                      <c:pt idx="280">
                        <c:v>45547</c:v>
                      </c:pt>
                      <c:pt idx="281">
                        <c:v>45548</c:v>
                      </c:pt>
                      <c:pt idx="282">
                        <c:v>45553</c:v>
                      </c:pt>
                      <c:pt idx="283">
                        <c:v>45554</c:v>
                      </c:pt>
                      <c:pt idx="284">
                        <c:v>45555</c:v>
                      </c:pt>
                      <c:pt idx="285">
                        <c:v>45558</c:v>
                      </c:pt>
                      <c:pt idx="286">
                        <c:v>45559</c:v>
                      </c:pt>
                      <c:pt idx="287">
                        <c:v>45560</c:v>
                      </c:pt>
                      <c:pt idx="288">
                        <c:v>45561</c:v>
                      </c:pt>
                      <c:pt idx="289">
                        <c:v>45562</c:v>
                      </c:pt>
                      <c:pt idx="290">
                        <c:v>45565</c:v>
                      </c:pt>
                      <c:pt idx="291">
                        <c:v>45573</c:v>
                      </c:pt>
                      <c:pt idx="292">
                        <c:v>45574</c:v>
                      </c:pt>
                      <c:pt idx="293">
                        <c:v>45575</c:v>
                      </c:pt>
                      <c:pt idx="294">
                        <c:v>45576</c:v>
                      </c:pt>
                      <c:pt idx="295">
                        <c:v>45579</c:v>
                      </c:pt>
                      <c:pt idx="296">
                        <c:v>45580</c:v>
                      </c:pt>
                      <c:pt idx="297">
                        <c:v>45581</c:v>
                      </c:pt>
                      <c:pt idx="298">
                        <c:v>45582</c:v>
                      </c:pt>
                      <c:pt idx="299">
                        <c:v>45583</c:v>
                      </c:pt>
                      <c:pt idx="300">
                        <c:v>45586</c:v>
                      </c:pt>
                      <c:pt idx="301">
                        <c:v>45587</c:v>
                      </c:pt>
                      <c:pt idx="302">
                        <c:v>45588</c:v>
                      </c:pt>
                      <c:pt idx="303">
                        <c:v>45589</c:v>
                      </c:pt>
                      <c:pt idx="304">
                        <c:v>45590</c:v>
                      </c:pt>
                      <c:pt idx="305">
                        <c:v>45593</c:v>
                      </c:pt>
                      <c:pt idx="306">
                        <c:v>45594</c:v>
                      </c:pt>
                      <c:pt idx="307">
                        <c:v>45595</c:v>
                      </c:pt>
                      <c:pt idx="308">
                        <c:v>45596</c:v>
                      </c:pt>
                      <c:pt idx="309">
                        <c:v>45597</c:v>
                      </c:pt>
                      <c:pt idx="310">
                        <c:v>45600</c:v>
                      </c:pt>
                      <c:pt idx="311">
                        <c:v>45601</c:v>
                      </c:pt>
                      <c:pt idx="312">
                        <c:v>45602</c:v>
                      </c:pt>
                      <c:pt idx="313">
                        <c:v>45603</c:v>
                      </c:pt>
                      <c:pt idx="314">
                        <c:v>45604</c:v>
                      </c:pt>
                      <c:pt idx="315">
                        <c:v>45607</c:v>
                      </c:pt>
                      <c:pt idx="316">
                        <c:v>45608</c:v>
                      </c:pt>
                      <c:pt idx="317">
                        <c:v>45609</c:v>
                      </c:pt>
                      <c:pt idx="318">
                        <c:v>45610</c:v>
                      </c:pt>
                      <c:pt idx="319">
                        <c:v>45611</c:v>
                      </c:pt>
                      <c:pt idx="320">
                        <c:v>45614</c:v>
                      </c:pt>
                      <c:pt idx="321">
                        <c:v>45615</c:v>
                      </c:pt>
                      <c:pt idx="322">
                        <c:v>45616</c:v>
                      </c:pt>
                      <c:pt idx="323">
                        <c:v>45617</c:v>
                      </c:pt>
                      <c:pt idx="324">
                        <c:v>45618</c:v>
                      </c:pt>
                      <c:pt idx="325">
                        <c:v>45621</c:v>
                      </c:pt>
                      <c:pt idx="326">
                        <c:v>45622</c:v>
                      </c:pt>
                      <c:pt idx="327">
                        <c:v>45623</c:v>
                      </c:pt>
                      <c:pt idx="328">
                        <c:v>45624</c:v>
                      </c:pt>
                      <c:pt idx="329">
                        <c:v>45625</c:v>
                      </c:pt>
                      <c:pt idx="330">
                        <c:v>45628</c:v>
                      </c:pt>
                      <c:pt idx="331">
                        <c:v>45629</c:v>
                      </c:pt>
                      <c:pt idx="332">
                        <c:v>45630</c:v>
                      </c:pt>
                      <c:pt idx="333">
                        <c:v>45631</c:v>
                      </c:pt>
                      <c:pt idx="334">
                        <c:v>45632</c:v>
                      </c:pt>
                      <c:pt idx="335">
                        <c:v>45635</c:v>
                      </c:pt>
                      <c:pt idx="336">
                        <c:v>45636</c:v>
                      </c:pt>
                      <c:pt idx="337">
                        <c:v>45637</c:v>
                      </c:pt>
                      <c:pt idx="338">
                        <c:v>45638</c:v>
                      </c:pt>
                      <c:pt idx="339">
                        <c:v>45639</c:v>
                      </c:pt>
                      <c:pt idx="340">
                        <c:v>45642</c:v>
                      </c:pt>
                      <c:pt idx="341">
                        <c:v>45643</c:v>
                      </c:pt>
                      <c:pt idx="342">
                        <c:v>45644</c:v>
                      </c:pt>
                      <c:pt idx="343">
                        <c:v>45645</c:v>
                      </c:pt>
                      <c:pt idx="344">
                        <c:v>45646</c:v>
                      </c:pt>
                      <c:pt idx="345">
                        <c:v>45649</c:v>
                      </c:pt>
                      <c:pt idx="346">
                        <c:v>45650</c:v>
                      </c:pt>
                      <c:pt idx="347">
                        <c:v>45651</c:v>
                      </c:pt>
                      <c:pt idx="348">
                        <c:v>45652</c:v>
                      </c:pt>
                      <c:pt idx="349">
                        <c:v>45653</c:v>
                      </c:pt>
                      <c:pt idx="350">
                        <c:v>45656</c:v>
                      </c:pt>
                      <c:pt idx="351">
                        <c:v>45657</c:v>
                      </c:pt>
                      <c:pt idx="352">
                        <c:v>45659</c:v>
                      </c:pt>
                      <c:pt idx="353">
                        <c:v>45660</c:v>
                      </c:pt>
                      <c:pt idx="354">
                        <c:v>45663</c:v>
                      </c:pt>
                      <c:pt idx="355">
                        <c:v>45664</c:v>
                      </c:pt>
                      <c:pt idx="356">
                        <c:v>45665</c:v>
                      </c:pt>
                      <c:pt idx="357">
                        <c:v>45666</c:v>
                      </c:pt>
                      <c:pt idx="358">
                        <c:v>45667</c:v>
                      </c:pt>
                      <c:pt idx="359">
                        <c:v>45670</c:v>
                      </c:pt>
                      <c:pt idx="360">
                        <c:v>45671</c:v>
                      </c:pt>
                      <c:pt idx="361">
                        <c:v>45672</c:v>
                      </c:pt>
                      <c:pt idx="362">
                        <c:v>45673</c:v>
                      </c:pt>
                      <c:pt idx="363">
                        <c:v>45674</c:v>
                      </c:pt>
                      <c:pt idx="364">
                        <c:v>45677</c:v>
                      </c:pt>
                      <c:pt idx="365">
                        <c:v>45678</c:v>
                      </c:pt>
                      <c:pt idx="366">
                        <c:v>45679</c:v>
                      </c:pt>
                      <c:pt idx="367">
                        <c:v>45680</c:v>
                      </c:pt>
                      <c:pt idx="368">
                        <c:v>45681</c:v>
                      </c:pt>
                      <c:pt idx="369">
                        <c:v>45684</c:v>
                      </c:pt>
                      <c:pt idx="370">
                        <c:v>45693</c:v>
                      </c:pt>
                      <c:pt idx="371">
                        <c:v>45694</c:v>
                      </c:pt>
                      <c:pt idx="372">
                        <c:v>45695</c:v>
                      </c:pt>
                      <c:pt idx="373">
                        <c:v>45698</c:v>
                      </c:pt>
                      <c:pt idx="374">
                        <c:v>45699</c:v>
                      </c:pt>
                      <c:pt idx="375">
                        <c:v>45700</c:v>
                      </c:pt>
                      <c:pt idx="376">
                        <c:v>45701</c:v>
                      </c:pt>
                      <c:pt idx="377">
                        <c:v>45702</c:v>
                      </c:pt>
                      <c:pt idx="378">
                        <c:v>45705</c:v>
                      </c:pt>
                      <c:pt idx="379">
                        <c:v>45706</c:v>
                      </c:pt>
                      <c:pt idx="380">
                        <c:v>45707</c:v>
                      </c:pt>
                      <c:pt idx="381">
                        <c:v>45708</c:v>
                      </c:pt>
                      <c:pt idx="382">
                        <c:v>45709</c:v>
                      </c:pt>
                      <c:pt idx="383">
                        <c:v>45712</c:v>
                      </c:pt>
                      <c:pt idx="384">
                        <c:v>45713</c:v>
                      </c:pt>
                      <c:pt idx="385">
                        <c:v>45714</c:v>
                      </c:pt>
                      <c:pt idx="386">
                        <c:v>45715</c:v>
                      </c:pt>
                      <c:pt idx="387">
                        <c:v>45716</c:v>
                      </c:pt>
                      <c:pt idx="388">
                        <c:v>45719</c:v>
                      </c:pt>
                      <c:pt idx="389">
                        <c:v>45720</c:v>
                      </c:pt>
                      <c:pt idx="390">
                        <c:v>45721</c:v>
                      </c:pt>
                      <c:pt idx="391">
                        <c:v>45722</c:v>
                      </c:pt>
                      <c:pt idx="392">
                        <c:v>45723</c:v>
                      </c:pt>
                      <c:pt idx="393">
                        <c:v>45726</c:v>
                      </c:pt>
                      <c:pt idx="394">
                        <c:v>45727</c:v>
                      </c:pt>
                      <c:pt idx="395">
                        <c:v>45728</c:v>
                      </c:pt>
                      <c:pt idx="396">
                        <c:v>45729</c:v>
                      </c:pt>
                      <c:pt idx="397">
                        <c:v>45730</c:v>
                      </c:pt>
                      <c:pt idx="398">
                        <c:v>45733</c:v>
                      </c:pt>
                      <c:pt idx="399">
                        <c:v>45734</c:v>
                      </c:pt>
                      <c:pt idx="400">
                        <c:v>45735</c:v>
                      </c:pt>
                      <c:pt idx="401">
                        <c:v>45736</c:v>
                      </c:pt>
                      <c:pt idx="402">
                        <c:v>45737</c:v>
                      </c:pt>
                      <c:pt idx="403">
                        <c:v>45740</c:v>
                      </c:pt>
                      <c:pt idx="404">
                        <c:v>45741</c:v>
                      </c:pt>
                      <c:pt idx="405">
                        <c:v>45742</c:v>
                      </c:pt>
                      <c:pt idx="406">
                        <c:v>45743</c:v>
                      </c:pt>
                      <c:pt idx="407">
                        <c:v>45744</c:v>
                      </c:pt>
                      <c:pt idx="408">
                        <c:v>45747</c:v>
                      </c:pt>
                      <c:pt idx="409">
                        <c:v>45748</c:v>
                      </c:pt>
                      <c:pt idx="410">
                        <c:v>45749</c:v>
                      </c:pt>
                      <c:pt idx="411">
                        <c:v>45750</c:v>
                      </c:pt>
                      <c:pt idx="412">
                        <c:v>45754</c:v>
                      </c:pt>
                      <c:pt idx="413">
                        <c:v>45755</c:v>
                      </c:pt>
                      <c:pt idx="414">
                        <c:v>45756</c:v>
                      </c:pt>
                      <c:pt idx="415">
                        <c:v>45757</c:v>
                      </c:pt>
                      <c:pt idx="416">
                        <c:v>45758</c:v>
                      </c:pt>
                      <c:pt idx="417">
                        <c:v>45761</c:v>
                      </c:pt>
                      <c:pt idx="418">
                        <c:v>45762</c:v>
                      </c:pt>
                      <c:pt idx="419">
                        <c:v>45763</c:v>
                      </c:pt>
                      <c:pt idx="420">
                        <c:v>45764</c:v>
                      </c:pt>
                      <c:pt idx="421">
                        <c:v>45765</c:v>
                      </c:pt>
                      <c:pt idx="422">
                        <c:v>45768</c:v>
                      </c:pt>
                      <c:pt idx="423">
                        <c:v>45769</c:v>
                      </c:pt>
                      <c:pt idx="424">
                        <c:v>45770</c:v>
                      </c:pt>
                      <c:pt idx="425">
                        <c:v>45771</c:v>
                      </c:pt>
                      <c:pt idx="426">
                        <c:v>45772</c:v>
                      </c:pt>
                      <c:pt idx="427">
                        <c:v>45775</c:v>
                      </c:pt>
                      <c:pt idx="428">
                        <c:v>45776</c:v>
                      </c:pt>
                      <c:pt idx="429">
                        <c:v>45777</c:v>
                      </c:pt>
                      <c:pt idx="430">
                        <c:v>45783</c:v>
                      </c:pt>
                      <c:pt idx="431">
                        <c:v>45784</c:v>
                      </c:pt>
                      <c:pt idx="432">
                        <c:v>45785</c:v>
                      </c:pt>
                      <c:pt idx="433">
                        <c:v>45786</c:v>
                      </c:pt>
                      <c:pt idx="434">
                        <c:v>45789</c:v>
                      </c:pt>
                      <c:pt idx="435">
                        <c:v>45790</c:v>
                      </c:pt>
                      <c:pt idx="436">
                        <c:v>45791</c:v>
                      </c:pt>
                      <c:pt idx="437">
                        <c:v>45792</c:v>
                      </c:pt>
                      <c:pt idx="438">
                        <c:v>45793</c:v>
                      </c:pt>
                      <c:pt idx="439">
                        <c:v>45796</c:v>
                      </c:pt>
                      <c:pt idx="440">
                        <c:v>45797</c:v>
                      </c:pt>
                      <c:pt idx="441">
                        <c:v>45798</c:v>
                      </c:pt>
                      <c:pt idx="442">
                        <c:v>45799</c:v>
                      </c:pt>
                      <c:pt idx="443">
                        <c:v>45800</c:v>
                      </c:pt>
                      <c:pt idx="444">
                        <c:v>45803</c:v>
                      </c:pt>
                      <c:pt idx="445">
                        <c:v>45804</c:v>
                      </c:pt>
                      <c:pt idx="446">
                        <c:v>45805</c:v>
                      </c:pt>
                      <c:pt idx="447">
                        <c:v>45806</c:v>
                      </c:pt>
                      <c:pt idx="448">
                        <c:v>45807</c:v>
                      </c:pt>
                      <c:pt idx="449">
                        <c:v>45811</c:v>
                      </c:pt>
                      <c:pt idx="450">
                        <c:v>45812</c:v>
                      </c:pt>
                      <c:pt idx="451">
                        <c:v>45813</c:v>
                      </c:pt>
                      <c:pt idx="452">
                        <c:v>45814</c:v>
                      </c:pt>
                      <c:pt idx="453">
                        <c:v>45817</c:v>
                      </c:pt>
                      <c:pt idx="454">
                        <c:v>45818</c:v>
                      </c:pt>
                      <c:pt idx="455">
                        <c:v>45819</c:v>
                      </c:pt>
                      <c:pt idx="456">
                        <c:v>45820</c:v>
                      </c:pt>
                      <c:pt idx="457">
                        <c:v>45821</c:v>
                      </c:pt>
                      <c:pt idx="458">
                        <c:v>45824</c:v>
                      </c:pt>
                      <c:pt idx="459">
                        <c:v>45825</c:v>
                      </c:pt>
                      <c:pt idx="460">
                        <c:v>45826</c:v>
                      </c:pt>
                      <c:pt idx="461">
                        <c:v>45827</c:v>
                      </c:pt>
                      <c:pt idx="462">
                        <c:v>45828</c:v>
                      </c:pt>
                      <c:pt idx="463">
                        <c:v>45831</c:v>
                      </c:pt>
                      <c:pt idx="464">
                        <c:v>45832</c:v>
                      </c:pt>
                      <c:pt idx="465">
                        <c:v>45833</c:v>
                      </c:pt>
                      <c:pt idx="466">
                        <c:v>45834</c:v>
                      </c:pt>
                      <c:pt idx="467">
                        <c:v>45835</c:v>
                      </c:pt>
                      <c:pt idx="468">
                        <c:v>45838</c:v>
                      </c:pt>
                      <c:pt idx="469">
                        <c:v>45839</c:v>
                      </c:pt>
                      <c:pt idx="470">
                        <c:v>45840</c:v>
                      </c:pt>
                      <c:pt idx="471">
                        <c:v>45841</c:v>
                      </c:pt>
                      <c:pt idx="472">
                        <c:v>45842</c:v>
                      </c:pt>
                      <c:pt idx="473">
                        <c:v>45845</c:v>
                      </c:pt>
                      <c:pt idx="474">
                        <c:v>45846</c:v>
                      </c:pt>
                      <c:pt idx="475">
                        <c:v>45847</c:v>
                      </c:pt>
                      <c:pt idx="476">
                        <c:v>45848</c:v>
                      </c:pt>
                      <c:pt idx="477">
                        <c:v>45849</c:v>
                      </c:pt>
                      <c:pt idx="478">
                        <c:v>45852</c:v>
                      </c:pt>
                      <c:pt idx="479">
                        <c:v>45853</c:v>
                      </c:pt>
                      <c:pt idx="480">
                        <c:v>45854</c:v>
                      </c:pt>
                      <c:pt idx="481">
                        <c:v>45855</c:v>
                      </c:pt>
                      <c:pt idx="482">
                        <c:v>45856</c:v>
                      </c:pt>
                      <c:pt idx="483">
                        <c:v>45859</c:v>
                      </c:pt>
                      <c:pt idx="484">
                        <c:v>45860</c:v>
                      </c:pt>
                      <c:pt idx="485">
                        <c:v>45861</c:v>
                      </c:pt>
                      <c:pt idx="486">
                        <c:v>45862</c:v>
                      </c:pt>
                      <c:pt idx="487">
                        <c:v>45863</c:v>
                      </c:pt>
                      <c:pt idx="488">
                        <c:v>45866</c:v>
                      </c:pt>
                      <c:pt idx="489">
                        <c:v>45867</c:v>
                      </c:pt>
                      <c:pt idx="490">
                        <c:v>45868</c:v>
                      </c:pt>
                      <c:pt idx="491">
                        <c:v>45869</c:v>
                      </c:pt>
                      <c:pt idx="492">
                        <c:v>45870</c:v>
                      </c:pt>
                      <c:pt idx="493">
                        <c:v>45873</c:v>
                      </c:pt>
                      <c:pt idx="494">
                        <c:v>45874</c:v>
                      </c:pt>
                      <c:pt idx="495">
                        <c:v>45875</c:v>
                      </c:pt>
                      <c:pt idx="496">
                        <c:v>45876</c:v>
                      </c:pt>
                      <c:pt idx="497">
                        <c:v>45877</c:v>
                      </c:pt>
                      <c:pt idx="498">
                        <c:v>45880</c:v>
                      </c:pt>
                      <c:pt idx="499">
                        <c:v>45881</c:v>
                      </c:pt>
                      <c:pt idx="500">
                        <c:v>45882</c:v>
                      </c:pt>
                      <c:pt idx="501">
                        <c:v>45883</c:v>
                      </c:pt>
                      <c:pt idx="502">
                        <c:v>45884</c:v>
                      </c:pt>
                      <c:pt idx="503">
                        <c:v>45887</c:v>
                      </c:pt>
                      <c:pt idx="504">
                        <c:v>45888</c:v>
                      </c:pt>
                      <c:pt idx="505">
                        <c:v>45889</c:v>
                      </c:pt>
                      <c:pt idx="506">
                        <c:v>45890</c:v>
                      </c:pt>
                      <c:pt idx="507">
                        <c:v>45891</c:v>
                      </c:pt>
                      <c:pt idx="508">
                        <c:v>45894</c:v>
                      </c:pt>
                      <c:pt idx="509">
                        <c:v>45895</c:v>
                      </c:pt>
                      <c:pt idx="510">
                        <c:v>45896</c:v>
                      </c:pt>
                      <c:pt idx="511">
                        <c:v>45897</c:v>
                      </c:pt>
                      <c:pt idx="512">
                        <c:v>45898</c:v>
                      </c:pt>
                      <c:pt idx="513">
                        <c:v>45901</c:v>
                      </c:pt>
                      <c:pt idx="514">
                        <c:v>45902</c:v>
                      </c:pt>
                      <c:pt idx="515">
                        <c:v>45903</c:v>
                      </c:pt>
                      <c:pt idx="516">
                        <c:v>45904</c:v>
                      </c:pt>
                      <c:pt idx="517">
                        <c:v>45905</c:v>
                      </c:pt>
                      <c:pt idx="518">
                        <c:v>45908</c:v>
                      </c:pt>
                      <c:pt idx="519">
                        <c:v>45909</c:v>
                      </c:pt>
                      <c:pt idx="520">
                        <c:v>45910</c:v>
                      </c:pt>
                      <c:pt idx="521">
                        <c:v>45911</c:v>
                      </c:pt>
                      <c:pt idx="522">
                        <c:v>45912</c:v>
                      </c:pt>
                      <c:pt idx="523">
                        <c:v>45915</c:v>
                      </c:pt>
                      <c:pt idx="524">
                        <c:v>45916</c:v>
                      </c:pt>
                      <c:pt idx="525">
                        <c:v>45917</c:v>
                      </c:pt>
                      <c:pt idx="526">
                        <c:v>45918</c:v>
                      </c:pt>
                      <c:pt idx="527">
                        <c:v>45919</c:v>
                      </c:pt>
                      <c:pt idx="528">
                        <c:v>45922</c:v>
                      </c:pt>
                      <c:pt idx="529">
                        <c:v>45923</c:v>
                      </c:pt>
                      <c:pt idx="530">
                        <c:v>45924</c:v>
                      </c:pt>
                      <c:pt idx="531">
                        <c:v>45925</c:v>
                      </c:pt>
                      <c:pt idx="532">
                        <c:v>45926</c:v>
                      </c:pt>
                      <c:pt idx="533">
                        <c:v>45929</c:v>
                      </c:pt>
                      <c:pt idx="534">
                        <c:v>45930</c:v>
                      </c:pt>
                      <c:pt idx="535">
                        <c:v>45931</c:v>
                      </c:pt>
                      <c:pt idx="536">
                        <c:v>45932</c:v>
                      </c:pt>
                      <c:pt idx="537">
                        <c:v>45933</c:v>
                      </c:pt>
                      <c:pt idx="538">
                        <c:v>45936</c:v>
                      </c:pt>
                      <c:pt idx="539">
                        <c:v>45937</c:v>
                      </c:pt>
                      <c:pt idx="540">
                        <c:v>45938</c:v>
                      </c:pt>
                      <c:pt idx="541">
                        <c:v>45939</c:v>
                      </c:pt>
                      <c:pt idx="542">
                        <c:v>45940</c:v>
                      </c:pt>
                      <c:pt idx="543">
                        <c:v>45943</c:v>
                      </c:pt>
                      <c:pt idx="544">
                        <c:v>45944</c:v>
                      </c:pt>
                      <c:pt idx="545">
                        <c:v>45945</c:v>
                      </c:pt>
                      <c:pt idx="546">
                        <c:v>45946</c:v>
                      </c:pt>
                      <c:pt idx="547">
                        <c:v>45947</c:v>
                      </c:pt>
                      <c:pt idx="548">
                        <c:v>45950</c:v>
                      </c:pt>
                      <c:pt idx="549">
                        <c:v>45951</c:v>
                      </c:pt>
                      <c:pt idx="550">
                        <c:v>45952</c:v>
                      </c:pt>
                      <c:pt idx="551">
                        <c:v>45953</c:v>
                      </c:pt>
                      <c:pt idx="552">
                        <c:v>45954</c:v>
                      </c:pt>
                      <c:pt idx="553">
                        <c:v>45957</c:v>
                      </c:pt>
                      <c:pt idx="554">
                        <c:v>45958</c:v>
                      </c:pt>
                      <c:pt idx="555">
                        <c:v>45959</c:v>
                      </c:pt>
                      <c:pt idx="556">
                        <c:v>45960</c:v>
                      </c:pt>
                      <c:pt idx="557">
                        <c:v>45961</c:v>
                      </c:pt>
                      <c:pt idx="558">
                        <c:v>45964</c:v>
                      </c:pt>
                      <c:pt idx="559">
                        <c:v>45965</c:v>
                      </c:pt>
                      <c:pt idx="560">
                        <c:v>45966</c:v>
                      </c:pt>
                      <c:pt idx="561">
                        <c:v>45967</c:v>
                      </c:pt>
                      <c:pt idx="562">
                        <c:v>45968</c:v>
                      </c:pt>
                      <c:pt idx="563">
                        <c:v>45971</c:v>
                      </c:pt>
                      <c:pt idx="564">
                        <c:v>45972</c:v>
                      </c:pt>
                      <c:pt idx="565">
                        <c:v>45973</c:v>
                      </c:pt>
                      <c:pt idx="566">
                        <c:v>45974</c:v>
                      </c:pt>
                      <c:pt idx="567">
                        <c:v>45975</c:v>
                      </c:pt>
                      <c:pt idx="568">
                        <c:v>45978</c:v>
                      </c:pt>
                      <c:pt idx="569">
                        <c:v>45979</c:v>
                      </c:pt>
                      <c:pt idx="570">
                        <c:v>45980</c:v>
                      </c:pt>
                      <c:pt idx="571">
                        <c:v>45981</c:v>
                      </c:pt>
                      <c:pt idx="572">
                        <c:v>45982</c:v>
                      </c:pt>
                      <c:pt idx="573">
                        <c:v>45985</c:v>
                      </c:pt>
                      <c:pt idx="574">
                        <c:v>45986</c:v>
                      </c:pt>
                      <c:pt idx="575">
                        <c:v>45987</c:v>
                      </c:pt>
                      <c:pt idx="576">
                        <c:v>45988</c:v>
                      </c:pt>
                      <c:pt idx="577">
                        <c:v>45989</c:v>
                      </c:pt>
                      <c:pt idx="578">
                        <c:v>45992</c:v>
                      </c:pt>
                      <c:pt idx="579">
                        <c:v>45993</c:v>
                      </c:pt>
                      <c:pt idx="580">
                        <c:v>45994</c:v>
                      </c:pt>
                      <c:pt idx="581">
                        <c:v>45995</c:v>
                      </c:pt>
                      <c:pt idx="582">
                        <c:v>45996</c:v>
                      </c:pt>
                      <c:pt idx="583">
                        <c:v>45999</c:v>
                      </c:pt>
                      <c:pt idx="584">
                        <c:v>46000</c:v>
                      </c:pt>
                      <c:pt idx="585">
                        <c:v>46001</c:v>
                      </c:pt>
                      <c:pt idx="586">
                        <c:v>46002</c:v>
                      </c:pt>
                      <c:pt idx="587">
                        <c:v>46003</c:v>
                      </c:pt>
                      <c:pt idx="588">
                        <c:v>46006</c:v>
                      </c:pt>
                      <c:pt idx="589">
                        <c:v>46007</c:v>
                      </c:pt>
                      <c:pt idx="590">
                        <c:v>46008</c:v>
                      </c:pt>
                      <c:pt idx="591">
                        <c:v>46009</c:v>
                      </c:pt>
                      <c:pt idx="592">
                        <c:v>46010</c:v>
                      </c:pt>
                      <c:pt idx="593">
                        <c:v>46013</c:v>
                      </c:pt>
                      <c:pt idx="594">
                        <c:v>46014</c:v>
                      </c:pt>
                      <c:pt idx="595">
                        <c:v>46015</c:v>
                      </c:pt>
                      <c:pt idx="596">
                        <c:v>46016</c:v>
                      </c:pt>
                      <c:pt idx="597">
                        <c:v>46017</c:v>
                      </c:pt>
                      <c:pt idx="598">
                        <c:v>46020</c:v>
                      </c:pt>
                      <c:pt idx="599">
                        <c:v>46021</c:v>
                      </c:pt>
                      <c:pt idx="600">
                        <c:v>46022</c:v>
                      </c:pt>
                      <c:pt idx="601">
                        <c:v>46023</c:v>
                      </c:pt>
                      <c:pt idx="602">
                        <c:v>46024</c:v>
                      </c:pt>
                      <c:pt idx="603">
                        <c:v>46027</c:v>
                      </c:pt>
                      <c:pt idx="604">
                        <c:v>46028</c:v>
                      </c:pt>
                      <c:pt idx="605">
                        <c:v>46029</c:v>
                      </c:pt>
                      <c:pt idx="606">
                        <c:v>46030</c:v>
                      </c:pt>
                      <c:pt idx="607">
                        <c:v>46031</c:v>
                      </c:pt>
                      <c:pt idx="608">
                        <c:v>46034</c:v>
                      </c:pt>
                      <c:pt idx="609">
                        <c:v>46035</c:v>
                      </c:pt>
                      <c:pt idx="610">
                        <c:v>46036</c:v>
                      </c:pt>
                      <c:pt idx="611">
                        <c:v>46037</c:v>
                      </c:pt>
                      <c:pt idx="612">
                        <c:v>46038</c:v>
                      </c:pt>
                      <c:pt idx="613">
                        <c:v>46041</c:v>
                      </c:pt>
                      <c:pt idx="614">
                        <c:v>46042</c:v>
                      </c:pt>
                      <c:pt idx="615">
                        <c:v>46043</c:v>
                      </c:pt>
                      <c:pt idx="616">
                        <c:v>46044</c:v>
                      </c:pt>
                      <c:pt idx="617">
                        <c:v>46045</c:v>
                      </c:pt>
                      <c:pt idx="618">
                        <c:v>46048</c:v>
                      </c:pt>
                      <c:pt idx="619">
                        <c:v>46049</c:v>
                      </c:pt>
                      <c:pt idx="620">
                        <c:v>46050</c:v>
                      </c:pt>
                      <c:pt idx="621">
                        <c:v>46051</c:v>
                      </c:pt>
                      <c:pt idx="622">
                        <c:v>46052</c:v>
                      </c:pt>
                      <c:pt idx="623">
                        <c:v>46055</c:v>
                      </c:pt>
                      <c:pt idx="624">
                        <c:v>46056</c:v>
                      </c:pt>
                      <c:pt idx="625">
                        <c:v>46057</c:v>
                      </c:pt>
                      <c:pt idx="626">
                        <c:v>46058</c:v>
                      </c:pt>
                      <c:pt idx="627">
                        <c:v>46059</c:v>
                      </c:pt>
                      <c:pt idx="628">
                        <c:v>46062</c:v>
                      </c:pt>
                      <c:pt idx="629">
                        <c:v>46063</c:v>
                      </c:pt>
                      <c:pt idx="630">
                        <c:v>46064</c:v>
                      </c:pt>
                      <c:pt idx="631">
                        <c:v>46065</c:v>
                      </c:pt>
                      <c:pt idx="632">
                        <c:v>46066</c:v>
                      </c:pt>
                      <c:pt idx="633">
                        <c:v>46069</c:v>
                      </c:pt>
                      <c:pt idx="634">
                        <c:v>46070</c:v>
                      </c:pt>
                      <c:pt idx="635">
                        <c:v>46071</c:v>
                      </c:pt>
                      <c:pt idx="636">
                        <c:v>46072</c:v>
                      </c:pt>
                      <c:pt idx="637">
                        <c:v>46073</c:v>
                      </c:pt>
                      <c:pt idx="638">
                        <c:v>46076</c:v>
                      </c:pt>
                      <c:pt idx="639">
                        <c:v>46077</c:v>
                      </c:pt>
                      <c:pt idx="640">
                        <c:v>46078</c:v>
                      </c:pt>
                      <c:pt idx="641">
                        <c:v>46079</c:v>
                      </c:pt>
                      <c:pt idx="642">
                        <c:v>46080</c:v>
                      </c:pt>
                      <c:pt idx="643">
                        <c:v>46083</c:v>
                      </c:pt>
                      <c:pt idx="644">
                        <c:v>46084</c:v>
                      </c:pt>
                      <c:pt idx="645">
                        <c:v>46085</c:v>
                      </c:pt>
                      <c:pt idx="646">
                        <c:v>46086</c:v>
                      </c:pt>
                      <c:pt idx="647">
                        <c:v>46087</c:v>
                      </c:pt>
                      <c:pt idx="648">
                        <c:v>46090</c:v>
                      </c:pt>
                      <c:pt idx="649">
                        <c:v>46091</c:v>
                      </c:pt>
                      <c:pt idx="650">
                        <c:v>46092</c:v>
                      </c:pt>
                      <c:pt idx="651">
                        <c:v>46093</c:v>
                      </c:pt>
                      <c:pt idx="652">
                        <c:v>46094</c:v>
                      </c:pt>
                      <c:pt idx="653">
                        <c:v>46097</c:v>
                      </c:pt>
                      <c:pt idx="654">
                        <c:v>46098</c:v>
                      </c:pt>
                      <c:pt idx="655">
                        <c:v>46099</c:v>
                      </c:pt>
                      <c:pt idx="656">
                        <c:v>46100</c:v>
                      </c:pt>
                      <c:pt idx="657">
                        <c:v>46101</c:v>
                      </c:pt>
                      <c:pt idx="658">
                        <c:v>46104</c:v>
                      </c:pt>
                      <c:pt idx="659">
                        <c:v>46105</c:v>
                      </c:pt>
                      <c:pt idx="660">
                        <c:v>46106</c:v>
                      </c:pt>
                      <c:pt idx="661">
                        <c:v>46107</c:v>
                      </c:pt>
                      <c:pt idx="662">
                        <c:v>46108</c:v>
                      </c:pt>
                      <c:pt idx="663">
                        <c:v>46111</c:v>
                      </c:pt>
                      <c:pt idx="664">
                        <c:v>46112</c:v>
                      </c:pt>
                      <c:pt idx="665">
                        <c:v>46113</c:v>
                      </c:pt>
                      <c:pt idx="666">
                        <c:v>46114</c:v>
                      </c:pt>
                      <c:pt idx="667">
                        <c:v>46115</c:v>
                      </c:pt>
                      <c:pt idx="668">
                        <c:v>46118</c:v>
                      </c:pt>
                      <c:pt idx="669">
                        <c:v>46119</c:v>
                      </c:pt>
                      <c:pt idx="670">
                        <c:v>46120</c:v>
                      </c:pt>
                      <c:pt idx="671">
                        <c:v>46121</c:v>
                      </c:pt>
                      <c:pt idx="672">
                        <c:v>46122</c:v>
                      </c:pt>
                      <c:pt idx="673">
                        <c:v>46125</c:v>
                      </c:pt>
                      <c:pt idx="674">
                        <c:v>46126</c:v>
                      </c:pt>
                      <c:pt idx="675">
                        <c:v>46127</c:v>
                      </c:pt>
                      <c:pt idx="676">
                        <c:v>46128</c:v>
                      </c:pt>
                      <c:pt idx="677">
                        <c:v>46129</c:v>
                      </c:pt>
                      <c:pt idx="678">
                        <c:v>46132</c:v>
                      </c:pt>
                      <c:pt idx="679">
                        <c:v>46133</c:v>
                      </c:pt>
                      <c:pt idx="680">
                        <c:v>46134</c:v>
                      </c:pt>
                      <c:pt idx="681">
                        <c:v>46135</c:v>
                      </c:pt>
                      <c:pt idx="682">
                        <c:v>46136</c:v>
                      </c:pt>
                      <c:pt idx="683">
                        <c:v>46139</c:v>
                      </c:pt>
                      <c:pt idx="684">
                        <c:v>46140</c:v>
                      </c:pt>
                      <c:pt idx="685">
                        <c:v>46141</c:v>
                      </c:pt>
                      <c:pt idx="686">
                        <c:v>46142</c:v>
                      </c:pt>
                      <c:pt idx="687">
                        <c:v>46143</c:v>
                      </c:pt>
                      <c:pt idx="688">
                        <c:v>46146</c:v>
                      </c:pt>
                      <c:pt idx="689">
                        <c:v>46147</c:v>
                      </c:pt>
                      <c:pt idx="690">
                        <c:v>46148</c:v>
                      </c:pt>
                      <c:pt idx="691">
                        <c:v>46149</c:v>
                      </c:pt>
                      <c:pt idx="692">
                        <c:v>46150</c:v>
                      </c:pt>
                      <c:pt idx="693">
                        <c:v>46153</c:v>
                      </c:pt>
                      <c:pt idx="694">
                        <c:v>46154</c:v>
                      </c:pt>
                      <c:pt idx="695">
                        <c:v>46155</c:v>
                      </c:pt>
                      <c:pt idx="696">
                        <c:v>46156</c:v>
                      </c:pt>
                      <c:pt idx="697">
                        <c:v>46157</c:v>
                      </c:pt>
                      <c:pt idx="698">
                        <c:v>46160</c:v>
                      </c:pt>
                      <c:pt idx="699">
                        <c:v>46161</c:v>
                      </c:pt>
                      <c:pt idx="700">
                        <c:v>46162</c:v>
                      </c:pt>
                      <c:pt idx="701">
                        <c:v>46163</c:v>
                      </c:pt>
                      <c:pt idx="702">
                        <c:v>46164</c:v>
                      </c:pt>
                      <c:pt idx="703">
                        <c:v>46167</c:v>
                      </c:pt>
                      <c:pt idx="704">
                        <c:v>46168</c:v>
                      </c:pt>
                      <c:pt idx="705">
                        <c:v>46169</c:v>
                      </c:pt>
                      <c:pt idx="706">
                        <c:v>46170</c:v>
                      </c:pt>
                      <c:pt idx="707">
                        <c:v>46171</c:v>
                      </c:pt>
                      <c:pt idx="708">
                        <c:v>46174</c:v>
                      </c:pt>
                      <c:pt idx="709">
                        <c:v>46175</c:v>
                      </c:pt>
                      <c:pt idx="710">
                        <c:v>46176</c:v>
                      </c:pt>
                      <c:pt idx="711">
                        <c:v>46177</c:v>
                      </c:pt>
                      <c:pt idx="712">
                        <c:v>46178</c:v>
                      </c:pt>
                      <c:pt idx="713">
                        <c:v>46181</c:v>
                      </c:pt>
                      <c:pt idx="714">
                        <c:v>46182</c:v>
                      </c:pt>
                      <c:pt idx="715">
                        <c:v>46183</c:v>
                      </c:pt>
                      <c:pt idx="716">
                        <c:v>46184</c:v>
                      </c:pt>
                      <c:pt idx="717">
                        <c:v>46185</c:v>
                      </c:pt>
                      <c:pt idx="718">
                        <c:v>46188</c:v>
                      </c:pt>
                      <c:pt idx="719">
                        <c:v>46189</c:v>
                      </c:pt>
                      <c:pt idx="720">
                        <c:v>46190</c:v>
                      </c:pt>
                      <c:pt idx="721">
                        <c:v>46191</c:v>
                      </c:pt>
                      <c:pt idx="722">
                        <c:v>46192</c:v>
                      </c:pt>
                      <c:pt idx="723">
                        <c:v>46195</c:v>
                      </c:pt>
                      <c:pt idx="724">
                        <c:v>46196</c:v>
                      </c:pt>
                      <c:pt idx="725">
                        <c:v>46197</c:v>
                      </c:pt>
                      <c:pt idx="726">
                        <c:v>46198</c:v>
                      </c:pt>
                      <c:pt idx="727">
                        <c:v>46199</c:v>
                      </c:pt>
                      <c:pt idx="728">
                        <c:v>46202</c:v>
                      </c:pt>
                      <c:pt idx="729">
                        <c:v>46203</c:v>
                      </c:pt>
                      <c:pt idx="730">
                        <c:v>46204</c:v>
                      </c:pt>
                      <c:pt idx="731">
                        <c:v>46205</c:v>
                      </c:pt>
                      <c:pt idx="732">
                        <c:v>46206</c:v>
                      </c:pt>
                      <c:pt idx="733">
                        <c:v>46209</c:v>
                      </c:pt>
                      <c:pt idx="734">
                        <c:v>46210</c:v>
                      </c:pt>
                      <c:pt idx="735">
                        <c:v>46211</c:v>
                      </c:pt>
                      <c:pt idx="736">
                        <c:v>46212</c:v>
                      </c:pt>
                      <c:pt idx="737">
                        <c:v>46213</c:v>
                      </c:pt>
                      <c:pt idx="738">
                        <c:v>46216</c:v>
                      </c:pt>
                      <c:pt idx="739">
                        <c:v>46217</c:v>
                      </c:pt>
                      <c:pt idx="740">
                        <c:v>46218</c:v>
                      </c:pt>
                      <c:pt idx="741">
                        <c:v>46219</c:v>
                      </c:pt>
                      <c:pt idx="742">
                        <c:v>46220</c:v>
                      </c:pt>
                      <c:pt idx="743">
                        <c:v>46223</c:v>
                      </c:pt>
                      <c:pt idx="744">
                        <c:v>46224</c:v>
                      </c:pt>
                      <c:pt idx="745">
                        <c:v>46225</c:v>
                      </c:pt>
                      <c:pt idx="746">
                        <c:v>46226</c:v>
                      </c:pt>
                      <c:pt idx="747">
                        <c:v>46227</c:v>
                      </c:pt>
                      <c:pt idx="748">
                        <c:v>46230</c:v>
                      </c:pt>
                      <c:pt idx="749">
                        <c:v>46231</c:v>
                      </c:pt>
                      <c:pt idx="750">
                        <c:v>46232</c:v>
                      </c:pt>
                      <c:pt idx="751">
                        <c:v>46233</c:v>
                      </c:pt>
                      <c:pt idx="752">
                        <c:v>46234</c:v>
                      </c:pt>
                      <c:pt idx="753">
                        <c:v>46237</c:v>
                      </c:pt>
                      <c:pt idx="754">
                        <c:v>46238</c:v>
                      </c:pt>
                      <c:pt idx="755">
                        <c:v>46239</c:v>
                      </c:pt>
                      <c:pt idx="756">
                        <c:v>46240</c:v>
                      </c:pt>
                      <c:pt idx="757">
                        <c:v>46241</c:v>
                      </c:pt>
                      <c:pt idx="758">
                        <c:v>46244</c:v>
                      </c:pt>
                      <c:pt idx="759">
                        <c:v>46245</c:v>
                      </c:pt>
                      <c:pt idx="760">
                        <c:v>46246</c:v>
                      </c:pt>
                      <c:pt idx="761">
                        <c:v>46247</c:v>
                      </c:pt>
                      <c:pt idx="762">
                        <c:v>46248</c:v>
                      </c:pt>
                      <c:pt idx="763">
                        <c:v>46251</c:v>
                      </c:pt>
                      <c:pt idx="764">
                        <c:v>46252</c:v>
                      </c:pt>
                      <c:pt idx="765">
                        <c:v>46253</c:v>
                      </c:pt>
                      <c:pt idx="766">
                        <c:v>46254</c:v>
                      </c:pt>
                      <c:pt idx="767">
                        <c:v>46255</c:v>
                      </c:pt>
                      <c:pt idx="768">
                        <c:v>46258</c:v>
                      </c:pt>
                      <c:pt idx="769">
                        <c:v>46259</c:v>
                      </c:pt>
                      <c:pt idx="770">
                        <c:v>46260</c:v>
                      </c:pt>
                      <c:pt idx="771">
                        <c:v>46261</c:v>
                      </c:pt>
                      <c:pt idx="772">
                        <c:v>46262</c:v>
                      </c:pt>
                      <c:pt idx="773">
                        <c:v>46265</c:v>
                      </c:pt>
                      <c:pt idx="774">
                        <c:v>46266</c:v>
                      </c:pt>
                      <c:pt idx="775">
                        <c:v>46267</c:v>
                      </c:pt>
                      <c:pt idx="776">
                        <c:v>46268</c:v>
                      </c:pt>
                      <c:pt idx="777">
                        <c:v>46269</c:v>
                      </c:pt>
                      <c:pt idx="778">
                        <c:v>46272</c:v>
                      </c:pt>
                      <c:pt idx="779">
                        <c:v>46273</c:v>
                      </c:pt>
                      <c:pt idx="780">
                        <c:v>46274</c:v>
                      </c:pt>
                      <c:pt idx="781">
                        <c:v>46275</c:v>
                      </c:pt>
                      <c:pt idx="782">
                        <c:v>46276</c:v>
                      </c:pt>
                      <c:pt idx="783">
                        <c:v>46279</c:v>
                      </c:pt>
                      <c:pt idx="784">
                        <c:v>46280</c:v>
                      </c:pt>
                      <c:pt idx="785">
                        <c:v>46281</c:v>
                      </c:pt>
                      <c:pt idx="786">
                        <c:v>46282</c:v>
                      </c:pt>
                      <c:pt idx="787">
                        <c:v>46283</c:v>
                      </c:pt>
                      <c:pt idx="788">
                        <c:v>46286</c:v>
                      </c:pt>
                      <c:pt idx="789">
                        <c:v>46287</c:v>
                      </c:pt>
                      <c:pt idx="790">
                        <c:v>46288</c:v>
                      </c:pt>
                      <c:pt idx="791">
                        <c:v>46289</c:v>
                      </c:pt>
                      <c:pt idx="792">
                        <c:v>46290</c:v>
                      </c:pt>
                      <c:pt idx="793">
                        <c:v>46293</c:v>
                      </c:pt>
                      <c:pt idx="794">
                        <c:v>46294</c:v>
                      </c:pt>
                      <c:pt idx="795">
                        <c:v>46295</c:v>
                      </c:pt>
                      <c:pt idx="796">
                        <c:v>46296</c:v>
                      </c:pt>
                      <c:pt idx="797">
                        <c:v>46297</c:v>
                      </c:pt>
                      <c:pt idx="798">
                        <c:v>46300</c:v>
                      </c:pt>
                      <c:pt idx="799">
                        <c:v>46301</c:v>
                      </c:pt>
                      <c:pt idx="800">
                        <c:v>46302</c:v>
                      </c:pt>
                      <c:pt idx="801">
                        <c:v>46303</c:v>
                      </c:pt>
                      <c:pt idx="802">
                        <c:v>46304</c:v>
                      </c:pt>
                      <c:pt idx="803">
                        <c:v>46307</c:v>
                      </c:pt>
                      <c:pt idx="804">
                        <c:v>46308</c:v>
                      </c:pt>
                      <c:pt idx="805">
                        <c:v>46309</c:v>
                      </c:pt>
                      <c:pt idx="806">
                        <c:v>46310</c:v>
                      </c:pt>
                      <c:pt idx="807">
                        <c:v>46311</c:v>
                      </c:pt>
                      <c:pt idx="808">
                        <c:v>46314</c:v>
                      </c:pt>
                      <c:pt idx="809">
                        <c:v>46315</c:v>
                      </c:pt>
                      <c:pt idx="810">
                        <c:v>46316</c:v>
                      </c:pt>
                      <c:pt idx="811">
                        <c:v>46317</c:v>
                      </c:pt>
                      <c:pt idx="812">
                        <c:v>46318</c:v>
                      </c:pt>
                      <c:pt idx="813">
                        <c:v>46321</c:v>
                      </c:pt>
                      <c:pt idx="814">
                        <c:v>46322</c:v>
                      </c:pt>
                      <c:pt idx="815">
                        <c:v>46323</c:v>
                      </c:pt>
                      <c:pt idx="816">
                        <c:v>46324</c:v>
                      </c:pt>
                      <c:pt idx="817">
                        <c:v>46325</c:v>
                      </c:pt>
                      <c:pt idx="818">
                        <c:v>46328</c:v>
                      </c:pt>
                      <c:pt idx="819">
                        <c:v>46329</c:v>
                      </c:pt>
                      <c:pt idx="820">
                        <c:v>46330</c:v>
                      </c:pt>
                      <c:pt idx="821">
                        <c:v>46331</c:v>
                      </c:pt>
                      <c:pt idx="822">
                        <c:v>46332</c:v>
                      </c:pt>
                      <c:pt idx="823">
                        <c:v>46335</c:v>
                      </c:pt>
                      <c:pt idx="824">
                        <c:v>46336</c:v>
                      </c:pt>
                      <c:pt idx="825">
                        <c:v>46337</c:v>
                      </c:pt>
                      <c:pt idx="826">
                        <c:v>46338</c:v>
                      </c:pt>
                      <c:pt idx="827">
                        <c:v>46339</c:v>
                      </c:pt>
                      <c:pt idx="828">
                        <c:v>46342</c:v>
                      </c:pt>
                      <c:pt idx="829">
                        <c:v>46343</c:v>
                      </c:pt>
                      <c:pt idx="830">
                        <c:v>46344</c:v>
                      </c:pt>
                      <c:pt idx="831">
                        <c:v>46345</c:v>
                      </c:pt>
                      <c:pt idx="832">
                        <c:v>46346</c:v>
                      </c:pt>
                      <c:pt idx="833">
                        <c:v>46349</c:v>
                      </c:pt>
                      <c:pt idx="834">
                        <c:v>46350</c:v>
                      </c:pt>
                      <c:pt idx="835">
                        <c:v>46351</c:v>
                      </c:pt>
                      <c:pt idx="836">
                        <c:v>46352</c:v>
                      </c:pt>
                      <c:pt idx="837">
                        <c:v>46353</c:v>
                      </c:pt>
                      <c:pt idx="838">
                        <c:v>46356</c:v>
                      </c:pt>
                      <c:pt idx="839">
                        <c:v>46357</c:v>
                      </c:pt>
                      <c:pt idx="840">
                        <c:v>46358</c:v>
                      </c:pt>
                      <c:pt idx="841">
                        <c:v>46359</c:v>
                      </c:pt>
                      <c:pt idx="842">
                        <c:v>46360</c:v>
                      </c:pt>
                      <c:pt idx="843">
                        <c:v>46363</c:v>
                      </c:pt>
                      <c:pt idx="844">
                        <c:v>46364</c:v>
                      </c:pt>
                      <c:pt idx="845">
                        <c:v>46365</c:v>
                      </c:pt>
                      <c:pt idx="846">
                        <c:v>46366</c:v>
                      </c:pt>
                      <c:pt idx="847">
                        <c:v>46367</c:v>
                      </c:pt>
                      <c:pt idx="848">
                        <c:v>46370</c:v>
                      </c:pt>
                      <c:pt idx="849">
                        <c:v>46371</c:v>
                      </c:pt>
                      <c:pt idx="850">
                        <c:v>46372</c:v>
                      </c:pt>
                      <c:pt idx="851">
                        <c:v>46373</c:v>
                      </c:pt>
                      <c:pt idx="852">
                        <c:v>46374</c:v>
                      </c:pt>
                      <c:pt idx="853">
                        <c:v>46377</c:v>
                      </c:pt>
                      <c:pt idx="854">
                        <c:v>46378</c:v>
                      </c:pt>
                      <c:pt idx="855">
                        <c:v>46379</c:v>
                      </c:pt>
                      <c:pt idx="856">
                        <c:v>46380</c:v>
                      </c:pt>
                      <c:pt idx="857">
                        <c:v>46381</c:v>
                      </c:pt>
                      <c:pt idx="858">
                        <c:v>46384</c:v>
                      </c:pt>
                      <c:pt idx="859">
                        <c:v>46385</c:v>
                      </c:pt>
                      <c:pt idx="860">
                        <c:v>46386</c:v>
                      </c:pt>
                      <c:pt idx="861">
                        <c:v>46387</c:v>
                      </c:pt>
                      <c:pt idx="862">
                        <c:v>46388</c:v>
                      </c:pt>
                      <c:pt idx="863">
                        <c:v>46391</c:v>
                      </c:pt>
                      <c:pt idx="864">
                        <c:v>46392</c:v>
                      </c:pt>
                      <c:pt idx="865">
                        <c:v>46393</c:v>
                      </c:pt>
                      <c:pt idx="866">
                        <c:v>46394</c:v>
                      </c:pt>
                      <c:pt idx="867">
                        <c:v>46395</c:v>
                      </c:pt>
                      <c:pt idx="868">
                        <c:v>46398</c:v>
                      </c:pt>
                      <c:pt idx="869">
                        <c:v>46399</c:v>
                      </c:pt>
                      <c:pt idx="870">
                        <c:v>46400</c:v>
                      </c:pt>
                      <c:pt idx="871">
                        <c:v>46401</c:v>
                      </c:pt>
                      <c:pt idx="872">
                        <c:v>46402</c:v>
                      </c:pt>
                      <c:pt idx="873">
                        <c:v>46405</c:v>
                      </c:pt>
                      <c:pt idx="874">
                        <c:v>46406</c:v>
                      </c:pt>
                      <c:pt idx="875">
                        <c:v>46407</c:v>
                      </c:pt>
                      <c:pt idx="876">
                        <c:v>46408</c:v>
                      </c:pt>
                      <c:pt idx="877">
                        <c:v>46409</c:v>
                      </c:pt>
                      <c:pt idx="878">
                        <c:v>46412</c:v>
                      </c:pt>
                      <c:pt idx="879">
                        <c:v>46413</c:v>
                      </c:pt>
                      <c:pt idx="880">
                        <c:v>46414</c:v>
                      </c:pt>
                      <c:pt idx="881">
                        <c:v>46415</c:v>
                      </c:pt>
                      <c:pt idx="882">
                        <c:v>46416</c:v>
                      </c:pt>
                      <c:pt idx="883">
                        <c:v>46419</c:v>
                      </c:pt>
                      <c:pt idx="884">
                        <c:v>46420</c:v>
                      </c:pt>
                      <c:pt idx="885">
                        <c:v>46421</c:v>
                      </c:pt>
                      <c:pt idx="886">
                        <c:v>46422</c:v>
                      </c:pt>
                      <c:pt idx="887">
                        <c:v>46423</c:v>
                      </c:pt>
                      <c:pt idx="888">
                        <c:v>46426</c:v>
                      </c:pt>
                      <c:pt idx="889">
                        <c:v>46427</c:v>
                      </c:pt>
                      <c:pt idx="890">
                        <c:v>46428</c:v>
                      </c:pt>
                      <c:pt idx="891">
                        <c:v>46429</c:v>
                      </c:pt>
                      <c:pt idx="892">
                        <c:v>46430</c:v>
                      </c:pt>
                      <c:pt idx="893">
                        <c:v>46433</c:v>
                      </c:pt>
                      <c:pt idx="894">
                        <c:v>46434</c:v>
                      </c:pt>
                      <c:pt idx="895">
                        <c:v>46435</c:v>
                      </c:pt>
                      <c:pt idx="896">
                        <c:v>46436</c:v>
                      </c:pt>
                      <c:pt idx="897">
                        <c:v>46437</c:v>
                      </c:pt>
                      <c:pt idx="898">
                        <c:v>46440</c:v>
                      </c:pt>
                      <c:pt idx="899">
                        <c:v>46441</c:v>
                      </c:pt>
                      <c:pt idx="900">
                        <c:v>46442</c:v>
                      </c:pt>
                      <c:pt idx="901">
                        <c:v>46443</c:v>
                      </c:pt>
                      <c:pt idx="902">
                        <c:v>46444</c:v>
                      </c:pt>
                      <c:pt idx="903">
                        <c:v>46447</c:v>
                      </c:pt>
                      <c:pt idx="904">
                        <c:v>46448</c:v>
                      </c:pt>
                      <c:pt idx="905">
                        <c:v>46449</c:v>
                      </c:pt>
                      <c:pt idx="906">
                        <c:v>46450</c:v>
                      </c:pt>
                      <c:pt idx="907">
                        <c:v>46451</c:v>
                      </c:pt>
                      <c:pt idx="908">
                        <c:v>46454</c:v>
                      </c:pt>
                      <c:pt idx="909">
                        <c:v>46455</c:v>
                      </c:pt>
                      <c:pt idx="910">
                        <c:v>46456</c:v>
                      </c:pt>
                      <c:pt idx="911">
                        <c:v>46457</c:v>
                      </c:pt>
                      <c:pt idx="912">
                        <c:v>46458</c:v>
                      </c:pt>
                      <c:pt idx="913">
                        <c:v>46461</c:v>
                      </c:pt>
                      <c:pt idx="914">
                        <c:v>46462</c:v>
                      </c:pt>
                      <c:pt idx="915">
                        <c:v>46463</c:v>
                      </c:pt>
                      <c:pt idx="916">
                        <c:v>46464</c:v>
                      </c:pt>
                      <c:pt idx="917">
                        <c:v>46465</c:v>
                      </c:pt>
                      <c:pt idx="918">
                        <c:v>46468</c:v>
                      </c:pt>
                      <c:pt idx="919">
                        <c:v>46469</c:v>
                      </c:pt>
                      <c:pt idx="920">
                        <c:v>46470</c:v>
                      </c:pt>
                      <c:pt idx="921">
                        <c:v>46471</c:v>
                      </c:pt>
                      <c:pt idx="922">
                        <c:v>46472</c:v>
                      </c:pt>
                      <c:pt idx="923">
                        <c:v>46475</c:v>
                      </c:pt>
                      <c:pt idx="924">
                        <c:v>46476</c:v>
                      </c:pt>
                      <c:pt idx="925">
                        <c:v>46477</c:v>
                      </c:pt>
                      <c:pt idx="926">
                        <c:v>46478</c:v>
                      </c:pt>
                      <c:pt idx="927">
                        <c:v>46479</c:v>
                      </c:pt>
                      <c:pt idx="928">
                        <c:v>46482</c:v>
                      </c:pt>
                      <c:pt idx="929">
                        <c:v>46483</c:v>
                      </c:pt>
                      <c:pt idx="930">
                        <c:v>46484</c:v>
                      </c:pt>
                      <c:pt idx="931">
                        <c:v>46485</c:v>
                      </c:pt>
                      <c:pt idx="932">
                        <c:v>46486</c:v>
                      </c:pt>
                      <c:pt idx="933">
                        <c:v>46489</c:v>
                      </c:pt>
                      <c:pt idx="934">
                        <c:v>46490</c:v>
                      </c:pt>
                      <c:pt idx="935">
                        <c:v>46491</c:v>
                      </c:pt>
                      <c:pt idx="936">
                        <c:v>46492</c:v>
                      </c:pt>
                      <c:pt idx="937">
                        <c:v>46493</c:v>
                      </c:pt>
                      <c:pt idx="938">
                        <c:v>46496</c:v>
                      </c:pt>
                      <c:pt idx="939">
                        <c:v>46497</c:v>
                      </c:pt>
                      <c:pt idx="940">
                        <c:v>46498</c:v>
                      </c:pt>
                      <c:pt idx="941">
                        <c:v>46499</c:v>
                      </c:pt>
                      <c:pt idx="942">
                        <c:v>46500</c:v>
                      </c:pt>
                      <c:pt idx="943">
                        <c:v>46503</c:v>
                      </c:pt>
                      <c:pt idx="944">
                        <c:v>46504</c:v>
                      </c:pt>
                      <c:pt idx="945">
                        <c:v>46505</c:v>
                      </c:pt>
                      <c:pt idx="946">
                        <c:v>46506</c:v>
                      </c:pt>
                      <c:pt idx="947">
                        <c:v>46507</c:v>
                      </c:pt>
                      <c:pt idx="948">
                        <c:v>46510</c:v>
                      </c:pt>
                      <c:pt idx="949">
                        <c:v>46511</c:v>
                      </c:pt>
                      <c:pt idx="950">
                        <c:v>46512</c:v>
                      </c:pt>
                      <c:pt idx="951">
                        <c:v>46513</c:v>
                      </c:pt>
                      <c:pt idx="952">
                        <c:v>46514</c:v>
                      </c:pt>
                      <c:pt idx="953">
                        <c:v>46517</c:v>
                      </c:pt>
                      <c:pt idx="954">
                        <c:v>46518</c:v>
                      </c:pt>
                      <c:pt idx="955">
                        <c:v>46519</c:v>
                      </c:pt>
                      <c:pt idx="956">
                        <c:v>46520</c:v>
                      </c:pt>
                      <c:pt idx="957">
                        <c:v>46521</c:v>
                      </c:pt>
                      <c:pt idx="958">
                        <c:v>46524</c:v>
                      </c:pt>
                      <c:pt idx="959">
                        <c:v>46525</c:v>
                      </c:pt>
                      <c:pt idx="960">
                        <c:v>46526</c:v>
                      </c:pt>
                      <c:pt idx="961">
                        <c:v>46527</c:v>
                      </c:pt>
                      <c:pt idx="962">
                        <c:v>46528</c:v>
                      </c:pt>
                      <c:pt idx="963">
                        <c:v>46531</c:v>
                      </c:pt>
                      <c:pt idx="964">
                        <c:v>46532</c:v>
                      </c:pt>
                      <c:pt idx="965">
                        <c:v>46533</c:v>
                      </c:pt>
                      <c:pt idx="966">
                        <c:v>46534</c:v>
                      </c:pt>
                      <c:pt idx="967">
                        <c:v>46535</c:v>
                      </c:pt>
                      <c:pt idx="968">
                        <c:v>46538</c:v>
                      </c:pt>
                      <c:pt idx="969">
                        <c:v>46539</c:v>
                      </c:pt>
                      <c:pt idx="970">
                        <c:v>46540</c:v>
                      </c:pt>
                      <c:pt idx="971">
                        <c:v>46541</c:v>
                      </c:pt>
                      <c:pt idx="972">
                        <c:v>46542</c:v>
                      </c:pt>
                      <c:pt idx="973">
                        <c:v>46545</c:v>
                      </c:pt>
                      <c:pt idx="974">
                        <c:v>46546</c:v>
                      </c:pt>
                      <c:pt idx="975">
                        <c:v>46547</c:v>
                      </c:pt>
                      <c:pt idx="976">
                        <c:v>46548</c:v>
                      </c:pt>
                      <c:pt idx="977">
                        <c:v>46549</c:v>
                      </c:pt>
                      <c:pt idx="978">
                        <c:v>46552</c:v>
                      </c:pt>
                      <c:pt idx="979">
                        <c:v>46553</c:v>
                      </c:pt>
                      <c:pt idx="980">
                        <c:v>46554</c:v>
                      </c:pt>
                      <c:pt idx="981">
                        <c:v>46555</c:v>
                      </c:pt>
                      <c:pt idx="982">
                        <c:v>46556</c:v>
                      </c:pt>
                      <c:pt idx="983">
                        <c:v>46559</c:v>
                      </c:pt>
                      <c:pt idx="984">
                        <c:v>46560</c:v>
                      </c:pt>
                      <c:pt idx="985">
                        <c:v>46561</c:v>
                      </c:pt>
                      <c:pt idx="986">
                        <c:v>46562</c:v>
                      </c:pt>
                      <c:pt idx="987">
                        <c:v>46563</c:v>
                      </c:pt>
                      <c:pt idx="988">
                        <c:v>46566</c:v>
                      </c:pt>
                      <c:pt idx="989">
                        <c:v>46567</c:v>
                      </c:pt>
                      <c:pt idx="990">
                        <c:v>46568</c:v>
                      </c:pt>
                      <c:pt idx="991">
                        <c:v>46569</c:v>
                      </c:pt>
                      <c:pt idx="992">
                        <c:v>46570</c:v>
                      </c:pt>
                      <c:pt idx="993">
                        <c:v>46573</c:v>
                      </c:pt>
                      <c:pt idx="994">
                        <c:v>46574</c:v>
                      </c:pt>
                      <c:pt idx="995">
                        <c:v>46575</c:v>
                      </c:pt>
                      <c:pt idx="996">
                        <c:v>46576</c:v>
                      </c:pt>
                      <c:pt idx="997">
                        <c:v>46577</c:v>
                      </c:pt>
                      <c:pt idx="998">
                        <c:v>46580</c:v>
                      </c:pt>
                    </c:numCache>
                  </c:numRef>
                </c:cat>
                <c:val>
                  <c:numRef>
                    <c:extLst>
                      <c:ext uri="{02D57815-91ED-43cb-92C2-25804820EDAC}">
                        <c15:formulaRef>
                          <c15:sqref>Daily!$AF$2:$AF$1057</c15:sqref>
                        </c15:formulaRef>
                      </c:ext>
                    </c:extLst>
                    <c:numCache>
                      <c:formatCode>mmm\-yy</c:formatCode>
                      <c:ptCount val="1056"/>
                      <c:pt idx="0">
                        <c:v>45292</c:v>
                      </c:pt>
                      <c:pt idx="1">
                        <c:v>45292</c:v>
                      </c:pt>
                      <c:pt idx="2">
                        <c:v>45292</c:v>
                      </c:pt>
                      <c:pt idx="3">
                        <c:v>45292</c:v>
                      </c:pt>
                      <c:pt idx="4">
                        <c:v>45292</c:v>
                      </c:pt>
                      <c:pt idx="5">
                        <c:v>45292</c:v>
                      </c:pt>
                      <c:pt idx="6">
                        <c:v>45292</c:v>
                      </c:pt>
                      <c:pt idx="7">
                        <c:v>45292</c:v>
                      </c:pt>
                      <c:pt idx="8">
                        <c:v>45292</c:v>
                      </c:pt>
                      <c:pt idx="9">
                        <c:v>45292</c:v>
                      </c:pt>
                      <c:pt idx="10">
                        <c:v>45292</c:v>
                      </c:pt>
                      <c:pt idx="11">
                        <c:v>45292</c:v>
                      </c:pt>
                      <c:pt idx="12">
                        <c:v>45292</c:v>
                      </c:pt>
                      <c:pt idx="13">
                        <c:v>45292</c:v>
                      </c:pt>
                      <c:pt idx="14">
                        <c:v>45292</c:v>
                      </c:pt>
                      <c:pt idx="15">
                        <c:v>45292</c:v>
                      </c:pt>
                      <c:pt idx="16">
                        <c:v>45292</c:v>
                      </c:pt>
                      <c:pt idx="17">
                        <c:v>45292</c:v>
                      </c:pt>
                      <c:pt idx="18">
                        <c:v>45292</c:v>
                      </c:pt>
                      <c:pt idx="19">
                        <c:v>45292</c:v>
                      </c:pt>
                      <c:pt idx="20">
                        <c:v>45292</c:v>
                      </c:pt>
                      <c:pt idx="21">
                        <c:v>45292</c:v>
                      </c:pt>
                      <c:pt idx="22">
                        <c:v>45292</c:v>
                      </c:pt>
                      <c:pt idx="23">
                        <c:v>45292</c:v>
                      </c:pt>
                      <c:pt idx="24">
                        <c:v>45292</c:v>
                      </c:pt>
                      <c:pt idx="25">
                        <c:v>45292</c:v>
                      </c:pt>
                      <c:pt idx="26">
                        <c:v>45292</c:v>
                      </c:pt>
                      <c:pt idx="27">
                        <c:v>45292</c:v>
                      </c:pt>
                      <c:pt idx="28">
                        <c:v>45292</c:v>
                      </c:pt>
                      <c:pt idx="29">
                        <c:v>45292</c:v>
                      </c:pt>
                      <c:pt idx="30">
                        <c:v>45292</c:v>
                      </c:pt>
                      <c:pt idx="31">
                        <c:v>45292</c:v>
                      </c:pt>
                      <c:pt idx="32">
                        <c:v>45292</c:v>
                      </c:pt>
                      <c:pt idx="33">
                        <c:v>45292</c:v>
                      </c:pt>
                      <c:pt idx="34">
                        <c:v>45292</c:v>
                      </c:pt>
                      <c:pt idx="35">
                        <c:v>45292</c:v>
                      </c:pt>
                      <c:pt idx="36">
                        <c:v>45292</c:v>
                      </c:pt>
                      <c:pt idx="37">
                        <c:v>45292</c:v>
                      </c:pt>
                      <c:pt idx="38">
                        <c:v>45292</c:v>
                      </c:pt>
                      <c:pt idx="39">
                        <c:v>45292</c:v>
                      </c:pt>
                      <c:pt idx="40">
                        <c:v>45292</c:v>
                      </c:pt>
                      <c:pt idx="41">
                        <c:v>45292</c:v>
                      </c:pt>
                      <c:pt idx="42">
                        <c:v>45292</c:v>
                      </c:pt>
                      <c:pt idx="43">
                        <c:v>45292</c:v>
                      </c:pt>
                      <c:pt idx="44">
                        <c:v>45292</c:v>
                      </c:pt>
                      <c:pt idx="45">
                        <c:v>45292</c:v>
                      </c:pt>
                      <c:pt idx="46">
                        <c:v>45292</c:v>
                      </c:pt>
                      <c:pt idx="47">
                        <c:v>45292</c:v>
                      </c:pt>
                      <c:pt idx="48">
                        <c:v>45292</c:v>
                      </c:pt>
                      <c:pt idx="49">
                        <c:v>45292</c:v>
                      </c:pt>
                      <c:pt idx="50">
                        <c:v>45292</c:v>
                      </c:pt>
                      <c:pt idx="51">
                        <c:v>45292</c:v>
                      </c:pt>
                      <c:pt idx="52">
                        <c:v>45292</c:v>
                      </c:pt>
                      <c:pt idx="53">
                        <c:v>45292</c:v>
                      </c:pt>
                      <c:pt idx="54">
                        <c:v>45292</c:v>
                      </c:pt>
                      <c:pt idx="55">
                        <c:v>45292</c:v>
                      </c:pt>
                      <c:pt idx="56">
                        <c:v>45292</c:v>
                      </c:pt>
                      <c:pt idx="57">
                        <c:v>45292</c:v>
                      </c:pt>
                      <c:pt idx="58">
                        <c:v>45292</c:v>
                      </c:pt>
                      <c:pt idx="59">
                        <c:v>45292</c:v>
                      </c:pt>
                      <c:pt idx="60">
                        <c:v>45292</c:v>
                      </c:pt>
                      <c:pt idx="61">
                        <c:v>45292</c:v>
                      </c:pt>
                      <c:pt idx="62">
                        <c:v>45292</c:v>
                      </c:pt>
                      <c:pt idx="63">
                        <c:v>45292</c:v>
                      </c:pt>
                      <c:pt idx="64">
                        <c:v>45292</c:v>
                      </c:pt>
                      <c:pt idx="65">
                        <c:v>45292</c:v>
                      </c:pt>
                      <c:pt idx="66">
                        <c:v>45292</c:v>
                      </c:pt>
                      <c:pt idx="67">
                        <c:v>45292</c:v>
                      </c:pt>
                      <c:pt idx="68">
                        <c:v>45292</c:v>
                      </c:pt>
                      <c:pt idx="69">
                        <c:v>45292</c:v>
                      </c:pt>
                      <c:pt idx="70">
                        <c:v>45292</c:v>
                      </c:pt>
                      <c:pt idx="71">
                        <c:v>45292</c:v>
                      </c:pt>
                      <c:pt idx="72">
                        <c:v>45292</c:v>
                      </c:pt>
                      <c:pt idx="73">
                        <c:v>45292</c:v>
                      </c:pt>
                      <c:pt idx="74">
                        <c:v>45292</c:v>
                      </c:pt>
                      <c:pt idx="75">
                        <c:v>45292</c:v>
                      </c:pt>
                      <c:pt idx="76">
                        <c:v>45292</c:v>
                      </c:pt>
                      <c:pt idx="77">
                        <c:v>45292</c:v>
                      </c:pt>
                      <c:pt idx="78">
                        <c:v>45292</c:v>
                      </c:pt>
                      <c:pt idx="79">
                        <c:v>45292</c:v>
                      </c:pt>
                      <c:pt idx="80">
                        <c:v>45292</c:v>
                      </c:pt>
                      <c:pt idx="81">
                        <c:v>45292</c:v>
                      </c:pt>
                      <c:pt idx="82">
                        <c:v>45292</c:v>
                      </c:pt>
                      <c:pt idx="83">
                        <c:v>45292</c:v>
                      </c:pt>
                      <c:pt idx="84">
                        <c:v>45292</c:v>
                      </c:pt>
                      <c:pt idx="85">
                        <c:v>45292</c:v>
                      </c:pt>
                      <c:pt idx="86">
                        <c:v>45292</c:v>
                      </c:pt>
                      <c:pt idx="87">
                        <c:v>45292</c:v>
                      </c:pt>
                      <c:pt idx="88">
                        <c:v>45292</c:v>
                      </c:pt>
                      <c:pt idx="89">
                        <c:v>45292</c:v>
                      </c:pt>
                      <c:pt idx="90">
                        <c:v>45292</c:v>
                      </c:pt>
                      <c:pt idx="91">
                        <c:v>45292</c:v>
                      </c:pt>
                      <c:pt idx="92">
                        <c:v>45474</c:v>
                      </c:pt>
                      <c:pt idx="93">
                        <c:v>45474</c:v>
                      </c:pt>
                      <c:pt idx="94">
                        <c:v>45474</c:v>
                      </c:pt>
                      <c:pt idx="95">
                        <c:v>45474</c:v>
                      </c:pt>
                      <c:pt idx="96">
                        <c:v>45474</c:v>
                      </c:pt>
                      <c:pt idx="97">
                        <c:v>45474</c:v>
                      </c:pt>
                      <c:pt idx="98">
                        <c:v>45474</c:v>
                      </c:pt>
                      <c:pt idx="99">
                        <c:v>45474</c:v>
                      </c:pt>
                      <c:pt idx="100">
                        <c:v>45474</c:v>
                      </c:pt>
                      <c:pt idx="101">
                        <c:v>45474</c:v>
                      </c:pt>
                      <c:pt idx="102">
                        <c:v>45474</c:v>
                      </c:pt>
                      <c:pt idx="103">
                        <c:v>45474</c:v>
                      </c:pt>
                      <c:pt idx="104">
                        <c:v>45474</c:v>
                      </c:pt>
                      <c:pt idx="105">
                        <c:v>45474</c:v>
                      </c:pt>
                      <c:pt idx="106">
                        <c:v>45474</c:v>
                      </c:pt>
                      <c:pt idx="107">
                        <c:v>45474</c:v>
                      </c:pt>
                      <c:pt idx="108">
                        <c:v>45474</c:v>
                      </c:pt>
                      <c:pt idx="109">
                        <c:v>45474</c:v>
                      </c:pt>
                      <c:pt idx="110">
                        <c:v>45474</c:v>
                      </c:pt>
                      <c:pt idx="111">
                        <c:v>45474</c:v>
                      </c:pt>
                      <c:pt idx="112">
                        <c:v>45474</c:v>
                      </c:pt>
                      <c:pt idx="113">
                        <c:v>45474</c:v>
                      </c:pt>
                      <c:pt idx="114">
                        <c:v>45474</c:v>
                      </c:pt>
                      <c:pt idx="115">
                        <c:v>45474</c:v>
                      </c:pt>
                      <c:pt idx="116">
                        <c:v>45474</c:v>
                      </c:pt>
                      <c:pt idx="117">
                        <c:v>45474</c:v>
                      </c:pt>
                      <c:pt idx="118">
                        <c:v>45474</c:v>
                      </c:pt>
                      <c:pt idx="119">
                        <c:v>45474</c:v>
                      </c:pt>
                      <c:pt idx="120">
                        <c:v>45474</c:v>
                      </c:pt>
                      <c:pt idx="121">
                        <c:v>45474</c:v>
                      </c:pt>
                      <c:pt idx="122">
                        <c:v>45474</c:v>
                      </c:pt>
                      <c:pt idx="123">
                        <c:v>45474</c:v>
                      </c:pt>
                      <c:pt idx="124">
                        <c:v>45474</c:v>
                      </c:pt>
                      <c:pt idx="125">
                        <c:v>45474</c:v>
                      </c:pt>
                      <c:pt idx="126">
                        <c:v>45474</c:v>
                      </c:pt>
                      <c:pt idx="127">
                        <c:v>45474</c:v>
                      </c:pt>
                      <c:pt idx="128">
                        <c:v>45474</c:v>
                      </c:pt>
                      <c:pt idx="129">
                        <c:v>45474</c:v>
                      </c:pt>
                      <c:pt idx="130">
                        <c:v>45474</c:v>
                      </c:pt>
                      <c:pt idx="131">
                        <c:v>45474</c:v>
                      </c:pt>
                      <c:pt idx="132">
                        <c:v>45474</c:v>
                      </c:pt>
                      <c:pt idx="133">
                        <c:v>45474</c:v>
                      </c:pt>
                      <c:pt idx="134">
                        <c:v>45474</c:v>
                      </c:pt>
                      <c:pt idx="135">
                        <c:v>45474</c:v>
                      </c:pt>
                      <c:pt idx="136">
                        <c:v>45474</c:v>
                      </c:pt>
                      <c:pt idx="137">
                        <c:v>45474</c:v>
                      </c:pt>
                      <c:pt idx="138">
                        <c:v>45474</c:v>
                      </c:pt>
                      <c:pt idx="139">
                        <c:v>45474</c:v>
                      </c:pt>
                      <c:pt idx="140">
                        <c:v>45474</c:v>
                      </c:pt>
                      <c:pt idx="141">
                        <c:v>45474</c:v>
                      </c:pt>
                      <c:pt idx="142">
                        <c:v>45474</c:v>
                      </c:pt>
                      <c:pt idx="143">
                        <c:v>45474</c:v>
                      </c:pt>
                      <c:pt idx="144">
                        <c:v>45474</c:v>
                      </c:pt>
                      <c:pt idx="145">
                        <c:v>45474</c:v>
                      </c:pt>
                      <c:pt idx="146">
                        <c:v>45474</c:v>
                      </c:pt>
                      <c:pt idx="147">
                        <c:v>45474</c:v>
                      </c:pt>
                      <c:pt idx="148">
                        <c:v>45474</c:v>
                      </c:pt>
                      <c:pt idx="149">
                        <c:v>45474</c:v>
                      </c:pt>
                      <c:pt idx="150">
                        <c:v>45474</c:v>
                      </c:pt>
                      <c:pt idx="151">
                        <c:v>45474</c:v>
                      </c:pt>
                      <c:pt idx="152">
                        <c:v>45474</c:v>
                      </c:pt>
                      <c:pt idx="153">
                        <c:v>45474</c:v>
                      </c:pt>
                      <c:pt idx="154">
                        <c:v>45474</c:v>
                      </c:pt>
                      <c:pt idx="155">
                        <c:v>45474</c:v>
                      </c:pt>
                      <c:pt idx="156">
                        <c:v>45474</c:v>
                      </c:pt>
                      <c:pt idx="157">
                        <c:v>45474</c:v>
                      </c:pt>
                      <c:pt idx="158">
                        <c:v>45474</c:v>
                      </c:pt>
                      <c:pt idx="159">
                        <c:v>45474</c:v>
                      </c:pt>
                      <c:pt idx="160">
                        <c:v>45474</c:v>
                      </c:pt>
                      <c:pt idx="161">
                        <c:v>45474</c:v>
                      </c:pt>
                      <c:pt idx="162">
                        <c:v>45474</c:v>
                      </c:pt>
                      <c:pt idx="163">
                        <c:v>45474</c:v>
                      </c:pt>
                      <c:pt idx="164">
                        <c:v>45474</c:v>
                      </c:pt>
                      <c:pt idx="165">
                        <c:v>45474</c:v>
                      </c:pt>
                      <c:pt idx="166">
                        <c:v>45474</c:v>
                      </c:pt>
                      <c:pt idx="167">
                        <c:v>45474</c:v>
                      </c:pt>
                      <c:pt idx="168">
                        <c:v>45474</c:v>
                      </c:pt>
                      <c:pt idx="169">
                        <c:v>45474</c:v>
                      </c:pt>
                      <c:pt idx="170">
                        <c:v>45474</c:v>
                      </c:pt>
                      <c:pt idx="171">
                        <c:v>45474</c:v>
                      </c:pt>
                      <c:pt idx="172">
                        <c:v>45474</c:v>
                      </c:pt>
                      <c:pt idx="173">
                        <c:v>45474</c:v>
                      </c:pt>
                      <c:pt idx="174">
                        <c:v>45474</c:v>
                      </c:pt>
                      <c:pt idx="175">
                        <c:v>45474</c:v>
                      </c:pt>
                      <c:pt idx="176">
                        <c:v>45474</c:v>
                      </c:pt>
                      <c:pt idx="177">
                        <c:v>45474</c:v>
                      </c:pt>
                      <c:pt idx="178">
                        <c:v>45474</c:v>
                      </c:pt>
                      <c:pt idx="179">
                        <c:v>45474</c:v>
                      </c:pt>
                      <c:pt idx="180">
                        <c:v>45474</c:v>
                      </c:pt>
                      <c:pt idx="181">
                        <c:v>45474</c:v>
                      </c:pt>
                      <c:pt idx="182">
                        <c:v>45474</c:v>
                      </c:pt>
                      <c:pt idx="183">
                        <c:v>45474</c:v>
                      </c:pt>
                      <c:pt idx="184">
                        <c:v>45474</c:v>
                      </c:pt>
                      <c:pt idx="185">
                        <c:v>45474</c:v>
                      </c:pt>
                      <c:pt idx="186">
                        <c:v>45474</c:v>
                      </c:pt>
                      <c:pt idx="187">
                        <c:v>45474</c:v>
                      </c:pt>
                      <c:pt idx="188">
                        <c:v>45474</c:v>
                      </c:pt>
                      <c:pt idx="189">
                        <c:v>45474</c:v>
                      </c:pt>
                      <c:pt idx="190">
                        <c:v>45474</c:v>
                      </c:pt>
                      <c:pt idx="191">
                        <c:v>45474</c:v>
                      </c:pt>
                      <c:pt idx="192">
                        <c:v>45474</c:v>
                      </c:pt>
                      <c:pt idx="193">
                        <c:v>45474</c:v>
                      </c:pt>
                      <c:pt idx="194">
                        <c:v>45474</c:v>
                      </c:pt>
                      <c:pt idx="195">
                        <c:v>45474</c:v>
                      </c:pt>
                      <c:pt idx="196">
                        <c:v>45474</c:v>
                      </c:pt>
                      <c:pt idx="197">
                        <c:v>45474</c:v>
                      </c:pt>
                      <c:pt idx="198">
                        <c:v>45474</c:v>
                      </c:pt>
                      <c:pt idx="199">
                        <c:v>45474</c:v>
                      </c:pt>
                      <c:pt idx="200">
                        <c:v>45474</c:v>
                      </c:pt>
                      <c:pt idx="201">
                        <c:v>45474</c:v>
                      </c:pt>
                      <c:pt idx="202">
                        <c:v>45474</c:v>
                      </c:pt>
                      <c:pt idx="203">
                        <c:v>45474</c:v>
                      </c:pt>
                      <c:pt idx="204">
                        <c:v>45474</c:v>
                      </c:pt>
                      <c:pt idx="205">
                        <c:v>45474</c:v>
                      </c:pt>
                      <c:pt idx="206">
                        <c:v>45474</c:v>
                      </c:pt>
                      <c:pt idx="207">
                        <c:v>45474</c:v>
                      </c:pt>
                      <c:pt idx="208">
                        <c:v>45474</c:v>
                      </c:pt>
                      <c:pt idx="209">
                        <c:v>45474</c:v>
                      </c:pt>
                      <c:pt idx="210">
                        <c:v>45474</c:v>
                      </c:pt>
                      <c:pt idx="211">
                        <c:v>45474</c:v>
                      </c:pt>
                      <c:pt idx="212">
                        <c:v>45474</c:v>
                      </c:pt>
                      <c:pt idx="213">
                        <c:v>45474</c:v>
                      </c:pt>
                      <c:pt idx="214">
                        <c:v>45474</c:v>
                      </c:pt>
                      <c:pt idx="215">
                        <c:v>45474</c:v>
                      </c:pt>
                      <c:pt idx="216">
                        <c:v>45474</c:v>
                      </c:pt>
                      <c:pt idx="217">
                        <c:v>45474</c:v>
                      </c:pt>
                      <c:pt idx="218">
                        <c:v>45474</c:v>
                      </c:pt>
                      <c:pt idx="219">
                        <c:v>45474</c:v>
                      </c:pt>
                      <c:pt idx="220">
                        <c:v>45474</c:v>
                      </c:pt>
                      <c:pt idx="221">
                        <c:v>45597</c:v>
                      </c:pt>
                      <c:pt idx="222">
                        <c:v>45597</c:v>
                      </c:pt>
                      <c:pt idx="223">
                        <c:v>45597</c:v>
                      </c:pt>
                      <c:pt idx="224">
                        <c:v>45597</c:v>
                      </c:pt>
                      <c:pt idx="225">
                        <c:v>45597</c:v>
                      </c:pt>
                      <c:pt idx="226">
                        <c:v>45597</c:v>
                      </c:pt>
                      <c:pt idx="227">
                        <c:v>45597</c:v>
                      </c:pt>
                      <c:pt idx="228">
                        <c:v>45597</c:v>
                      </c:pt>
                      <c:pt idx="229">
                        <c:v>45597</c:v>
                      </c:pt>
                      <c:pt idx="230">
                        <c:v>45597</c:v>
                      </c:pt>
                      <c:pt idx="231">
                        <c:v>45597</c:v>
                      </c:pt>
                      <c:pt idx="232">
                        <c:v>45597</c:v>
                      </c:pt>
                      <c:pt idx="233">
                        <c:v>45597</c:v>
                      </c:pt>
                      <c:pt idx="234">
                        <c:v>45597</c:v>
                      </c:pt>
                      <c:pt idx="235">
                        <c:v>45597</c:v>
                      </c:pt>
                      <c:pt idx="236">
                        <c:v>45597</c:v>
                      </c:pt>
                      <c:pt idx="237">
                        <c:v>45597</c:v>
                      </c:pt>
                      <c:pt idx="238">
                        <c:v>45597</c:v>
                      </c:pt>
                      <c:pt idx="239">
                        <c:v>45597</c:v>
                      </c:pt>
                      <c:pt idx="240">
                        <c:v>45597</c:v>
                      </c:pt>
                      <c:pt idx="241">
                        <c:v>45597</c:v>
                      </c:pt>
                      <c:pt idx="242">
                        <c:v>45597</c:v>
                      </c:pt>
                      <c:pt idx="243">
                        <c:v>45597</c:v>
                      </c:pt>
                      <c:pt idx="244">
                        <c:v>45597</c:v>
                      </c:pt>
                      <c:pt idx="245">
                        <c:v>45597</c:v>
                      </c:pt>
                      <c:pt idx="246">
                        <c:v>45597</c:v>
                      </c:pt>
                      <c:pt idx="247">
                        <c:v>45597</c:v>
                      </c:pt>
                      <c:pt idx="248">
                        <c:v>45597</c:v>
                      </c:pt>
                      <c:pt idx="249">
                        <c:v>45597</c:v>
                      </c:pt>
                      <c:pt idx="250">
                        <c:v>45597</c:v>
                      </c:pt>
                      <c:pt idx="251">
                        <c:v>45597</c:v>
                      </c:pt>
                      <c:pt idx="252">
                        <c:v>45597</c:v>
                      </c:pt>
                      <c:pt idx="253">
                        <c:v>45597</c:v>
                      </c:pt>
                      <c:pt idx="254">
                        <c:v>45597</c:v>
                      </c:pt>
                      <c:pt idx="255">
                        <c:v>45597</c:v>
                      </c:pt>
                      <c:pt idx="256">
                        <c:v>45597</c:v>
                      </c:pt>
                      <c:pt idx="257">
                        <c:v>45597</c:v>
                      </c:pt>
                      <c:pt idx="258">
                        <c:v>45597</c:v>
                      </c:pt>
                      <c:pt idx="259">
                        <c:v>45597</c:v>
                      </c:pt>
                      <c:pt idx="260">
                        <c:v>45597</c:v>
                      </c:pt>
                      <c:pt idx="261">
                        <c:v>45597</c:v>
                      </c:pt>
                      <c:pt idx="262">
                        <c:v>45597</c:v>
                      </c:pt>
                      <c:pt idx="263">
                        <c:v>45597</c:v>
                      </c:pt>
                      <c:pt idx="264">
                        <c:v>45597</c:v>
                      </c:pt>
                      <c:pt idx="265">
                        <c:v>45597</c:v>
                      </c:pt>
                      <c:pt idx="266">
                        <c:v>45597</c:v>
                      </c:pt>
                      <c:pt idx="267">
                        <c:v>45597</c:v>
                      </c:pt>
                      <c:pt idx="268">
                        <c:v>45597</c:v>
                      </c:pt>
                      <c:pt idx="269">
                        <c:v>45597</c:v>
                      </c:pt>
                      <c:pt idx="270">
                        <c:v>45597</c:v>
                      </c:pt>
                      <c:pt idx="271">
                        <c:v>45597</c:v>
                      </c:pt>
                      <c:pt idx="272">
                        <c:v>45597</c:v>
                      </c:pt>
                      <c:pt idx="273">
                        <c:v>45597</c:v>
                      </c:pt>
                      <c:pt idx="274">
                        <c:v>45597</c:v>
                      </c:pt>
                      <c:pt idx="275">
                        <c:v>45597</c:v>
                      </c:pt>
                      <c:pt idx="276">
                        <c:v>45597</c:v>
                      </c:pt>
                      <c:pt idx="277">
                        <c:v>45597</c:v>
                      </c:pt>
                      <c:pt idx="278">
                        <c:v>45597</c:v>
                      </c:pt>
                      <c:pt idx="279">
                        <c:v>45597</c:v>
                      </c:pt>
                      <c:pt idx="280">
                        <c:v>45597</c:v>
                      </c:pt>
                      <c:pt idx="281">
                        <c:v>45597</c:v>
                      </c:pt>
                      <c:pt idx="282">
                        <c:v>45597</c:v>
                      </c:pt>
                      <c:pt idx="283">
                        <c:v>45597</c:v>
                      </c:pt>
                      <c:pt idx="284">
                        <c:v>45597</c:v>
                      </c:pt>
                      <c:pt idx="285">
                        <c:v>45597</c:v>
                      </c:pt>
                      <c:pt idx="286">
                        <c:v>45597</c:v>
                      </c:pt>
                      <c:pt idx="287">
                        <c:v>45597</c:v>
                      </c:pt>
                      <c:pt idx="288">
                        <c:v>45597</c:v>
                      </c:pt>
                      <c:pt idx="289">
                        <c:v>45597</c:v>
                      </c:pt>
                      <c:pt idx="290">
                        <c:v>45597</c:v>
                      </c:pt>
                      <c:pt idx="291">
                        <c:v>45597</c:v>
                      </c:pt>
                      <c:pt idx="292">
                        <c:v>45597</c:v>
                      </c:pt>
                      <c:pt idx="293">
                        <c:v>45597</c:v>
                      </c:pt>
                      <c:pt idx="294">
                        <c:v>45597</c:v>
                      </c:pt>
                      <c:pt idx="295">
                        <c:v>45597</c:v>
                      </c:pt>
                      <c:pt idx="296">
                        <c:v>45597</c:v>
                      </c:pt>
                      <c:pt idx="297">
                        <c:v>45597</c:v>
                      </c:pt>
                      <c:pt idx="298">
                        <c:v>45597</c:v>
                      </c:pt>
                      <c:pt idx="299">
                        <c:v>45658</c:v>
                      </c:pt>
                      <c:pt idx="300">
                        <c:v>45658</c:v>
                      </c:pt>
                      <c:pt idx="301">
                        <c:v>45658</c:v>
                      </c:pt>
                      <c:pt idx="302">
                        <c:v>45658</c:v>
                      </c:pt>
                      <c:pt idx="303">
                        <c:v>45658</c:v>
                      </c:pt>
                      <c:pt idx="304">
                        <c:v>45658</c:v>
                      </c:pt>
                      <c:pt idx="305">
                        <c:v>45658</c:v>
                      </c:pt>
                      <c:pt idx="306">
                        <c:v>45658</c:v>
                      </c:pt>
                      <c:pt idx="307">
                        <c:v>45658</c:v>
                      </c:pt>
                      <c:pt idx="308">
                        <c:v>45658</c:v>
                      </c:pt>
                      <c:pt idx="309">
                        <c:v>45658</c:v>
                      </c:pt>
                      <c:pt idx="310">
                        <c:v>45658</c:v>
                      </c:pt>
                      <c:pt idx="311">
                        <c:v>45658</c:v>
                      </c:pt>
                      <c:pt idx="312">
                        <c:v>45658</c:v>
                      </c:pt>
                      <c:pt idx="313">
                        <c:v>45658</c:v>
                      </c:pt>
                      <c:pt idx="314">
                        <c:v>45658</c:v>
                      </c:pt>
                      <c:pt idx="315">
                        <c:v>45658</c:v>
                      </c:pt>
                      <c:pt idx="316">
                        <c:v>45658</c:v>
                      </c:pt>
                      <c:pt idx="317">
                        <c:v>45658</c:v>
                      </c:pt>
                      <c:pt idx="318">
                        <c:v>45658</c:v>
                      </c:pt>
                      <c:pt idx="319">
                        <c:v>45658</c:v>
                      </c:pt>
                      <c:pt idx="320">
                        <c:v>45658</c:v>
                      </c:pt>
                      <c:pt idx="321">
                        <c:v>45658</c:v>
                      </c:pt>
                      <c:pt idx="322">
                        <c:v>45658</c:v>
                      </c:pt>
                      <c:pt idx="323">
                        <c:v>45658</c:v>
                      </c:pt>
                      <c:pt idx="324">
                        <c:v>45658</c:v>
                      </c:pt>
                      <c:pt idx="325">
                        <c:v>45658</c:v>
                      </c:pt>
                      <c:pt idx="326">
                        <c:v>45658</c:v>
                      </c:pt>
                      <c:pt idx="327">
                        <c:v>45658</c:v>
                      </c:pt>
                      <c:pt idx="328">
                        <c:v>45658</c:v>
                      </c:pt>
                      <c:pt idx="329">
                        <c:v>45658</c:v>
                      </c:pt>
                      <c:pt idx="330">
                        <c:v>45658</c:v>
                      </c:pt>
                      <c:pt idx="331">
                        <c:v>45658</c:v>
                      </c:pt>
                      <c:pt idx="332">
                        <c:v>45658</c:v>
                      </c:pt>
                      <c:pt idx="333">
                        <c:v>45658</c:v>
                      </c:pt>
                      <c:pt idx="334">
                        <c:v>45658</c:v>
                      </c:pt>
                      <c:pt idx="335">
                        <c:v>45658</c:v>
                      </c:pt>
                      <c:pt idx="336">
                        <c:v>45658</c:v>
                      </c:pt>
                      <c:pt idx="337">
                        <c:v>45658</c:v>
                      </c:pt>
                      <c:pt idx="338">
                        <c:v>45658</c:v>
                      </c:pt>
                      <c:pt idx="339">
                        <c:v>45658</c:v>
                      </c:pt>
                      <c:pt idx="340">
                        <c:v>45658</c:v>
                      </c:pt>
                      <c:pt idx="341">
                        <c:v>45778</c:v>
                      </c:pt>
                      <c:pt idx="342">
                        <c:v>45778</c:v>
                      </c:pt>
                      <c:pt idx="343">
                        <c:v>45778</c:v>
                      </c:pt>
                      <c:pt idx="344">
                        <c:v>45778</c:v>
                      </c:pt>
                      <c:pt idx="345">
                        <c:v>45778</c:v>
                      </c:pt>
                      <c:pt idx="346">
                        <c:v>45778</c:v>
                      </c:pt>
                      <c:pt idx="347">
                        <c:v>45778</c:v>
                      </c:pt>
                      <c:pt idx="348">
                        <c:v>45778</c:v>
                      </c:pt>
                      <c:pt idx="349">
                        <c:v>45778</c:v>
                      </c:pt>
                      <c:pt idx="350">
                        <c:v>45778</c:v>
                      </c:pt>
                      <c:pt idx="351">
                        <c:v>45778</c:v>
                      </c:pt>
                      <c:pt idx="352">
                        <c:v>45778</c:v>
                      </c:pt>
                      <c:pt idx="353">
                        <c:v>45778</c:v>
                      </c:pt>
                      <c:pt idx="354">
                        <c:v>45778</c:v>
                      </c:pt>
                      <c:pt idx="355">
                        <c:v>45778</c:v>
                      </c:pt>
                      <c:pt idx="356">
                        <c:v>45778</c:v>
                      </c:pt>
                      <c:pt idx="357">
                        <c:v>45778</c:v>
                      </c:pt>
                      <c:pt idx="358">
                        <c:v>45778</c:v>
                      </c:pt>
                      <c:pt idx="359">
                        <c:v>45778</c:v>
                      </c:pt>
                      <c:pt idx="360">
                        <c:v>45778</c:v>
                      </c:pt>
                      <c:pt idx="361">
                        <c:v>45778</c:v>
                      </c:pt>
                      <c:pt idx="362">
                        <c:v>45778</c:v>
                      </c:pt>
                      <c:pt idx="363">
                        <c:v>45778</c:v>
                      </c:pt>
                      <c:pt idx="364">
                        <c:v>45778</c:v>
                      </c:pt>
                      <c:pt idx="365">
                        <c:v>45778</c:v>
                      </c:pt>
                      <c:pt idx="366">
                        <c:v>45778</c:v>
                      </c:pt>
                      <c:pt idx="367">
                        <c:v>45778</c:v>
                      </c:pt>
                      <c:pt idx="368">
                        <c:v>45778</c:v>
                      </c:pt>
                      <c:pt idx="369">
                        <c:v>45778</c:v>
                      </c:pt>
                      <c:pt idx="370">
                        <c:v>45778</c:v>
                      </c:pt>
                      <c:pt idx="371">
                        <c:v>45778</c:v>
                      </c:pt>
                      <c:pt idx="372">
                        <c:v>45778</c:v>
                      </c:pt>
                      <c:pt idx="373">
                        <c:v>45778</c:v>
                      </c:pt>
                      <c:pt idx="374">
                        <c:v>45778</c:v>
                      </c:pt>
                      <c:pt idx="375">
                        <c:v>45778</c:v>
                      </c:pt>
                      <c:pt idx="376">
                        <c:v>45778</c:v>
                      </c:pt>
                      <c:pt idx="377">
                        <c:v>45778</c:v>
                      </c:pt>
                      <c:pt idx="378">
                        <c:v>45778</c:v>
                      </c:pt>
                      <c:pt idx="379">
                        <c:v>45778</c:v>
                      </c:pt>
                      <c:pt idx="380">
                        <c:v>45778</c:v>
                      </c:pt>
                      <c:pt idx="381">
                        <c:v>45778</c:v>
                      </c:pt>
                      <c:pt idx="382">
                        <c:v>45778</c:v>
                      </c:pt>
                      <c:pt idx="383">
                        <c:v>45778</c:v>
                      </c:pt>
                      <c:pt idx="384">
                        <c:v>45778</c:v>
                      </c:pt>
                      <c:pt idx="385">
                        <c:v>45778</c:v>
                      </c:pt>
                      <c:pt idx="386">
                        <c:v>45778</c:v>
                      </c:pt>
                      <c:pt idx="387">
                        <c:v>45778</c:v>
                      </c:pt>
                      <c:pt idx="388">
                        <c:v>45778</c:v>
                      </c:pt>
                      <c:pt idx="389">
                        <c:v>45778</c:v>
                      </c:pt>
                      <c:pt idx="390">
                        <c:v>45778</c:v>
                      </c:pt>
                      <c:pt idx="391">
                        <c:v>45778</c:v>
                      </c:pt>
                      <c:pt idx="392">
                        <c:v>45778</c:v>
                      </c:pt>
                      <c:pt idx="393">
                        <c:v>45778</c:v>
                      </c:pt>
                      <c:pt idx="394">
                        <c:v>45778</c:v>
                      </c:pt>
                      <c:pt idx="395">
                        <c:v>45778</c:v>
                      </c:pt>
                      <c:pt idx="396">
                        <c:v>45778</c:v>
                      </c:pt>
                      <c:pt idx="397">
                        <c:v>45778</c:v>
                      </c:pt>
                      <c:pt idx="398">
                        <c:v>45778</c:v>
                      </c:pt>
                      <c:pt idx="399">
                        <c:v>45778</c:v>
                      </c:pt>
                      <c:pt idx="400">
                        <c:v>45778</c:v>
                      </c:pt>
                      <c:pt idx="401">
                        <c:v>45778</c:v>
                      </c:pt>
                      <c:pt idx="402">
                        <c:v>45778</c:v>
                      </c:pt>
                      <c:pt idx="403">
                        <c:v>45778</c:v>
                      </c:pt>
                      <c:pt idx="404">
                        <c:v>45778</c:v>
                      </c:pt>
                      <c:pt idx="405">
                        <c:v>45778</c:v>
                      </c:pt>
                      <c:pt idx="406">
                        <c:v>45778</c:v>
                      </c:pt>
                      <c:pt idx="407">
                        <c:v>45778</c:v>
                      </c:pt>
                      <c:pt idx="408">
                        <c:v>45778</c:v>
                      </c:pt>
                      <c:pt idx="409">
                        <c:v>45778</c:v>
                      </c:pt>
                      <c:pt idx="410">
                        <c:v>45778</c:v>
                      </c:pt>
                      <c:pt idx="411">
                        <c:v>45778</c:v>
                      </c:pt>
                      <c:pt idx="412">
                        <c:v>45778</c:v>
                      </c:pt>
                      <c:pt idx="413">
                        <c:v>45778</c:v>
                      </c:pt>
                      <c:pt idx="414">
                        <c:v>45778</c:v>
                      </c:pt>
                      <c:pt idx="415">
                        <c:v>45778</c:v>
                      </c:pt>
                      <c:pt idx="416">
                        <c:v>45778</c:v>
                      </c:pt>
                      <c:pt idx="417">
                        <c:v>45778</c:v>
                      </c:pt>
                      <c:pt idx="418">
                        <c:v>45839</c:v>
                      </c:pt>
                      <c:pt idx="419">
                        <c:v>45839</c:v>
                      </c:pt>
                      <c:pt idx="420">
                        <c:v>45839</c:v>
                      </c:pt>
                      <c:pt idx="421">
                        <c:v>45839</c:v>
                      </c:pt>
                      <c:pt idx="422">
                        <c:v>45839</c:v>
                      </c:pt>
                      <c:pt idx="423">
                        <c:v>45839</c:v>
                      </c:pt>
                      <c:pt idx="424">
                        <c:v>45839</c:v>
                      </c:pt>
                      <c:pt idx="425">
                        <c:v>45839</c:v>
                      </c:pt>
                      <c:pt idx="426">
                        <c:v>45839</c:v>
                      </c:pt>
                      <c:pt idx="427">
                        <c:v>45839</c:v>
                      </c:pt>
                      <c:pt idx="428">
                        <c:v>45839</c:v>
                      </c:pt>
                      <c:pt idx="429">
                        <c:v>45839</c:v>
                      </c:pt>
                      <c:pt idx="430">
                        <c:v>45839</c:v>
                      </c:pt>
                      <c:pt idx="431">
                        <c:v>45839</c:v>
                      </c:pt>
                      <c:pt idx="432">
                        <c:v>45839</c:v>
                      </c:pt>
                      <c:pt idx="433">
                        <c:v>45839</c:v>
                      </c:pt>
                      <c:pt idx="434">
                        <c:v>45839</c:v>
                      </c:pt>
                      <c:pt idx="435">
                        <c:v>45839</c:v>
                      </c:pt>
                      <c:pt idx="436">
                        <c:v>45839</c:v>
                      </c:pt>
                      <c:pt idx="437">
                        <c:v>45839</c:v>
                      </c:pt>
                      <c:pt idx="438">
                        <c:v>45839</c:v>
                      </c:pt>
                      <c:pt idx="439">
                        <c:v>45839</c:v>
                      </c:pt>
                      <c:pt idx="440">
                        <c:v>45839</c:v>
                      </c:pt>
                      <c:pt idx="441">
                        <c:v>45839</c:v>
                      </c:pt>
                      <c:pt idx="442">
                        <c:v>45839</c:v>
                      </c:pt>
                      <c:pt idx="443">
                        <c:v>45839</c:v>
                      </c:pt>
                      <c:pt idx="444">
                        <c:v>45839</c:v>
                      </c:pt>
                      <c:pt idx="445">
                        <c:v>45839</c:v>
                      </c:pt>
                      <c:pt idx="446">
                        <c:v>45839</c:v>
                      </c:pt>
                      <c:pt idx="447">
                        <c:v>45839</c:v>
                      </c:pt>
                      <c:pt idx="448">
                        <c:v>45839</c:v>
                      </c:pt>
                      <c:pt idx="449">
                        <c:v>45839</c:v>
                      </c:pt>
                      <c:pt idx="450">
                        <c:v>45839</c:v>
                      </c:pt>
                      <c:pt idx="451">
                        <c:v>45839</c:v>
                      </c:pt>
                      <c:pt idx="452">
                        <c:v>45839</c:v>
                      </c:pt>
                      <c:pt idx="453">
                        <c:v>45839</c:v>
                      </c:pt>
                      <c:pt idx="454">
                        <c:v>45901</c:v>
                      </c:pt>
                      <c:pt idx="455">
                        <c:v>45901</c:v>
                      </c:pt>
                      <c:pt idx="456">
                        <c:v>45901</c:v>
                      </c:pt>
                      <c:pt idx="457">
                        <c:v>45901</c:v>
                      </c:pt>
                      <c:pt idx="458">
                        <c:v>45901</c:v>
                      </c:pt>
                      <c:pt idx="459">
                        <c:v>45901</c:v>
                      </c:pt>
                      <c:pt idx="460">
                        <c:v>45901</c:v>
                      </c:pt>
                      <c:pt idx="461">
                        <c:v>45901</c:v>
                      </c:pt>
                      <c:pt idx="462">
                        <c:v>45901</c:v>
                      </c:pt>
                      <c:pt idx="463">
                        <c:v>45901</c:v>
                      </c:pt>
                      <c:pt idx="464">
                        <c:v>45901</c:v>
                      </c:pt>
                      <c:pt idx="465">
                        <c:v>45901</c:v>
                      </c:pt>
                      <c:pt idx="466">
                        <c:v>45901</c:v>
                      </c:pt>
                      <c:pt idx="467">
                        <c:v>45901</c:v>
                      </c:pt>
                      <c:pt idx="468">
                        <c:v>45901</c:v>
                      </c:pt>
                      <c:pt idx="469">
                        <c:v>45901</c:v>
                      </c:pt>
                      <c:pt idx="470">
                        <c:v>45901</c:v>
                      </c:pt>
                      <c:pt idx="471">
                        <c:v>45901</c:v>
                      </c:pt>
                      <c:pt idx="472">
                        <c:v>45901</c:v>
                      </c:pt>
                      <c:pt idx="473">
                        <c:v>45901</c:v>
                      </c:pt>
                      <c:pt idx="474">
                        <c:v>45901</c:v>
                      </c:pt>
                      <c:pt idx="475">
                        <c:v>45901</c:v>
                      </c:pt>
                      <c:pt idx="476">
                        <c:v>45901</c:v>
                      </c:pt>
                      <c:pt idx="477">
                        <c:v>45901</c:v>
                      </c:pt>
                      <c:pt idx="478">
                        <c:v>45901</c:v>
                      </c:pt>
                      <c:pt idx="479">
                        <c:v>45901</c:v>
                      </c:pt>
                      <c:pt idx="480">
                        <c:v>45901</c:v>
                      </c:pt>
                      <c:pt idx="481">
                        <c:v>45901</c:v>
                      </c:pt>
                      <c:pt idx="482">
                        <c:v>45901</c:v>
                      </c:pt>
                      <c:pt idx="483">
                        <c:v>45901</c:v>
                      </c:pt>
                      <c:pt idx="484">
                        <c:v>45901</c:v>
                      </c:pt>
                      <c:pt idx="485">
                        <c:v>45901</c:v>
                      </c:pt>
                      <c:pt idx="486">
                        <c:v>45901</c:v>
                      </c:pt>
                      <c:pt idx="487">
                        <c:v>45901</c:v>
                      </c:pt>
                      <c:pt idx="488">
                        <c:v>45901</c:v>
                      </c:pt>
                      <c:pt idx="489">
                        <c:v>45901</c:v>
                      </c:pt>
                      <c:pt idx="490">
                        <c:v>45901</c:v>
                      </c:pt>
                      <c:pt idx="491">
                        <c:v>45901</c:v>
                      </c:pt>
                      <c:pt idx="492">
                        <c:v>45901</c:v>
                      </c:pt>
                      <c:pt idx="493">
                        <c:v>45962</c:v>
                      </c:pt>
                      <c:pt idx="494">
                        <c:v>45962</c:v>
                      </c:pt>
                      <c:pt idx="495">
                        <c:v>45962</c:v>
                      </c:pt>
                      <c:pt idx="496">
                        <c:v>45962</c:v>
                      </c:pt>
                      <c:pt idx="497">
                        <c:v>45962</c:v>
                      </c:pt>
                      <c:pt idx="498">
                        <c:v>45962</c:v>
                      </c:pt>
                      <c:pt idx="499">
                        <c:v>45962</c:v>
                      </c:pt>
                      <c:pt idx="500">
                        <c:v>45962</c:v>
                      </c:pt>
                      <c:pt idx="501">
                        <c:v>45962</c:v>
                      </c:pt>
                      <c:pt idx="502">
                        <c:v>45962</c:v>
                      </c:pt>
                      <c:pt idx="503">
                        <c:v>45962</c:v>
                      </c:pt>
                      <c:pt idx="504">
                        <c:v>45962</c:v>
                      </c:pt>
                      <c:pt idx="505">
                        <c:v>45962</c:v>
                      </c:pt>
                      <c:pt idx="506">
                        <c:v>45962</c:v>
                      </c:pt>
                      <c:pt idx="507">
                        <c:v>45962</c:v>
                      </c:pt>
                      <c:pt idx="508">
                        <c:v>45962</c:v>
                      </c:pt>
                      <c:pt idx="509">
                        <c:v>45962</c:v>
                      </c:pt>
                      <c:pt idx="510">
                        <c:v>45962</c:v>
                      </c:pt>
                      <c:pt idx="511">
                        <c:v>45962</c:v>
                      </c:pt>
                      <c:pt idx="512">
                        <c:v>45962</c:v>
                      </c:pt>
                      <c:pt idx="513">
                        <c:v>45962</c:v>
                      </c:pt>
                      <c:pt idx="514">
                        <c:v>45962</c:v>
                      </c:pt>
                      <c:pt idx="515">
                        <c:v>45962</c:v>
                      </c:pt>
                      <c:pt idx="516">
                        <c:v>45962</c:v>
                      </c:pt>
                      <c:pt idx="517">
                        <c:v>45962</c:v>
                      </c:pt>
                      <c:pt idx="518">
                        <c:v>45962</c:v>
                      </c:pt>
                      <c:pt idx="519">
                        <c:v>45962</c:v>
                      </c:pt>
                      <c:pt idx="520">
                        <c:v>45962</c:v>
                      </c:pt>
                      <c:pt idx="521">
                        <c:v>45962</c:v>
                      </c:pt>
                      <c:pt idx="522">
                        <c:v>45962</c:v>
                      </c:pt>
                      <c:pt idx="523">
                        <c:v>45962</c:v>
                      </c:pt>
                      <c:pt idx="524">
                        <c:v>45962</c:v>
                      </c:pt>
                      <c:pt idx="525">
                        <c:v>45962</c:v>
                      </c:pt>
                      <c:pt idx="526">
                        <c:v>45962</c:v>
                      </c:pt>
                      <c:pt idx="527">
                        <c:v>45962</c:v>
                      </c:pt>
                      <c:pt idx="528">
                        <c:v>45962</c:v>
                      </c:pt>
                      <c:pt idx="529">
                        <c:v>45962</c:v>
                      </c:pt>
                      <c:pt idx="530">
                        <c:v>45962</c:v>
                      </c:pt>
                      <c:pt idx="531">
                        <c:v>45962</c:v>
                      </c:pt>
                      <c:pt idx="532">
                        <c:v>45962</c:v>
                      </c:pt>
                      <c:pt idx="533">
                        <c:v>45962</c:v>
                      </c:pt>
                      <c:pt idx="534">
                        <c:v>45962</c:v>
                      </c:pt>
                    </c:numCache>
                  </c:numRef>
                </c:val>
                <c:smooth val="0"/>
                <c:extLst>
                  <c:ext xmlns:c16="http://schemas.microsoft.com/office/drawing/2014/chart" uri="{C3380CC4-5D6E-409C-BE32-E72D297353CC}">
                    <c16:uniqueId val="{00000021-094D-4E29-B010-D717A2A1A293}"/>
                  </c:ext>
                </c:extLst>
              </c15:ser>
            </c15:filteredLineSeries>
            <c15:filteredLineSeries>
              <c15:ser>
                <c:idx val="28"/>
                <c:order val="28"/>
                <c:tx>
                  <c:strRef>
                    <c:extLst xmlns:c15="http://schemas.microsoft.com/office/drawing/2012/chart">
                      <c:ext xmlns:c15="http://schemas.microsoft.com/office/drawing/2012/chart" uri="{02D57815-91ED-43cb-92C2-25804820EDAC}">
                        <c15:formulaRef>
                          <c15:sqref>Daily!$AU$1</c15:sqref>
                        </c15:formulaRef>
                      </c:ext>
                    </c:extLst>
                    <c:strCache>
                      <c:ptCount val="1"/>
                      <c:pt idx="0">
                        <c:v>Open value</c:v>
                      </c:pt>
                    </c:strCache>
                  </c:strRef>
                </c:tx>
                <c:spPr>
                  <a:ln w="28575" cap="rnd" cmpd="sng" algn="ctr">
                    <a:solidFill>
                      <a:schemeClr val="accent5">
                        <a:lumMod val="60000"/>
                        <a:lumOff val="40000"/>
                        <a:shade val="95000"/>
                        <a:satMod val="105000"/>
                      </a:schemeClr>
                    </a:solidFill>
                    <a:prstDash val="solid"/>
                    <a:round/>
                  </a:ln>
                  <a:effectLst/>
                </c:spPr>
                <c:marker>
                  <c:symbol val="none"/>
                </c:marker>
                <c:cat>
                  <c:numRef>
                    <c:extLst xmlns:c15="http://schemas.microsoft.com/office/drawing/2012/chart">
                      <c:ext xmlns:c15="http://schemas.microsoft.com/office/drawing/2012/chart" uri="{02D57815-91ED-43cb-92C2-25804820EDAC}">
                        <c15:formulaRef>
                          <c15:sqref>Daily!$A$2:$A$1000</c15:sqref>
                        </c15:formulaRef>
                      </c:ext>
                    </c:extLst>
                    <c:numCache>
                      <c:formatCode>d\-mmm\-yy</c:formatCode>
                      <c:ptCount val="999"/>
                      <c:pt idx="0">
                        <c:v>45128</c:v>
                      </c:pt>
                      <c:pt idx="1">
                        <c:v>45131</c:v>
                      </c:pt>
                      <c:pt idx="2">
                        <c:v>45132</c:v>
                      </c:pt>
                      <c:pt idx="3">
                        <c:v>45133</c:v>
                      </c:pt>
                      <c:pt idx="4">
                        <c:v>45134</c:v>
                      </c:pt>
                      <c:pt idx="5">
                        <c:v>45135</c:v>
                      </c:pt>
                      <c:pt idx="6">
                        <c:v>45138</c:v>
                      </c:pt>
                      <c:pt idx="7">
                        <c:v>45139</c:v>
                      </c:pt>
                      <c:pt idx="8">
                        <c:v>45140</c:v>
                      </c:pt>
                      <c:pt idx="9">
                        <c:v>45141</c:v>
                      </c:pt>
                      <c:pt idx="10">
                        <c:v>45142</c:v>
                      </c:pt>
                      <c:pt idx="11">
                        <c:v>45145</c:v>
                      </c:pt>
                      <c:pt idx="12">
                        <c:v>45146</c:v>
                      </c:pt>
                      <c:pt idx="13">
                        <c:v>45147</c:v>
                      </c:pt>
                      <c:pt idx="14">
                        <c:v>45148</c:v>
                      </c:pt>
                      <c:pt idx="15">
                        <c:v>45149</c:v>
                      </c:pt>
                      <c:pt idx="16">
                        <c:v>45152</c:v>
                      </c:pt>
                      <c:pt idx="17">
                        <c:v>45153</c:v>
                      </c:pt>
                      <c:pt idx="18">
                        <c:v>45154</c:v>
                      </c:pt>
                      <c:pt idx="19">
                        <c:v>45155</c:v>
                      </c:pt>
                      <c:pt idx="20">
                        <c:v>45156</c:v>
                      </c:pt>
                      <c:pt idx="21">
                        <c:v>45159</c:v>
                      </c:pt>
                      <c:pt idx="22">
                        <c:v>45160</c:v>
                      </c:pt>
                      <c:pt idx="23">
                        <c:v>45161</c:v>
                      </c:pt>
                      <c:pt idx="24">
                        <c:v>45162</c:v>
                      </c:pt>
                      <c:pt idx="25">
                        <c:v>45163</c:v>
                      </c:pt>
                      <c:pt idx="26">
                        <c:v>45166</c:v>
                      </c:pt>
                      <c:pt idx="27">
                        <c:v>45167</c:v>
                      </c:pt>
                      <c:pt idx="28">
                        <c:v>45168</c:v>
                      </c:pt>
                      <c:pt idx="29">
                        <c:v>45169</c:v>
                      </c:pt>
                      <c:pt idx="30">
                        <c:v>45170</c:v>
                      </c:pt>
                      <c:pt idx="31">
                        <c:v>45173</c:v>
                      </c:pt>
                      <c:pt idx="32">
                        <c:v>45174</c:v>
                      </c:pt>
                      <c:pt idx="33">
                        <c:v>45175</c:v>
                      </c:pt>
                      <c:pt idx="34">
                        <c:v>45176</c:v>
                      </c:pt>
                      <c:pt idx="35">
                        <c:v>45177</c:v>
                      </c:pt>
                      <c:pt idx="36">
                        <c:v>45180</c:v>
                      </c:pt>
                      <c:pt idx="37">
                        <c:v>45181</c:v>
                      </c:pt>
                      <c:pt idx="38">
                        <c:v>45182</c:v>
                      </c:pt>
                      <c:pt idx="39">
                        <c:v>45183</c:v>
                      </c:pt>
                      <c:pt idx="40">
                        <c:v>45184</c:v>
                      </c:pt>
                      <c:pt idx="41">
                        <c:v>45187</c:v>
                      </c:pt>
                      <c:pt idx="42">
                        <c:v>45188</c:v>
                      </c:pt>
                      <c:pt idx="43">
                        <c:v>45189</c:v>
                      </c:pt>
                      <c:pt idx="44">
                        <c:v>45190</c:v>
                      </c:pt>
                      <c:pt idx="45">
                        <c:v>45191</c:v>
                      </c:pt>
                      <c:pt idx="46">
                        <c:v>45194</c:v>
                      </c:pt>
                      <c:pt idx="47">
                        <c:v>45195</c:v>
                      </c:pt>
                      <c:pt idx="48">
                        <c:v>45196</c:v>
                      </c:pt>
                      <c:pt idx="49">
                        <c:v>45197</c:v>
                      </c:pt>
                      <c:pt idx="50">
                        <c:v>45208</c:v>
                      </c:pt>
                      <c:pt idx="51">
                        <c:v>45209</c:v>
                      </c:pt>
                      <c:pt idx="52">
                        <c:v>45210</c:v>
                      </c:pt>
                      <c:pt idx="53">
                        <c:v>45211</c:v>
                      </c:pt>
                      <c:pt idx="54">
                        <c:v>45212</c:v>
                      </c:pt>
                      <c:pt idx="55">
                        <c:v>45215</c:v>
                      </c:pt>
                      <c:pt idx="56">
                        <c:v>45216</c:v>
                      </c:pt>
                      <c:pt idx="57">
                        <c:v>45217</c:v>
                      </c:pt>
                      <c:pt idx="58">
                        <c:v>45218</c:v>
                      </c:pt>
                      <c:pt idx="59">
                        <c:v>45219</c:v>
                      </c:pt>
                      <c:pt idx="60">
                        <c:v>45222</c:v>
                      </c:pt>
                      <c:pt idx="61">
                        <c:v>45223</c:v>
                      </c:pt>
                      <c:pt idx="62">
                        <c:v>45224</c:v>
                      </c:pt>
                      <c:pt idx="63">
                        <c:v>45225</c:v>
                      </c:pt>
                      <c:pt idx="64">
                        <c:v>45226</c:v>
                      </c:pt>
                      <c:pt idx="65">
                        <c:v>45229</c:v>
                      </c:pt>
                      <c:pt idx="66">
                        <c:v>45230</c:v>
                      </c:pt>
                      <c:pt idx="67">
                        <c:v>45231</c:v>
                      </c:pt>
                      <c:pt idx="68">
                        <c:v>45232</c:v>
                      </c:pt>
                      <c:pt idx="69">
                        <c:v>45233</c:v>
                      </c:pt>
                      <c:pt idx="70">
                        <c:v>45236</c:v>
                      </c:pt>
                      <c:pt idx="71">
                        <c:v>45237</c:v>
                      </c:pt>
                      <c:pt idx="72">
                        <c:v>45238</c:v>
                      </c:pt>
                      <c:pt idx="73">
                        <c:v>45239</c:v>
                      </c:pt>
                      <c:pt idx="74">
                        <c:v>45240</c:v>
                      </c:pt>
                      <c:pt idx="75">
                        <c:v>45243</c:v>
                      </c:pt>
                      <c:pt idx="76">
                        <c:v>45244</c:v>
                      </c:pt>
                      <c:pt idx="77">
                        <c:v>45245</c:v>
                      </c:pt>
                      <c:pt idx="78">
                        <c:v>45246</c:v>
                      </c:pt>
                      <c:pt idx="79">
                        <c:v>45247</c:v>
                      </c:pt>
                      <c:pt idx="80">
                        <c:v>45250</c:v>
                      </c:pt>
                      <c:pt idx="81">
                        <c:v>45251</c:v>
                      </c:pt>
                      <c:pt idx="82">
                        <c:v>45252</c:v>
                      </c:pt>
                      <c:pt idx="83">
                        <c:v>45253</c:v>
                      </c:pt>
                      <c:pt idx="84">
                        <c:v>45254</c:v>
                      </c:pt>
                      <c:pt idx="85">
                        <c:v>45257</c:v>
                      </c:pt>
                      <c:pt idx="86">
                        <c:v>45258</c:v>
                      </c:pt>
                      <c:pt idx="87">
                        <c:v>45259</c:v>
                      </c:pt>
                      <c:pt idx="88">
                        <c:v>45260</c:v>
                      </c:pt>
                      <c:pt idx="89">
                        <c:v>45261</c:v>
                      </c:pt>
                      <c:pt idx="90">
                        <c:v>45264</c:v>
                      </c:pt>
                      <c:pt idx="91">
                        <c:v>45265</c:v>
                      </c:pt>
                      <c:pt idx="92">
                        <c:v>45266</c:v>
                      </c:pt>
                      <c:pt idx="93">
                        <c:v>45267</c:v>
                      </c:pt>
                      <c:pt idx="94">
                        <c:v>45268</c:v>
                      </c:pt>
                      <c:pt idx="95">
                        <c:v>45271</c:v>
                      </c:pt>
                      <c:pt idx="96">
                        <c:v>45272</c:v>
                      </c:pt>
                      <c:pt idx="97">
                        <c:v>45273</c:v>
                      </c:pt>
                      <c:pt idx="98">
                        <c:v>45274</c:v>
                      </c:pt>
                      <c:pt idx="99">
                        <c:v>45275</c:v>
                      </c:pt>
                      <c:pt idx="100">
                        <c:v>45278</c:v>
                      </c:pt>
                      <c:pt idx="101">
                        <c:v>45279</c:v>
                      </c:pt>
                      <c:pt idx="102">
                        <c:v>45280</c:v>
                      </c:pt>
                      <c:pt idx="103">
                        <c:v>45281</c:v>
                      </c:pt>
                      <c:pt idx="104">
                        <c:v>45282</c:v>
                      </c:pt>
                      <c:pt idx="105">
                        <c:v>45285</c:v>
                      </c:pt>
                      <c:pt idx="106">
                        <c:v>45286</c:v>
                      </c:pt>
                      <c:pt idx="107">
                        <c:v>45287</c:v>
                      </c:pt>
                      <c:pt idx="108">
                        <c:v>45288</c:v>
                      </c:pt>
                      <c:pt idx="109">
                        <c:v>45289</c:v>
                      </c:pt>
                      <c:pt idx="110">
                        <c:v>45293</c:v>
                      </c:pt>
                      <c:pt idx="111">
                        <c:v>45294</c:v>
                      </c:pt>
                      <c:pt idx="112">
                        <c:v>45295</c:v>
                      </c:pt>
                      <c:pt idx="113">
                        <c:v>45296</c:v>
                      </c:pt>
                      <c:pt idx="114">
                        <c:v>45299</c:v>
                      </c:pt>
                      <c:pt idx="115">
                        <c:v>45300</c:v>
                      </c:pt>
                      <c:pt idx="116">
                        <c:v>45301</c:v>
                      </c:pt>
                      <c:pt idx="117">
                        <c:v>45302</c:v>
                      </c:pt>
                      <c:pt idx="118">
                        <c:v>45303</c:v>
                      </c:pt>
                      <c:pt idx="119">
                        <c:v>45306</c:v>
                      </c:pt>
                      <c:pt idx="120">
                        <c:v>45307</c:v>
                      </c:pt>
                      <c:pt idx="121">
                        <c:v>45308</c:v>
                      </c:pt>
                      <c:pt idx="122">
                        <c:v>45309</c:v>
                      </c:pt>
                      <c:pt idx="123">
                        <c:v>45310</c:v>
                      </c:pt>
                      <c:pt idx="124">
                        <c:v>45313</c:v>
                      </c:pt>
                      <c:pt idx="125">
                        <c:v>45314</c:v>
                      </c:pt>
                      <c:pt idx="126">
                        <c:v>45315</c:v>
                      </c:pt>
                      <c:pt idx="127">
                        <c:v>45316</c:v>
                      </c:pt>
                      <c:pt idx="128">
                        <c:v>45317</c:v>
                      </c:pt>
                      <c:pt idx="129">
                        <c:v>45320</c:v>
                      </c:pt>
                      <c:pt idx="130">
                        <c:v>45321</c:v>
                      </c:pt>
                      <c:pt idx="131">
                        <c:v>45322</c:v>
                      </c:pt>
                      <c:pt idx="132">
                        <c:v>45323</c:v>
                      </c:pt>
                      <c:pt idx="133">
                        <c:v>45324</c:v>
                      </c:pt>
                      <c:pt idx="134">
                        <c:v>45327</c:v>
                      </c:pt>
                      <c:pt idx="135">
                        <c:v>45328</c:v>
                      </c:pt>
                      <c:pt idx="136">
                        <c:v>45329</c:v>
                      </c:pt>
                      <c:pt idx="137">
                        <c:v>45330</c:v>
                      </c:pt>
                      <c:pt idx="138">
                        <c:v>45341</c:v>
                      </c:pt>
                      <c:pt idx="139">
                        <c:v>45342</c:v>
                      </c:pt>
                      <c:pt idx="140">
                        <c:v>45343</c:v>
                      </c:pt>
                      <c:pt idx="141">
                        <c:v>45344</c:v>
                      </c:pt>
                      <c:pt idx="142">
                        <c:v>45345</c:v>
                      </c:pt>
                      <c:pt idx="143">
                        <c:v>45348</c:v>
                      </c:pt>
                      <c:pt idx="144">
                        <c:v>45349</c:v>
                      </c:pt>
                      <c:pt idx="145">
                        <c:v>45350</c:v>
                      </c:pt>
                      <c:pt idx="146">
                        <c:v>45351</c:v>
                      </c:pt>
                      <c:pt idx="147">
                        <c:v>45352</c:v>
                      </c:pt>
                      <c:pt idx="148">
                        <c:v>45355</c:v>
                      </c:pt>
                      <c:pt idx="149">
                        <c:v>45356</c:v>
                      </c:pt>
                      <c:pt idx="150">
                        <c:v>45357</c:v>
                      </c:pt>
                      <c:pt idx="151">
                        <c:v>45358</c:v>
                      </c:pt>
                      <c:pt idx="152">
                        <c:v>45359</c:v>
                      </c:pt>
                      <c:pt idx="153">
                        <c:v>45362</c:v>
                      </c:pt>
                      <c:pt idx="154">
                        <c:v>45363</c:v>
                      </c:pt>
                      <c:pt idx="155">
                        <c:v>45364</c:v>
                      </c:pt>
                      <c:pt idx="156">
                        <c:v>45365</c:v>
                      </c:pt>
                      <c:pt idx="157">
                        <c:v>45366</c:v>
                      </c:pt>
                      <c:pt idx="158">
                        <c:v>45369</c:v>
                      </c:pt>
                      <c:pt idx="159">
                        <c:v>45370</c:v>
                      </c:pt>
                      <c:pt idx="160">
                        <c:v>45371</c:v>
                      </c:pt>
                      <c:pt idx="161">
                        <c:v>45372</c:v>
                      </c:pt>
                      <c:pt idx="162">
                        <c:v>45373</c:v>
                      </c:pt>
                      <c:pt idx="163">
                        <c:v>45376</c:v>
                      </c:pt>
                      <c:pt idx="164">
                        <c:v>45377</c:v>
                      </c:pt>
                      <c:pt idx="165">
                        <c:v>45378</c:v>
                      </c:pt>
                      <c:pt idx="166">
                        <c:v>45379</c:v>
                      </c:pt>
                      <c:pt idx="167">
                        <c:v>45380</c:v>
                      </c:pt>
                      <c:pt idx="168">
                        <c:v>45383</c:v>
                      </c:pt>
                      <c:pt idx="169">
                        <c:v>45384</c:v>
                      </c:pt>
                      <c:pt idx="170">
                        <c:v>45385</c:v>
                      </c:pt>
                      <c:pt idx="171">
                        <c:v>45390</c:v>
                      </c:pt>
                      <c:pt idx="172">
                        <c:v>45391</c:v>
                      </c:pt>
                      <c:pt idx="173">
                        <c:v>45392</c:v>
                      </c:pt>
                      <c:pt idx="174">
                        <c:v>45393</c:v>
                      </c:pt>
                      <c:pt idx="175">
                        <c:v>45394</c:v>
                      </c:pt>
                      <c:pt idx="176">
                        <c:v>45397</c:v>
                      </c:pt>
                      <c:pt idx="177">
                        <c:v>45398</c:v>
                      </c:pt>
                      <c:pt idx="178">
                        <c:v>45399</c:v>
                      </c:pt>
                      <c:pt idx="179">
                        <c:v>45400</c:v>
                      </c:pt>
                      <c:pt idx="180">
                        <c:v>45401</c:v>
                      </c:pt>
                      <c:pt idx="181">
                        <c:v>45404</c:v>
                      </c:pt>
                      <c:pt idx="182">
                        <c:v>45405</c:v>
                      </c:pt>
                      <c:pt idx="183">
                        <c:v>45406</c:v>
                      </c:pt>
                      <c:pt idx="184">
                        <c:v>45407</c:v>
                      </c:pt>
                      <c:pt idx="185">
                        <c:v>45408</c:v>
                      </c:pt>
                      <c:pt idx="186">
                        <c:v>45411</c:v>
                      </c:pt>
                      <c:pt idx="187">
                        <c:v>45412</c:v>
                      </c:pt>
                      <c:pt idx="188">
                        <c:v>45418</c:v>
                      </c:pt>
                      <c:pt idx="189">
                        <c:v>45419</c:v>
                      </c:pt>
                      <c:pt idx="190">
                        <c:v>45420</c:v>
                      </c:pt>
                      <c:pt idx="191">
                        <c:v>45421</c:v>
                      </c:pt>
                      <c:pt idx="192">
                        <c:v>45422</c:v>
                      </c:pt>
                      <c:pt idx="193">
                        <c:v>45425</c:v>
                      </c:pt>
                      <c:pt idx="194">
                        <c:v>45426</c:v>
                      </c:pt>
                      <c:pt idx="195">
                        <c:v>45427</c:v>
                      </c:pt>
                      <c:pt idx="196">
                        <c:v>45428</c:v>
                      </c:pt>
                      <c:pt idx="197">
                        <c:v>45429</c:v>
                      </c:pt>
                      <c:pt idx="198">
                        <c:v>45432</c:v>
                      </c:pt>
                      <c:pt idx="199">
                        <c:v>45433</c:v>
                      </c:pt>
                      <c:pt idx="200">
                        <c:v>45434</c:v>
                      </c:pt>
                      <c:pt idx="201">
                        <c:v>45435</c:v>
                      </c:pt>
                      <c:pt idx="202">
                        <c:v>45436</c:v>
                      </c:pt>
                      <c:pt idx="203">
                        <c:v>45439</c:v>
                      </c:pt>
                      <c:pt idx="204">
                        <c:v>45440</c:v>
                      </c:pt>
                      <c:pt idx="205">
                        <c:v>45441</c:v>
                      </c:pt>
                      <c:pt idx="206">
                        <c:v>45442</c:v>
                      </c:pt>
                      <c:pt idx="207">
                        <c:v>45443</c:v>
                      </c:pt>
                      <c:pt idx="208">
                        <c:v>45446</c:v>
                      </c:pt>
                      <c:pt idx="209">
                        <c:v>45447</c:v>
                      </c:pt>
                      <c:pt idx="210">
                        <c:v>45448</c:v>
                      </c:pt>
                      <c:pt idx="211">
                        <c:v>45449</c:v>
                      </c:pt>
                      <c:pt idx="212">
                        <c:v>45450</c:v>
                      </c:pt>
                      <c:pt idx="213">
                        <c:v>45454</c:v>
                      </c:pt>
                      <c:pt idx="214">
                        <c:v>45455</c:v>
                      </c:pt>
                      <c:pt idx="215">
                        <c:v>45456</c:v>
                      </c:pt>
                      <c:pt idx="216">
                        <c:v>45457</c:v>
                      </c:pt>
                      <c:pt idx="217">
                        <c:v>45460</c:v>
                      </c:pt>
                      <c:pt idx="218">
                        <c:v>45461</c:v>
                      </c:pt>
                      <c:pt idx="219">
                        <c:v>45462</c:v>
                      </c:pt>
                      <c:pt idx="220">
                        <c:v>45463</c:v>
                      </c:pt>
                      <c:pt idx="221">
                        <c:v>45464</c:v>
                      </c:pt>
                      <c:pt idx="222">
                        <c:v>45467</c:v>
                      </c:pt>
                      <c:pt idx="223">
                        <c:v>45468</c:v>
                      </c:pt>
                      <c:pt idx="224">
                        <c:v>45469</c:v>
                      </c:pt>
                      <c:pt idx="225">
                        <c:v>45470</c:v>
                      </c:pt>
                      <c:pt idx="226">
                        <c:v>45471</c:v>
                      </c:pt>
                      <c:pt idx="227">
                        <c:v>45474</c:v>
                      </c:pt>
                      <c:pt idx="228">
                        <c:v>45475</c:v>
                      </c:pt>
                      <c:pt idx="229">
                        <c:v>45476</c:v>
                      </c:pt>
                      <c:pt idx="230">
                        <c:v>45477</c:v>
                      </c:pt>
                      <c:pt idx="231">
                        <c:v>45478</c:v>
                      </c:pt>
                      <c:pt idx="232">
                        <c:v>45481</c:v>
                      </c:pt>
                      <c:pt idx="233">
                        <c:v>45482</c:v>
                      </c:pt>
                      <c:pt idx="234">
                        <c:v>45483</c:v>
                      </c:pt>
                      <c:pt idx="235">
                        <c:v>45484</c:v>
                      </c:pt>
                      <c:pt idx="236">
                        <c:v>45485</c:v>
                      </c:pt>
                      <c:pt idx="237">
                        <c:v>45488</c:v>
                      </c:pt>
                      <c:pt idx="238">
                        <c:v>45489</c:v>
                      </c:pt>
                      <c:pt idx="239">
                        <c:v>45490</c:v>
                      </c:pt>
                      <c:pt idx="240">
                        <c:v>45491</c:v>
                      </c:pt>
                      <c:pt idx="241">
                        <c:v>45492</c:v>
                      </c:pt>
                      <c:pt idx="242">
                        <c:v>45495</c:v>
                      </c:pt>
                      <c:pt idx="243">
                        <c:v>45496</c:v>
                      </c:pt>
                      <c:pt idx="244">
                        <c:v>45497</c:v>
                      </c:pt>
                      <c:pt idx="245">
                        <c:v>45498</c:v>
                      </c:pt>
                      <c:pt idx="246">
                        <c:v>45499</c:v>
                      </c:pt>
                      <c:pt idx="247">
                        <c:v>45502</c:v>
                      </c:pt>
                      <c:pt idx="248">
                        <c:v>45503</c:v>
                      </c:pt>
                      <c:pt idx="249">
                        <c:v>45504</c:v>
                      </c:pt>
                      <c:pt idx="250">
                        <c:v>45505</c:v>
                      </c:pt>
                      <c:pt idx="251">
                        <c:v>45506</c:v>
                      </c:pt>
                      <c:pt idx="252">
                        <c:v>45509</c:v>
                      </c:pt>
                      <c:pt idx="253">
                        <c:v>45510</c:v>
                      </c:pt>
                      <c:pt idx="254">
                        <c:v>45511</c:v>
                      </c:pt>
                      <c:pt idx="255">
                        <c:v>45512</c:v>
                      </c:pt>
                      <c:pt idx="256">
                        <c:v>45513</c:v>
                      </c:pt>
                      <c:pt idx="257">
                        <c:v>45516</c:v>
                      </c:pt>
                      <c:pt idx="258">
                        <c:v>45517</c:v>
                      </c:pt>
                      <c:pt idx="259">
                        <c:v>45518</c:v>
                      </c:pt>
                      <c:pt idx="260">
                        <c:v>45519</c:v>
                      </c:pt>
                      <c:pt idx="261">
                        <c:v>45520</c:v>
                      </c:pt>
                      <c:pt idx="262">
                        <c:v>45523</c:v>
                      </c:pt>
                      <c:pt idx="263">
                        <c:v>45524</c:v>
                      </c:pt>
                      <c:pt idx="264">
                        <c:v>45525</c:v>
                      </c:pt>
                      <c:pt idx="265">
                        <c:v>45526</c:v>
                      </c:pt>
                      <c:pt idx="266">
                        <c:v>45527</c:v>
                      </c:pt>
                      <c:pt idx="267">
                        <c:v>45530</c:v>
                      </c:pt>
                      <c:pt idx="268">
                        <c:v>45531</c:v>
                      </c:pt>
                      <c:pt idx="269">
                        <c:v>45532</c:v>
                      </c:pt>
                      <c:pt idx="270">
                        <c:v>45533</c:v>
                      </c:pt>
                      <c:pt idx="271">
                        <c:v>45534</c:v>
                      </c:pt>
                      <c:pt idx="272">
                        <c:v>45537</c:v>
                      </c:pt>
                      <c:pt idx="273">
                        <c:v>45538</c:v>
                      </c:pt>
                      <c:pt idx="274">
                        <c:v>45539</c:v>
                      </c:pt>
                      <c:pt idx="275">
                        <c:v>45540</c:v>
                      </c:pt>
                      <c:pt idx="276">
                        <c:v>45541</c:v>
                      </c:pt>
                      <c:pt idx="277">
                        <c:v>45544</c:v>
                      </c:pt>
                      <c:pt idx="278">
                        <c:v>45545</c:v>
                      </c:pt>
                      <c:pt idx="279">
                        <c:v>45546</c:v>
                      </c:pt>
                      <c:pt idx="280">
                        <c:v>45547</c:v>
                      </c:pt>
                      <c:pt idx="281">
                        <c:v>45548</c:v>
                      </c:pt>
                      <c:pt idx="282">
                        <c:v>45553</c:v>
                      </c:pt>
                      <c:pt idx="283">
                        <c:v>45554</c:v>
                      </c:pt>
                      <c:pt idx="284">
                        <c:v>45555</c:v>
                      </c:pt>
                      <c:pt idx="285">
                        <c:v>45558</c:v>
                      </c:pt>
                      <c:pt idx="286">
                        <c:v>45559</c:v>
                      </c:pt>
                      <c:pt idx="287">
                        <c:v>45560</c:v>
                      </c:pt>
                      <c:pt idx="288">
                        <c:v>45561</c:v>
                      </c:pt>
                      <c:pt idx="289">
                        <c:v>45562</c:v>
                      </c:pt>
                      <c:pt idx="290">
                        <c:v>45565</c:v>
                      </c:pt>
                      <c:pt idx="291">
                        <c:v>45573</c:v>
                      </c:pt>
                      <c:pt idx="292">
                        <c:v>45574</c:v>
                      </c:pt>
                      <c:pt idx="293">
                        <c:v>45575</c:v>
                      </c:pt>
                      <c:pt idx="294">
                        <c:v>45576</c:v>
                      </c:pt>
                      <c:pt idx="295">
                        <c:v>45579</c:v>
                      </c:pt>
                      <c:pt idx="296">
                        <c:v>45580</c:v>
                      </c:pt>
                      <c:pt idx="297">
                        <c:v>45581</c:v>
                      </c:pt>
                      <c:pt idx="298">
                        <c:v>45582</c:v>
                      </c:pt>
                      <c:pt idx="299">
                        <c:v>45583</c:v>
                      </c:pt>
                      <c:pt idx="300">
                        <c:v>45586</c:v>
                      </c:pt>
                      <c:pt idx="301">
                        <c:v>45587</c:v>
                      </c:pt>
                      <c:pt idx="302">
                        <c:v>45588</c:v>
                      </c:pt>
                      <c:pt idx="303">
                        <c:v>45589</c:v>
                      </c:pt>
                      <c:pt idx="304">
                        <c:v>45590</c:v>
                      </c:pt>
                      <c:pt idx="305">
                        <c:v>45593</c:v>
                      </c:pt>
                      <c:pt idx="306">
                        <c:v>45594</c:v>
                      </c:pt>
                      <c:pt idx="307">
                        <c:v>45595</c:v>
                      </c:pt>
                      <c:pt idx="308">
                        <c:v>45596</c:v>
                      </c:pt>
                      <c:pt idx="309">
                        <c:v>45597</c:v>
                      </c:pt>
                      <c:pt idx="310">
                        <c:v>45600</c:v>
                      </c:pt>
                      <c:pt idx="311">
                        <c:v>45601</c:v>
                      </c:pt>
                      <c:pt idx="312">
                        <c:v>45602</c:v>
                      </c:pt>
                      <c:pt idx="313">
                        <c:v>45603</c:v>
                      </c:pt>
                      <c:pt idx="314">
                        <c:v>45604</c:v>
                      </c:pt>
                      <c:pt idx="315">
                        <c:v>45607</c:v>
                      </c:pt>
                      <c:pt idx="316">
                        <c:v>45608</c:v>
                      </c:pt>
                      <c:pt idx="317">
                        <c:v>45609</c:v>
                      </c:pt>
                      <c:pt idx="318">
                        <c:v>45610</c:v>
                      </c:pt>
                      <c:pt idx="319">
                        <c:v>45611</c:v>
                      </c:pt>
                      <c:pt idx="320">
                        <c:v>45614</c:v>
                      </c:pt>
                      <c:pt idx="321">
                        <c:v>45615</c:v>
                      </c:pt>
                      <c:pt idx="322">
                        <c:v>45616</c:v>
                      </c:pt>
                      <c:pt idx="323">
                        <c:v>45617</c:v>
                      </c:pt>
                      <c:pt idx="324">
                        <c:v>45618</c:v>
                      </c:pt>
                      <c:pt idx="325">
                        <c:v>45621</c:v>
                      </c:pt>
                      <c:pt idx="326">
                        <c:v>45622</c:v>
                      </c:pt>
                      <c:pt idx="327">
                        <c:v>45623</c:v>
                      </c:pt>
                      <c:pt idx="328">
                        <c:v>45624</c:v>
                      </c:pt>
                      <c:pt idx="329">
                        <c:v>45625</c:v>
                      </c:pt>
                      <c:pt idx="330">
                        <c:v>45628</c:v>
                      </c:pt>
                      <c:pt idx="331">
                        <c:v>45629</c:v>
                      </c:pt>
                      <c:pt idx="332">
                        <c:v>45630</c:v>
                      </c:pt>
                      <c:pt idx="333">
                        <c:v>45631</c:v>
                      </c:pt>
                      <c:pt idx="334">
                        <c:v>45632</c:v>
                      </c:pt>
                      <c:pt idx="335">
                        <c:v>45635</c:v>
                      </c:pt>
                      <c:pt idx="336">
                        <c:v>45636</c:v>
                      </c:pt>
                      <c:pt idx="337">
                        <c:v>45637</c:v>
                      </c:pt>
                      <c:pt idx="338">
                        <c:v>45638</c:v>
                      </c:pt>
                      <c:pt idx="339">
                        <c:v>45639</c:v>
                      </c:pt>
                      <c:pt idx="340">
                        <c:v>45642</c:v>
                      </c:pt>
                      <c:pt idx="341">
                        <c:v>45643</c:v>
                      </c:pt>
                      <c:pt idx="342">
                        <c:v>45644</c:v>
                      </c:pt>
                      <c:pt idx="343">
                        <c:v>45645</c:v>
                      </c:pt>
                      <c:pt idx="344">
                        <c:v>45646</c:v>
                      </c:pt>
                      <c:pt idx="345">
                        <c:v>45649</c:v>
                      </c:pt>
                      <c:pt idx="346">
                        <c:v>45650</c:v>
                      </c:pt>
                      <c:pt idx="347">
                        <c:v>45651</c:v>
                      </c:pt>
                      <c:pt idx="348">
                        <c:v>45652</c:v>
                      </c:pt>
                      <c:pt idx="349">
                        <c:v>45653</c:v>
                      </c:pt>
                      <c:pt idx="350">
                        <c:v>45656</c:v>
                      </c:pt>
                      <c:pt idx="351">
                        <c:v>45657</c:v>
                      </c:pt>
                      <c:pt idx="352">
                        <c:v>45659</c:v>
                      </c:pt>
                      <c:pt idx="353">
                        <c:v>45660</c:v>
                      </c:pt>
                      <c:pt idx="354">
                        <c:v>45663</c:v>
                      </c:pt>
                      <c:pt idx="355">
                        <c:v>45664</c:v>
                      </c:pt>
                      <c:pt idx="356">
                        <c:v>45665</c:v>
                      </c:pt>
                      <c:pt idx="357">
                        <c:v>45666</c:v>
                      </c:pt>
                      <c:pt idx="358">
                        <c:v>45667</c:v>
                      </c:pt>
                      <c:pt idx="359">
                        <c:v>45670</c:v>
                      </c:pt>
                      <c:pt idx="360">
                        <c:v>45671</c:v>
                      </c:pt>
                      <c:pt idx="361">
                        <c:v>45672</c:v>
                      </c:pt>
                      <c:pt idx="362">
                        <c:v>45673</c:v>
                      </c:pt>
                      <c:pt idx="363">
                        <c:v>45674</c:v>
                      </c:pt>
                      <c:pt idx="364">
                        <c:v>45677</c:v>
                      </c:pt>
                      <c:pt idx="365">
                        <c:v>45678</c:v>
                      </c:pt>
                      <c:pt idx="366">
                        <c:v>45679</c:v>
                      </c:pt>
                      <c:pt idx="367">
                        <c:v>45680</c:v>
                      </c:pt>
                      <c:pt idx="368">
                        <c:v>45681</c:v>
                      </c:pt>
                      <c:pt idx="369">
                        <c:v>45684</c:v>
                      </c:pt>
                      <c:pt idx="370">
                        <c:v>45693</c:v>
                      </c:pt>
                      <c:pt idx="371">
                        <c:v>45694</c:v>
                      </c:pt>
                      <c:pt idx="372">
                        <c:v>45695</c:v>
                      </c:pt>
                      <c:pt idx="373">
                        <c:v>45698</c:v>
                      </c:pt>
                      <c:pt idx="374">
                        <c:v>45699</c:v>
                      </c:pt>
                      <c:pt idx="375">
                        <c:v>45700</c:v>
                      </c:pt>
                      <c:pt idx="376">
                        <c:v>45701</c:v>
                      </c:pt>
                      <c:pt idx="377">
                        <c:v>45702</c:v>
                      </c:pt>
                      <c:pt idx="378">
                        <c:v>45705</c:v>
                      </c:pt>
                      <c:pt idx="379">
                        <c:v>45706</c:v>
                      </c:pt>
                      <c:pt idx="380">
                        <c:v>45707</c:v>
                      </c:pt>
                      <c:pt idx="381">
                        <c:v>45708</c:v>
                      </c:pt>
                      <c:pt idx="382">
                        <c:v>45709</c:v>
                      </c:pt>
                      <c:pt idx="383">
                        <c:v>45712</c:v>
                      </c:pt>
                      <c:pt idx="384">
                        <c:v>45713</c:v>
                      </c:pt>
                      <c:pt idx="385">
                        <c:v>45714</c:v>
                      </c:pt>
                      <c:pt idx="386">
                        <c:v>45715</c:v>
                      </c:pt>
                      <c:pt idx="387">
                        <c:v>45716</c:v>
                      </c:pt>
                      <c:pt idx="388">
                        <c:v>45719</c:v>
                      </c:pt>
                      <c:pt idx="389">
                        <c:v>45720</c:v>
                      </c:pt>
                      <c:pt idx="390">
                        <c:v>45721</c:v>
                      </c:pt>
                      <c:pt idx="391">
                        <c:v>45722</c:v>
                      </c:pt>
                      <c:pt idx="392">
                        <c:v>45723</c:v>
                      </c:pt>
                      <c:pt idx="393">
                        <c:v>45726</c:v>
                      </c:pt>
                      <c:pt idx="394">
                        <c:v>45727</c:v>
                      </c:pt>
                      <c:pt idx="395">
                        <c:v>45728</c:v>
                      </c:pt>
                      <c:pt idx="396">
                        <c:v>45729</c:v>
                      </c:pt>
                      <c:pt idx="397">
                        <c:v>45730</c:v>
                      </c:pt>
                      <c:pt idx="398">
                        <c:v>45733</c:v>
                      </c:pt>
                      <c:pt idx="399">
                        <c:v>45734</c:v>
                      </c:pt>
                      <c:pt idx="400">
                        <c:v>45735</c:v>
                      </c:pt>
                      <c:pt idx="401">
                        <c:v>45736</c:v>
                      </c:pt>
                      <c:pt idx="402">
                        <c:v>45737</c:v>
                      </c:pt>
                      <c:pt idx="403">
                        <c:v>45740</c:v>
                      </c:pt>
                      <c:pt idx="404">
                        <c:v>45741</c:v>
                      </c:pt>
                      <c:pt idx="405">
                        <c:v>45742</c:v>
                      </c:pt>
                      <c:pt idx="406">
                        <c:v>45743</c:v>
                      </c:pt>
                      <c:pt idx="407">
                        <c:v>45744</c:v>
                      </c:pt>
                      <c:pt idx="408">
                        <c:v>45747</c:v>
                      </c:pt>
                      <c:pt idx="409">
                        <c:v>45748</c:v>
                      </c:pt>
                      <c:pt idx="410">
                        <c:v>45749</c:v>
                      </c:pt>
                      <c:pt idx="411">
                        <c:v>45750</c:v>
                      </c:pt>
                      <c:pt idx="412">
                        <c:v>45754</c:v>
                      </c:pt>
                      <c:pt idx="413">
                        <c:v>45755</c:v>
                      </c:pt>
                      <c:pt idx="414">
                        <c:v>45756</c:v>
                      </c:pt>
                      <c:pt idx="415">
                        <c:v>45757</c:v>
                      </c:pt>
                      <c:pt idx="416">
                        <c:v>45758</c:v>
                      </c:pt>
                      <c:pt idx="417">
                        <c:v>45761</c:v>
                      </c:pt>
                      <c:pt idx="418">
                        <c:v>45762</c:v>
                      </c:pt>
                      <c:pt idx="419">
                        <c:v>45763</c:v>
                      </c:pt>
                      <c:pt idx="420">
                        <c:v>45764</c:v>
                      </c:pt>
                      <c:pt idx="421">
                        <c:v>45765</c:v>
                      </c:pt>
                      <c:pt idx="422">
                        <c:v>45768</c:v>
                      </c:pt>
                      <c:pt idx="423">
                        <c:v>45769</c:v>
                      </c:pt>
                      <c:pt idx="424">
                        <c:v>45770</c:v>
                      </c:pt>
                      <c:pt idx="425">
                        <c:v>45771</c:v>
                      </c:pt>
                      <c:pt idx="426">
                        <c:v>45772</c:v>
                      </c:pt>
                      <c:pt idx="427">
                        <c:v>45775</c:v>
                      </c:pt>
                      <c:pt idx="428">
                        <c:v>45776</c:v>
                      </c:pt>
                      <c:pt idx="429">
                        <c:v>45777</c:v>
                      </c:pt>
                      <c:pt idx="430">
                        <c:v>45783</c:v>
                      </c:pt>
                      <c:pt idx="431">
                        <c:v>45784</c:v>
                      </c:pt>
                      <c:pt idx="432">
                        <c:v>45785</c:v>
                      </c:pt>
                      <c:pt idx="433">
                        <c:v>45786</c:v>
                      </c:pt>
                      <c:pt idx="434">
                        <c:v>45789</c:v>
                      </c:pt>
                      <c:pt idx="435">
                        <c:v>45790</c:v>
                      </c:pt>
                      <c:pt idx="436">
                        <c:v>45791</c:v>
                      </c:pt>
                      <c:pt idx="437">
                        <c:v>45792</c:v>
                      </c:pt>
                      <c:pt idx="438">
                        <c:v>45793</c:v>
                      </c:pt>
                      <c:pt idx="439">
                        <c:v>45796</c:v>
                      </c:pt>
                      <c:pt idx="440">
                        <c:v>45797</c:v>
                      </c:pt>
                      <c:pt idx="441">
                        <c:v>45798</c:v>
                      </c:pt>
                      <c:pt idx="442">
                        <c:v>45799</c:v>
                      </c:pt>
                      <c:pt idx="443">
                        <c:v>45800</c:v>
                      </c:pt>
                      <c:pt idx="444">
                        <c:v>45803</c:v>
                      </c:pt>
                      <c:pt idx="445">
                        <c:v>45804</c:v>
                      </c:pt>
                      <c:pt idx="446">
                        <c:v>45805</c:v>
                      </c:pt>
                      <c:pt idx="447">
                        <c:v>45806</c:v>
                      </c:pt>
                      <c:pt idx="448">
                        <c:v>45807</c:v>
                      </c:pt>
                      <c:pt idx="449">
                        <c:v>45811</c:v>
                      </c:pt>
                      <c:pt idx="450">
                        <c:v>45812</c:v>
                      </c:pt>
                      <c:pt idx="451">
                        <c:v>45813</c:v>
                      </c:pt>
                      <c:pt idx="452">
                        <c:v>45814</c:v>
                      </c:pt>
                      <c:pt idx="453">
                        <c:v>45817</c:v>
                      </c:pt>
                      <c:pt idx="454">
                        <c:v>45818</c:v>
                      </c:pt>
                      <c:pt idx="455">
                        <c:v>45819</c:v>
                      </c:pt>
                      <c:pt idx="456">
                        <c:v>45820</c:v>
                      </c:pt>
                      <c:pt idx="457">
                        <c:v>45821</c:v>
                      </c:pt>
                      <c:pt idx="458">
                        <c:v>45824</c:v>
                      </c:pt>
                      <c:pt idx="459">
                        <c:v>45825</c:v>
                      </c:pt>
                      <c:pt idx="460">
                        <c:v>45826</c:v>
                      </c:pt>
                      <c:pt idx="461">
                        <c:v>45827</c:v>
                      </c:pt>
                      <c:pt idx="462">
                        <c:v>45828</c:v>
                      </c:pt>
                      <c:pt idx="463">
                        <c:v>45831</c:v>
                      </c:pt>
                      <c:pt idx="464">
                        <c:v>45832</c:v>
                      </c:pt>
                      <c:pt idx="465">
                        <c:v>45833</c:v>
                      </c:pt>
                      <c:pt idx="466">
                        <c:v>45834</c:v>
                      </c:pt>
                      <c:pt idx="467">
                        <c:v>45835</c:v>
                      </c:pt>
                      <c:pt idx="468">
                        <c:v>45838</c:v>
                      </c:pt>
                      <c:pt idx="469">
                        <c:v>45839</c:v>
                      </c:pt>
                      <c:pt idx="470">
                        <c:v>45840</c:v>
                      </c:pt>
                      <c:pt idx="471">
                        <c:v>45841</c:v>
                      </c:pt>
                      <c:pt idx="472">
                        <c:v>45842</c:v>
                      </c:pt>
                      <c:pt idx="473">
                        <c:v>45845</c:v>
                      </c:pt>
                      <c:pt idx="474">
                        <c:v>45846</c:v>
                      </c:pt>
                      <c:pt idx="475">
                        <c:v>45847</c:v>
                      </c:pt>
                      <c:pt idx="476">
                        <c:v>45848</c:v>
                      </c:pt>
                      <c:pt idx="477">
                        <c:v>45849</c:v>
                      </c:pt>
                      <c:pt idx="478">
                        <c:v>45852</c:v>
                      </c:pt>
                      <c:pt idx="479">
                        <c:v>45853</c:v>
                      </c:pt>
                      <c:pt idx="480">
                        <c:v>45854</c:v>
                      </c:pt>
                      <c:pt idx="481">
                        <c:v>45855</c:v>
                      </c:pt>
                      <c:pt idx="482">
                        <c:v>45856</c:v>
                      </c:pt>
                      <c:pt idx="483">
                        <c:v>45859</c:v>
                      </c:pt>
                      <c:pt idx="484">
                        <c:v>45860</c:v>
                      </c:pt>
                      <c:pt idx="485">
                        <c:v>45861</c:v>
                      </c:pt>
                      <c:pt idx="486">
                        <c:v>45862</c:v>
                      </c:pt>
                      <c:pt idx="487">
                        <c:v>45863</c:v>
                      </c:pt>
                      <c:pt idx="488">
                        <c:v>45866</c:v>
                      </c:pt>
                      <c:pt idx="489">
                        <c:v>45867</c:v>
                      </c:pt>
                      <c:pt idx="490">
                        <c:v>45868</c:v>
                      </c:pt>
                      <c:pt idx="491">
                        <c:v>45869</c:v>
                      </c:pt>
                      <c:pt idx="492">
                        <c:v>45870</c:v>
                      </c:pt>
                      <c:pt idx="493">
                        <c:v>45873</c:v>
                      </c:pt>
                      <c:pt idx="494">
                        <c:v>45874</c:v>
                      </c:pt>
                      <c:pt idx="495">
                        <c:v>45875</c:v>
                      </c:pt>
                      <c:pt idx="496">
                        <c:v>45876</c:v>
                      </c:pt>
                      <c:pt idx="497">
                        <c:v>45877</c:v>
                      </c:pt>
                      <c:pt idx="498">
                        <c:v>45880</c:v>
                      </c:pt>
                      <c:pt idx="499">
                        <c:v>45881</c:v>
                      </c:pt>
                      <c:pt idx="500">
                        <c:v>45882</c:v>
                      </c:pt>
                      <c:pt idx="501">
                        <c:v>45883</c:v>
                      </c:pt>
                      <c:pt idx="502">
                        <c:v>45884</c:v>
                      </c:pt>
                      <c:pt idx="503">
                        <c:v>45887</c:v>
                      </c:pt>
                      <c:pt idx="504">
                        <c:v>45888</c:v>
                      </c:pt>
                      <c:pt idx="505">
                        <c:v>45889</c:v>
                      </c:pt>
                      <c:pt idx="506">
                        <c:v>45890</c:v>
                      </c:pt>
                      <c:pt idx="507">
                        <c:v>45891</c:v>
                      </c:pt>
                      <c:pt idx="508">
                        <c:v>45894</c:v>
                      </c:pt>
                      <c:pt idx="509">
                        <c:v>45895</c:v>
                      </c:pt>
                      <c:pt idx="510">
                        <c:v>45896</c:v>
                      </c:pt>
                      <c:pt idx="511">
                        <c:v>45897</c:v>
                      </c:pt>
                      <c:pt idx="512">
                        <c:v>45898</c:v>
                      </c:pt>
                      <c:pt idx="513">
                        <c:v>45901</c:v>
                      </c:pt>
                      <c:pt idx="514">
                        <c:v>45902</c:v>
                      </c:pt>
                      <c:pt idx="515">
                        <c:v>45903</c:v>
                      </c:pt>
                      <c:pt idx="516">
                        <c:v>45904</c:v>
                      </c:pt>
                      <c:pt idx="517">
                        <c:v>45905</c:v>
                      </c:pt>
                      <c:pt idx="518">
                        <c:v>45908</c:v>
                      </c:pt>
                      <c:pt idx="519">
                        <c:v>45909</c:v>
                      </c:pt>
                      <c:pt idx="520">
                        <c:v>45910</c:v>
                      </c:pt>
                      <c:pt idx="521">
                        <c:v>45911</c:v>
                      </c:pt>
                      <c:pt idx="522">
                        <c:v>45912</c:v>
                      </c:pt>
                      <c:pt idx="523">
                        <c:v>45915</c:v>
                      </c:pt>
                      <c:pt idx="524">
                        <c:v>45916</c:v>
                      </c:pt>
                      <c:pt idx="525">
                        <c:v>45917</c:v>
                      </c:pt>
                      <c:pt idx="526">
                        <c:v>45918</c:v>
                      </c:pt>
                      <c:pt idx="527">
                        <c:v>45919</c:v>
                      </c:pt>
                      <c:pt idx="528">
                        <c:v>45922</c:v>
                      </c:pt>
                      <c:pt idx="529">
                        <c:v>45923</c:v>
                      </c:pt>
                      <c:pt idx="530">
                        <c:v>45924</c:v>
                      </c:pt>
                      <c:pt idx="531">
                        <c:v>45925</c:v>
                      </c:pt>
                      <c:pt idx="532">
                        <c:v>45926</c:v>
                      </c:pt>
                      <c:pt idx="533">
                        <c:v>45929</c:v>
                      </c:pt>
                      <c:pt idx="534">
                        <c:v>45930</c:v>
                      </c:pt>
                      <c:pt idx="535">
                        <c:v>45931</c:v>
                      </c:pt>
                      <c:pt idx="536">
                        <c:v>45932</c:v>
                      </c:pt>
                      <c:pt idx="537">
                        <c:v>45933</c:v>
                      </c:pt>
                      <c:pt idx="538">
                        <c:v>45936</c:v>
                      </c:pt>
                      <c:pt idx="539">
                        <c:v>45937</c:v>
                      </c:pt>
                      <c:pt idx="540">
                        <c:v>45938</c:v>
                      </c:pt>
                      <c:pt idx="541">
                        <c:v>45939</c:v>
                      </c:pt>
                      <c:pt idx="542">
                        <c:v>45940</c:v>
                      </c:pt>
                      <c:pt idx="543">
                        <c:v>45943</c:v>
                      </c:pt>
                      <c:pt idx="544">
                        <c:v>45944</c:v>
                      </c:pt>
                      <c:pt idx="545">
                        <c:v>45945</c:v>
                      </c:pt>
                      <c:pt idx="546">
                        <c:v>45946</c:v>
                      </c:pt>
                      <c:pt idx="547">
                        <c:v>45947</c:v>
                      </c:pt>
                      <c:pt idx="548">
                        <c:v>45950</c:v>
                      </c:pt>
                      <c:pt idx="549">
                        <c:v>45951</c:v>
                      </c:pt>
                      <c:pt idx="550">
                        <c:v>45952</c:v>
                      </c:pt>
                      <c:pt idx="551">
                        <c:v>45953</c:v>
                      </c:pt>
                      <c:pt idx="552">
                        <c:v>45954</c:v>
                      </c:pt>
                      <c:pt idx="553">
                        <c:v>45957</c:v>
                      </c:pt>
                      <c:pt idx="554">
                        <c:v>45958</c:v>
                      </c:pt>
                      <c:pt idx="555">
                        <c:v>45959</c:v>
                      </c:pt>
                      <c:pt idx="556">
                        <c:v>45960</c:v>
                      </c:pt>
                      <c:pt idx="557">
                        <c:v>45961</c:v>
                      </c:pt>
                      <c:pt idx="558">
                        <c:v>45964</c:v>
                      </c:pt>
                      <c:pt idx="559">
                        <c:v>45965</c:v>
                      </c:pt>
                      <c:pt idx="560">
                        <c:v>45966</c:v>
                      </c:pt>
                      <c:pt idx="561">
                        <c:v>45967</c:v>
                      </c:pt>
                      <c:pt idx="562">
                        <c:v>45968</c:v>
                      </c:pt>
                      <c:pt idx="563">
                        <c:v>45971</c:v>
                      </c:pt>
                      <c:pt idx="564">
                        <c:v>45972</c:v>
                      </c:pt>
                      <c:pt idx="565">
                        <c:v>45973</c:v>
                      </c:pt>
                      <c:pt idx="566">
                        <c:v>45974</c:v>
                      </c:pt>
                      <c:pt idx="567">
                        <c:v>45975</c:v>
                      </c:pt>
                      <c:pt idx="568">
                        <c:v>45978</c:v>
                      </c:pt>
                      <c:pt idx="569">
                        <c:v>45979</c:v>
                      </c:pt>
                      <c:pt idx="570">
                        <c:v>45980</c:v>
                      </c:pt>
                      <c:pt idx="571">
                        <c:v>45981</c:v>
                      </c:pt>
                      <c:pt idx="572">
                        <c:v>45982</c:v>
                      </c:pt>
                      <c:pt idx="573">
                        <c:v>45985</c:v>
                      </c:pt>
                      <c:pt idx="574">
                        <c:v>45986</c:v>
                      </c:pt>
                      <c:pt idx="575">
                        <c:v>45987</c:v>
                      </c:pt>
                      <c:pt idx="576">
                        <c:v>45988</c:v>
                      </c:pt>
                      <c:pt idx="577">
                        <c:v>45989</c:v>
                      </c:pt>
                      <c:pt idx="578">
                        <c:v>45992</c:v>
                      </c:pt>
                      <c:pt idx="579">
                        <c:v>45993</c:v>
                      </c:pt>
                      <c:pt idx="580">
                        <c:v>45994</c:v>
                      </c:pt>
                      <c:pt idx="581">
                        <c:v>45995</c:v>
                      </c:pt>
                      <c:pt idx="582">
                        <c:v>45996</c:v>
                      </c:pt>
                      <c:pt idx="583">
                        <c:v>45999</c:v>
                      </c:pt>
                      <c:pt idx="584">
                        <c:v>46000</c:v>
                      </c:pt>
                      <c:pt idx="585">
                        <c:v>46001</c:v>
                      </c:pt>
                      <c:pt idx="586">
                        <c:v>46002</c:v>
                      </c:pt>
                      <c:pt idx="587">
                        <c:v>46003</c:v>
                      </c:pt>
                      <c:pt idx="588">
                        <c:v>46006</c:v>
                      </c:pt>
                      <c:pt idx="589">
                        <c:v>46007</c:v>
                      </c:pt>
                      <c:pt idx="590">
                        <c:v>46008</c:v>
                      </c:pt>
                      <c:pt idx="591">
                        <c:v>46009</c:v>
                      </c:pt>
                      <c:pt idx="592">
                        <c:v>46010</c:v>
                      </c:pt>
                      <c:pt idx="593">
                        <c:v>46013</c:v>
                      </c:pt>
                      <c:pt idx="594">
                        <c:v>46014</c:v>
                      </c:pt>
                      <c:pt idx="595">
                        <c:v>46015</c:v>
                      </c:pt>
                      <c:pt idx="596">
                        <c:v>46016</c:v>
                      </c:pt>
                      <c:pt idx="597">
                        <c:v>46017</c:v>
                      </c:pt>
                      <c:pt idx="598">
                        <c:v>46020</c:v>
                      </c:pt>
                      <c:pt idx="599">
                        <c:v>46021</c:v>
                      </c:pt>
                      <c:pt idx="600">
                        <c:v>46022</c:v>
                      </c:pt>
                      <c:pt idx="601">
                        <c:v>46023</c:v>
                      </c:pt>
                      <c:pt idx="602">
                        <c:v>46024</c:v>
                      </c:pt>
                      <c:pt idx="603">
                        <c:v>46027</c:v>
                      </c:pt>
                      <c:pt idx="604">
                        <c:v>46028</c:v>
                      </c:pt>
                      <c:pt idx="605">
                        <c:v>46029</c:v>
                      </c:pt>
                      <c:pt idx="606">
                        <c:v>46030</c:v>
                      </c:pt>
                      <c:pt idx="607">
                        <c:v>46031</c:v>
                      </c:pt>
                      <c:pt idx="608">
                        <c:v>46034</c:v>
                      </c:pt>
                      <c:pt idx="609">
                        <c:v>46035</c:v>
                      </c:pt>
                      <c:pt idx="610">
                        <c:v>46036</c:v>
                      </c:pt>
                      <c:pt idx="611">
                        <c:v>46037</c:v>
                      </c:pt>
                      <c:pt idx="612">
                        <c:v>46038</c:v>
                      </c:pt>
                      <c:pt idx="613">
                        <c:v>46041</c:v>
                      </c:pt>
                      <c:pt idx="614">
                        <c:v>46042</c:v>
                      </c:pt>
                      <c:pt idx="615">
                        <c:v>46043</c:v>
                      </c:pt>
                      <c:pt idx="616">
                        <c:v>46044</c:v>
                      </c:pt>
                      <c:pt idx="617">
                        <c:v>46045</c:v>
                      </c:pt>
                      <c:pt idx="618">
                        <c:v>46048</c:v>
                      </c:pt>
                      <c:pt idx="619">
                        <c:v>46049</c:v>
                      </c:pt>
                      <c:pt idx="620">
                        <c:v>46050</c:v>
                      </c:pt>
                      <c:pt idx="621">
                        <c:v>46051</c:v>
                      </c:pt>
                      <c:pt idx="622">
                        <c:v>46052</c:v>
                      </c:pt>
                      <c:pt idx="623">
                        <c:v>46055</c:v>
                      </c:pt>
                      <c:pt idx="624">
                        <c:v>46056</c:v>
                      </c:pt>
                      <c:pt idx="625">
                        <c:v>46057</c:v>
                      </c:pt>
                      <c:pt idx="626">
                        <c:v>46058</c:v>
                      </c:pt>
                      <c:pt idx="627">
                        <c:v>46059</c:v>
                      </c:pt>
                      <c:pt idx="628">
                        <c:v>46062</c:v>
                      </c:pt>
                      <c:pt idx="629">
                        <c:v>46063</c:v>
                      </c:pt>
                      <c:pt idx="630">
                        <c:v>46064</c:v>
                      </c:pt>
                      <c:pt idx="631">
                        <c:v>46065</c:v>
                      </c:pt>
                      <c:pt idx="632">
                        <c:v>46066</c:v>
                      </c:pt>
                      <c:pt idx="633">
                        <c:v>46069</c:v>
                      </c:pt>
                      <c:pt idx="634">
                        <c:v>46070</c:v>
                      </c:pt>
                      <c:pt idx="635">
                        <c:v>46071</c:v>
                      </c:pt>
                      <c:pt idx="636">
                        <c:v>46072</c:v>
                      </c:pt>
                      <c:pt idx="637">
                        <c:v>46073</c:v>
                      </c:pt>
                      <c:pt idx="638">
                        <c:v>46076</c:v>
                      </c:pt>
                      <c:pt idx="639">
                        <c:v>46077</c:v>
                      </c:pt>
                      <c:pt idx="640">
                        <c:v>46078</c:v>
                      </c:pt>
                      <c:pt idx="641">
                        <c:v>46079</c:v>
                      </c:pt>
                      <c:pt idx="642">
                        <c:v>46080</c:v>
                      </c:pt>
                      <c:pt idx="643">
                        <c:v>46083</c:v>
                      </c:pt>
                      <c:pt idx="644">
                        <c:v>46084</c:v>
                      </c:pt>
                      <c:pt idx="645">
                        <c:v>46085</c:v>
                      </c:pt>
                      <c:pt idx="646">
                        <c:v>46086</c:v>
                      </c:pt>
                      <c:pt idx="647">
                        <c:v>46087</c:v>
                      </c:pt>
                      <c:pt idx="648">
                        <c:v>46090</c:v>
                      </c:pt>
                      <c:pt idx="649">
                        <c:v>46091</c:v>
                      </c:pt>
                      <c:pt idx="650">
                        <c:v>46092</c:v>
                      </c:pt>
                      <c:pt idx="651">
                        <c:v>46093</c:v>
                      </c:pt>
                      <c:pt idx="652">
                        <c:v>46094</c:v>
                      </c:pt>
                      <c:pt idx="653">
                        <c:v>46097</c:v>
                      </c:pt>
                      <c:pt idx="654">
                        <c:v>46098</c:v>
                      </c:pt>
                      <c:pt idx="655">
                        <c:v>46099</c:v>
                      </c:pt>
                      <c:pt idx="656">
                        <c:v>46100</c:v>
                      </c:pt>
                      <c:pt idx="657">
                        <c:v>46101</c:v>
                      </c:pt>
                      <c:pt idx="658">
                        <c:v>46104</c:v>
                      </c:pt>
                      <c:pt idx="659">
                        <c:v>46105</c:v>
                      </c:pt>
                      <c:pt idx="660">
                        <c:v>46106</c:v>
                      </c:pt>
                      <c:pt idx="661">
                        <c:v>46107</c:v>
                      </c:pt>
                      <c:pt idx="662">
                        <c:v>46108</c:v>
                      </c:pt>
                      <c:pt idx="663">
                        <c:v>46111</c:v>
                      </c:pt>
                      <c:pt idx="664">
                        <c:v>46112</c:v>
                      </c:pt>
                      <c:pt idx="665">
                        <c:v>46113</c:v>
                      </c:pt>
                      <c:pt idx="666">
                        <c:v>46114</c:v>
                      </c:pt>
                      <c:pt idx="667">
                        <c:v>46115</c:v>
                      </c:pt>
                      <c:pt idx="668">
                        <c:v>46118</c:v>
                      </c:pt>
                      <c:pt idx="669">
                        <c:v>46119</c:v>
                      </c:pt>
                      <c:pt idx="670">
                        <c:v>46120</c:v>
                      </c:pt>
                      <c:pt idx="671">
                        <c:v>46121</c:v>
                      </c:pt>
                      <c:pt idx="672">
                        <c:v>46122</c:v>
                      </c:pt>
                      <c:pt idx="673">
                        <c:v>46125</c:v>
                      </c:pt>
                      <c:pt idx="674">
                        <c:v>46126</c:v>
                      </c:pt>
                      <c:pt idx="675">
                        <c:v>46127</c:v>
                      </c:pt>
                      <c:pt idx="676">
                        <c:v>46128</c:v>
                      </c:pt>
                      <c:pt idx="677">
                        <c:v>46129</c:v>
                      </c:pt>
                      <c:pt idx="678">
                        <c:v>46132</c:v>
                      </c:pt>
                      <c:pt idx="679">
                        <c:v>46133</c:v>
                      </c:pt>
                      <c:pt idx="680">
                        <c:v>46134</c:v>
                      </c:pt>
                      <c:pt idx="681">
                        <c:v>46135</c:v>
                      </c:pt>
                      <c:pt idx="682">
                        <c:v>46136</c:v>
                      </c:pt>
                      <c:pt idx="683">
                        <c:v>46139</c:v>
                      </c:pt>
                      <c:pt idx="684">
                        <c:v>46140</c:v>
                      </c:pt>
                      <c:pt idx="685">
                        <c:v>46141</c:v>
                      </c:pt>
                      <c:pt idx="686">
                        <c:v>46142</c:v>
                      </c:pt>
                      <c:pt idx="687">
                        <c:v>46143</c:v>
                      </c:pt>
                      <c:pt idx="688">
                        <c:v>46146</c:v>
                      </c:pt>
                      <c:pt idx="689">
                        <c:v>46147</c:v>
                      </c:pt>
                      <c:pt idx="690">
                        <c:v>46148</c:v>
                      </c:pt>
                      <c:pt idx="691">
                        <c:v>46149</c:v>
                      </c:pt>
                      <c:pt idx="692">
                        <c:v>46150</c:v>
                      </c:pt>
                      <c:pt idx="693">
                        <c:v>46153</c:v>
                      </c:pt>
                      <c:pt idx="694">
                        <c:v>46154</c:v>
                      </c:pt>
                      <c:pt idx="695">
                        <c:v>46155</c:v>
                      </c:pt>
                      <c:pt idx="696">
                        <c:v>46156</c:v>
                      </c:pt>
                      <c:pt idx="697">
                        <c:v>46157</c:v>
                      </c:pt>
                      <c:pt idx="698">
                        <c:v>46160</c:v>
                      </c:pt>
                      <c:pt idx="699">
                        <c:v>46161</c:v>
                      </c:pt>
                      <c:pt idx="700">
                        <c:v>46162</c:v>
                      </c:pt>
                      <c:pt idx="701">
                        <c:v>46163</c:v>
                      </c:pt>
                      <c:pt idx="702">
                        <c:v>46164</c:v>
                      </c:pt>
                      <c:pt idx="703">
                        <c:v>46167</c:v>
                      </c:pt>
                      <c:pt idx="704">
                        <c:v>46168</c:v>
                      </c:pt>
                      <c:pt idx="705">
                        <c:v>46169</c:v>
                      </c:pt>
                      <c:pt idx="706">
                        <c:v>46170</c:v>
                      </c:pt>
                      <c:pt idx="707">
                        <c:v>46171</c:v>
                      </c:pt>
                      <c:pt idx="708">
                        <c:v>46174</c:v>
                      </c:pt>
                      <c:pt idx="709">
                        <c:v>46175</c:v>
                      </c:pt>
                      <c:pt idx="710">
                        <c:v>46176</c:v>
                      </c:pt>
                      <c:pt idx="711">
                        <c:v>46177</c:v>
                      </c:pt>
                      <c:pt idx="712">
                        <c:v>46178</c:v>
                      </c:pt>
                      <c:pt idx="713">
                        <c:v>46181</c:v>
                      </c:pt>
                      <c:pt idx="714">
                        <c:v>46182</c:v>
                      </c:pt>
                      <c:pt idx="715">
                        <c:v>46183</c:v>
                      </c:pt>
                      <c:pt idx="716">
                        <c:v>46184</c:v>
                      </c:pt>
                      <c:pt idx="717">
                        <c:v>46185</c:v>
                      </c:pt>
                      <c:pt idx="718">
                        <c:v>46188</c:v>
                      </c:pt>
                      <c:pt idx="719">
                        <c:v>46189</c:v>
                      </c:pt>
                      <c:pt idx="720">
                        <c:v>46190</c:v>
                      </c:pt>
                      <c:pt idx="721">
                        <c:v>46191</c:v>
                      </c:pt>
                      <c:pt idx="722">
                        <c:v>46192</c:v>
                      </c:pt>
                      <c:pt idx="723">
                        <c:v>46195</c:v>
                      </c:pt>
                      <c:pt idx="724">
                        <c:v>46196</c:v>
                      </c:pt>
                      <c:pt idx="725">
                        <c:v>46197</c:v>
                      </c:pt>
                      <c:pt idx="726">
                        <c:v>46198</c:v>
                      </c:pt>
                      <c:pt idx="727">
                        <c:v>46199</c:v>
                      </c:pt>
                      <c:pt idx="728">
                        <c:v>46202</c:v>
                      </c:pt>
                      <c:pt idx="729">
                        <c:v>46203</c:v>
                      </c:pt>
                      <c:pt idx="730">
                        <c:v>46204</c:v>
                      </c:pt>
                      <c:pt idx="731">
                        <c:v>46205</c:v>
                      </c:pt>
                      <c:pt idx="732">
                        <c:v>46206</c:v>
                      </c:pt>
                      <c:pt idx="733">
                        <c:v>46209</c:v>
                      </c:pt>
                      <c:pt idx="734">
                        <c:v>46210</c:v>
                      </c:pt>
                      <c:pt idx="735">
                        <c:v>46211</c:v>
                      </c:pt>
                      <c:pt idx="736">
                        <c:v>46212</c:v>
                      </c:pt>
                      <c:pt idx="737">
                        <c:v>46213</c:v>
                      </c:pt>
                      <c:pt idx="738">
                        <c:v>46216</c:v>
                      </c:pt>
                      <c:pt idx="739">
                        <c:v>46217</c:v>
                      </c:pt>
                      <c:pt idx="740">
                        <c:v>46218</c:v>
                      </c:pt>
                      <c:pt idx="741">
                        <c:v>46219</c:v>
                      </c:pt>
                      <c:pt idx="742">
                        <c:v>46220</c:v>
                      </c:pt>
                      <c:pt idx="743">
                        <c:v>46223</c:v>
                      </c:pt>
                      <c:pt idx="744">
                        <c:v>46224</c:v>
                      </c:pt>
                      <c:pt idx="745">
                        <c:v>46225</c:v>
                      </c:pt>
                      <c:pt idx="746">
                        <c:v>46226</c:v>
                      </c:pt>
                      <c:pt idx="747">
                        <c:v>46227</c:v>
                      </c:pt>
                      <c:pt idx="748">
                        <c:v>46230</c:v>
                      </c:pt>
                      <c:pt idx="749">
                        <c:v>46231</c:v>
                      </c:pt>
                      <c:pt idx="750">
                        <c:v>46232</c:v>
                      </c:pt>
                      <c:pt idx="751">
                        <c:v>46233</c:v>
                      </c:pt>
                      <c:pt idx="752">
                        <c:v>46234</c:v>
                      </c:pt>
                      <c:pt idx="753">
                        <c:v>46237</c:v>
                      </c:pt>
                      <c:pt idx="754">
                        <c:v>46238</c:v>
                      </c:pt>
                      <c:pt idx="755">
                        <c:v>46239</c:v>
                      </c:pt>
                      <c:pt idx="756">
                        <c:v>46240</c:v>
                      </c:pt>
                      <c:pt idx="757">
                        <c:v>46241</c:v>
                      </c:pt>
                      <c:pt idx="758">
                        <c:v>46244</c:v>
                      </c:pt>
                      <c:pt idx="759">
                        <c:v>46245</c:v>
                      </c:pt>
                      <c:pt idx="760">
                        <c:v>46246</c:v>
                      </c:pt>
                      <c:pt idx="761">
                        <c:v>46247</c:v>
                      </c:pt>
                      <c:pt idx="762">
                        <c:v>46248</c:v>
                      </c:pt>
                      <c:pt idx="763">
                        <c:v>46251</c:v>
                      </c:pt>
                      <c:pt idx="764">
                        <c:v>46252</c:v>
                      </c:pt>
                      <c:pt idx="765">
                        <c:v>46253</c:v>
                      </c:pt>
                      <c:pt idx="766">
                        <c:v>46254</c:v>
                      </c:pt>
                      <c:pt idx="767">
                        <c:v>46255</c:v>
                      </c:pt>
                      <c:pt idx="768">
                        <c:v>46258</c:v>
                      </c:pt>
                      <c:pt idx="769">
                        <c:v>46259</c:v>
                      </c:pt>
                      <c:pt idx="770">
                        <c:v>46260</c:v>
                      </c:pt>
                      <c:pt idx="771">
                        <c:v>46261</c:v>
                      </c:pt>
                      <c:pt idx="772">
                        <c:v>46262</c:v>
                      </c:pt>
                      <c:pt idx="773">
                        <c:v>46265</c:v>
                      </c:pt>
                      <c:pt idx="774">
                        <c:v>46266</c:v>
                      </c:pt>
                      <c:pt idx="775">
                        <c:v>46267</c:v>
                      </c:pt>
                      <c:pt idx="776">
                        <c:v>46268</c:v>
                      </c:pt>
                      <c:pt idx="777">
                        <c:v>46269</c:v>
                      </c:pt>
                      <c:pt idx="778">
                        <c:v>46272</c:v>
                      </c:pt>
                      <c:pt idx="779">
                        <c:v>46273</c:v>
                      </c:pt>
                      <c:pt idx="780">
                        <c:v>46274</c:v>
                      </c:pt>
                      <c:pt idx="781">
                        <c:v>46275</c:v>
                      </c:pt>
                      <c:pt idx="782">
                        <c:v>46276</c:v>
                      </c:pt>
                      <c:pt idx="783">
                        <c:v>46279</c:v>
                      </c:pt>
                      <c:pt idx="784">
                        <c:v>46280</c:v>
                      </c:pt>
                      <c:pt idx="785">
                        <c:v>46281</c:v>
                      </c:pt>
                      <c:pt idx="786">
                        <c:v>46282</c:v>
                      </c:pt>
                      <c:pt idx="787">
                        <c:v>46283</c:v>
                      </c:pt>
                      <c:pt idx="788">
                        <c:v>46286</c:v>
                      </c:pt>
                      <c:pt idx="789">
                        <c:v>46287</c:v>
                      </c:pt>
                      <c:pt idx="790">
                        <c:v>46288</c:v>
                      </c:pt>
                      <c:pt idx="791">
                        <c:v>46289</c:v>
                      </c:pt>
                      <c:pt idx="792">
                        <c:v>46290</c:v>
                      </c:pt>
                      <c:pt idx="793">
                        <c:v>46293</c:v>
                      </c:pt>
                      <c:pt idx="794">
                        <c:v>46294</c:v>
                      </c:pt>
                      <c:pt idx="795">
                        <c:v>46295</c:v>
                      </c:pt>
                      <c:pt idx="796">
                        <c:v>46296</c:v>
                      </c:pt>
                      <c:pt idx="797">
                        <c:v>46297</c:v>
                      </c:pt>
                      <c:pt idx="798">
                        <c:v>46300</c:v>
                      </c:pt>
                      <c:pt idx="799">
                        <c:v>46301</c:v>
                      </c:pt>
                      <c:pt idx="800">
                        <c:v>46302</c:v>
                      </c:pt>
                      <c:pt idx="801">
                        <c:v>46303</c:v>
                      </c:pt>
                      <c:pt idx="802">
                        <c:v>46304</c:v>
                      </c:pt>
                      <c:pt idx="803">
                        <c:v>46307</c:v>
                      </c:pt>
                      <c:pt idx="804">
                        <c:v>46308</c:v>
                      </c:pt>
                      <c:pt idx="805">
                        <c:v>46309</c:v>
                      </c:pt>
                      <c:pt idx="806">
                        <c:v>46310</c:v>
                      </c:pt>
                      <c:pt idx="807">
                        <c:v>46311</c:v>
                      </c:pt>
                      <c:pt idx="808">
                        <c:v>46314</c:v>
                      </c:pt>
                      <c:pt idx="809">
                        <c:v>46315</c:v>
                      </c:pt>
                      <c:pt idx="810">
                        <c:v>46316</c:v>
                      </c:pt>
                      <c:pt idx="811">
                        <c:v>46317</c:v>
                      </c:pt>
                      <c:pt idx="812">
                        <c:v>46318</c:v>
                      </c:pt>
                      <c:pt idx="813">
                        <c:v>46321</c:v>
                      </c:pt>
                      <c:pt idx="814">
                        <c:v>46322</c:v>
                      </c:pt>
                      <c:pt idx="815">
                        <c:v>46323</c:v>
                      </c:pt>
                      <c:pt idx="816">
                        <c:v>46324</c:v>
                      </c:pt>
                      <c:pt idx="817">
                        <c:v>46325</c:v>
                      </c:pt>
                      <c:pt idx="818">
                        <c:v>46328</c:v>
                      </c:pt>
                      <c:pt idx="819">
                        <c:v>46329</c:v>
                      </c:pt>
                      <c:pt idx="820">
                        <c:v>46330</c:v>
                      </c:pt>
                      <c:pt idx="821">
                        <c:v>46331</c:v>
                      </c:pt>
                      <c:pt idx="822">
                        <c:v>46332</c:v>
                      </c:pt>
                      <c:pt idx="823">
                        <c:v>46335</c:v>
                      </c:pt>
                      <c:pt idx="824">
                        <c:v>46336</c:v>
                      </c:pt>
                      <c:pt idx="825">
                        <c:v>46337</c:v>
                      </c:pt>
                      <c:pt idx="826">
                        <c:v>46338</c:v>
                      </c:pt>
                      <c:pt idx="827">
                        <c:v>46339</c:v>
                      </c:pt>
                      <c:pt idx="828">
                        <c:v>46342</c:v>
                      </c:pt>
                      <c:pt idx="829">
                        <c:v>46343</c:v>
                      </c:pt>
                      <c:pt idx="830">
                        <c:v>46344</c:v>
                      </c:pt>
                      <c:pt idx="831">
                        <c:v>46345</c:v>
                      </c:pt>
                      <c:pt idx="832">
                        <c:v>46346</c:v>
                      </c:pt>
                      <c:pt idx="833">
                        <c:v>46349</c:v>
                      </c:pt>
                      <c:pt idx="834">
                        <c:v>46350</c:v>
                      </c:pt>
                      <c:pt idx="835">
                        <c:v>46351</c:v>
                      </c:pt>
                      <c:pt idx="836">
                        <c:v>46352</c:v>
                      </c:pt>
                      <c:pt idx="837">
                        <c:v>46353</c:v>
                      </c:pt>
                      <c:pt idx="838">
                        <c:v>46356</c:v>
                      </c:pt>
                      <c:pt idx="839">
                        <c:v>46357</c:v>
                      </c:pt>
                      <c:pt idx="840">
                        <c:v>46358</c:v>
                      </c:pt>
                      <c:pt idx="841">
                        <c:v>46359</c:v>
                      </c:pt>
                      <c:pt idx="842">
                        <c:v>46360</c:v>
                      </c:pt>
                      <c:pt idx="843">
                        <c:v>46363</c:v>
                      </c:pt>
                      <c:pt idx="844">
                        <c:v>46364</c:v>
                      </c:pt>
                      <c:pt idx="845">
                        <c:v>46365</c:v>
                      </c:pt>
                      <c:pt idx="846">
                        <c:v>46366</c:v>
                      </c:pt>
                      <c:pt idx="847">
                        <c:v>46367</c:v>
                      </c:pt>
                      <c:pt idx="848">
                        <c:v>46370</c:v>
                      </c:pt>
                      <c:pt idx="849">
                        <c:v>46371</c:v>
                      </c:pt>
                      <c:pt idx="850">
                        <c:v>46372</c:v>
                      </c:pt>
                      <c:pt idx="851">
                        <c:v>46373</c:v>
                      </c:pt>
                      <c:pt idx="852">
                        <c:v>46374</c:v>
                      </c:pt>
                      <c:pt idx="853">
                        <c:v>46377</c:v>
                      </c:pt>
                      <c:pt idx="854">
                        <c:v>46378</c:v>
                      </c:pt>
                      <c:pt idx="855">
                        <c:v>46379</c:v>
                      </c:pt>
                      <c:pt idx="856">
                        <c:v>46380</c:v>
                      </c:pt>
                      <c:pt idx="857">
                        <c:v>46381</c:v>
                      </c:pt>
                      <c:pt idx="858">
                        <c:v>46384</c:v>
                      </c:pt>
                      <c:pt idx="859">
                        <c:v>46385</c:v>
                      </c:pt>
                      <c:pt idx="860">
                        <c:v>46386</c:v>
                      </c:pt>
                      <c:pt idx="861">
                        <c:v>46387</c:v>
                      </c:pt>
                      <c:pt idx="862">
                        <c:v>46388</c:v>
                      </c:pt>
                      <c:pt idx="863">
                        <c:v>46391</c:v>
                      </c:pt>
                      <c:pt idx="864">
                        <c:v>46392</c:v>
                      </c:pt>
                      <c:pt idx="865">
                        <c:v>46393</c:v>
                      </c:pt>
                      <c:pt idx="866">
                        <c:v>46394</c:v>
                      </c:pt>
                      <c:pt idx="867">
                        <c:v>46395</c:v>
                      </c:pt>
                      <c:pt idx="868">
                        <c:v>46398</c:v>
                      </c:pt>
                      <c:pt idx="869">
                        <c:v>46399</c:v>
                      </c:pt>
                      <c:pt idx="870">
                        <c:v>46400</c:v>
                      </c:pt>
                      <c:pt idx="871">
                        <c:v>46401</c:v>
                      </c:pt>
                      <c:pt idx="872">
                        <c:v>46402</c:v>
                      </c:pt>
                      <c:pt idx="873">
                        <c:v>46405</c:v>
                      </c:pt>
                      <c:pt idx="874">
                        <c:v>46406</c:v>
                      </c:pt>
                      <c:pt idx="875">
                        <c:v>46407</c:v>
                      </c:pt>
                      <c:pt idx="876">
                        <c:v>46408</c:v>
                      </c:pt>
                      <c:pt idx="877">
                        <c:v>46409</c:v>
                      </c:pt>
                      <c:pt idx="878">
                        <c:v>46412</c:v>
                      </c:pt>
                      <c:pt idx="879">
                        <c:v>46413</c:v>
                      </c:pt>
                      <c:pt idx="880">
                        <c:v>46414</c:v>
                      </c:pt>
                      <c:pt idx="881">
                        <c:v>46415</c:v>
                      </c:pt>
                      <c:pt idx="882">
                        <c:v>46416</c:v>
                      </c:pt>
                      <c:pt idx="883">
                        <c:v>46419</c:v>
                      </c:pt>
                      <c:pt idx="884">
                        <c:v>46420</c:v>
                      </c:pt>
                      <c:pt idx="885">
                        <c:v>46421</c:v>
                      </c:pt>
                      <c:pt idx="886">
                        <c:v>46422</c:v>
                      </c:pt>
                      <c:pt idx="887">
                        <c:v>46423</c:v>
                      </c:pt>
                      <c:pt idx="888">
                        <c:v>46426</c:v>
                      </c:pt>
                      <c:pt idx="889">
                        <c:v>46427</c:v>
                      </c:pt>
                      <c:pt idx="890">
                        <c:v>46428</c:v>
                      </c:pt>
                      <c:pt idx="891">
                        <c:v>46429</c:v>
                      </c:pt>
                      <c:pt idx="892">
                        <c:v>46430</c:v>
                      </c:pt>
                      <c:pt idx="893">
                        <c:v>46433</c:v>
                      </c:pt>
                      <c:pt idx="894">
                        <c:v>46434</c:v>
                      </c:pt>
                      <c:pt idx="895">
                        <c:v>46435</c:v>
                      </c:pt>
                      <c:pt idx="896">
                        <c:v>46436</c:v>
                      </c:pt>
                      <c:pt idx="897">
                        <c:v>46437</c:v>
                      </c:pt>
                      <c:pt idx="898">
                        <c:v>46440</c:v>
                      </c:pt>
                      <c:pt idx="899">
                        <c:v>46441</c:v>
                      </c:pt>
                      <c:pt idx="900">
                        <c:v>46442</c:v>
                      </c:pt>
                      <c:pt idx="901">
                        <c:v>46443</c:v>
                      </c:pt>
                      <c:pt idx="902">
                        <c:v>46444</c:v>
                      </c:pt>
                      <c:pt idx="903">
                        <c:v>46447</c:v>
                      </c:pt>
                      <c:pt idx="904">
                        <c:v>46448</c:v>
                      </c:pt>
                      <c:pt idx="905">
                        <c:v>46449</c:v>
                      </c:pt>
                      <c:pt idx="906">
                        <c:v>46450</c:v>
                      </c:pt>
                      <c:pt idx="907">
                        <c:v>46451</c:v>
                      </c:pt>
                      <c:pt idx="908">
                        <c:v>46454</c:v>
                      </c:pt>
                      <c:pt idx="909">
                        <c:v>46455</c:v>
                      </c:pt>
                      <c:pt idx="910">
                        <c:v>46456</c:v>
                      </c:pt>
                      <c:pt idx="911">
                        <c:v>46457</c:v>
                      </c:pt>
                      <c:pt idx="912">
                        <c:v>46458</c:v>
                      </c:pt>
                      <c:pt idx="913">
                        <c:v>46461</c:v>
                      </c:pt>
                      <c:pt idx="914">
                        <c:v>46462</c:v>
                      </c:pt>
                      <c:pt idx="915">
                        <c:v>46463</c:v>
                      </c:pt>
                      <c:pt idx="916">
                        <c:v>46464</c:v>
                      </c:pt>
                      <c:pt idx="917">
                        <c:v>46465</c:v>
                      </c:pt>
                      <c:pt idx="918">
                        <c:v>46468</c:v>
                      </c:pt>
                      <c:pt idx="919">
                        <c:v>46469</c:v>
                      </c:pt>
                      <c:pt idx="920">
                        <c:v>46470</c:v>
                      </c:pt>
                      <c:pt idx="921">
                        <c:v>46471</c:v>
                      </c:pt>
                      <c:pt idx="922">
                        <c:v>46472</c:v>
                      </c:pt>
                      <c:pt idx="923">
                        <c:v>46475</c:v>
                      </c:pt>
                      <c:pt idx="924">
                        <c:v>46476</c:v>
                      </c:pt>
                      <c:pt idx="925">
                        <c:v>46477</c:v>
                      </c:pt>
                      <c:pt idx="926">
                        <c:v>46478</c:v>
                      </c:pt>
                      <c:pt idx="927">
                        <c:v>46479</c:v>
                      </c:pt>
                      <c:pt idx="928">
                        <c:v>46482</c:v>
                      </c:pt>
                      <c:pt idx="929">
                        <c:v>46483</c:v>
                      </c:pt>
                      <c:pt idx="930">
                        <c:v>46484</c:v>
                      </c:pt>
                      <c:pt idx="931">
                        <c:v>46485</c:v>
                      </c:pt>
                      <c:pt idx="932">
                        <c:v>46486</c:v>
                      </c:pt>
                      <c:pt idx="933">
                        <c:v>46489</c:v>
                      </c:pt>
                      <c:pt idx="934">
                        <c:v>46490</c:v>
                      </c:pt>
                      <c:pt idx="935">
                        <c:v>46491</c:v>
                      </c:pt>
                      <c:pt idx="936">
                        <c:v>46492</c:v>
                      </c:pt>
                      <c:pt idx="937">
                        <c:v>46493</c:v>
                      </c:pt>
                      <c:pt idx="938">
                        <c:v>46496</c:v>
                      </c:pt>
                      <c:pt idx="939">
                        <c:v>46497</c:v>
                      </c:pt>
                      <c:pt idx="940">
                        <c:v>46498</c:v>
                      </c:pt>
                      <c:pt idx="941">
                        <c:v>46499</c:v>
                      </c:pt>
                      <c:pt idx="942">
                        <c:v>46500</c:v>
                      </c:pt>
                      <c:pt idx="943">
                        <c:v>46503</c:v>
                      </c:pt>
                      <c:pt idx="944">
                        <c:v>46504</c:v>
                      </c:pt>
                      <c:pt idx="945">
                        <c:v>46505</c:v>
                      </c:pt>
                      <c:pt idx="946">
                        <c:v>46506</c:v>
                      </c:pt>
                      <c:pt idx="947">
                        <c:v>46507</c:v>
                      </c:pt>
                      <c:pt idx="948">
                        <c:v>46510</c:v>
                      </c:pt>
                      <c:pt idx="949">
                        <c:v>46511</c:v>
                      </c:pt>
                      <c:pt idx="950">
                        <c:v>46512</c:v>
                      </c:pt>
                      <c:pt idx="951">
                        <c:v>46513</c:v>
                      </c:pt>
                      <c:pt idx="952">
                        <c:v>46514</c:v>
                      </c:pt>
                      <c:pt idx="953">
                        <c:v>46517</c:v>
                      </c:pt>
                      <c:pt idx="954">
                        <c:v>46518</c:v>
                      </c:pt>
                      <c:pt idx="955">
                        <c:v>46519</c:v>
                      </c:pt>
                      <c:pt idx="956">
                        <c:v>46520</c:v>
                      </c:pt>
                      <c:pt idx="957">
                        <c:v>46521</c:v>
                      </c:pt>
                      <c:pt idx="958">
                        <c:v>46524</c:v>
                      </c:pt>
                      <c:pt idx="959">
                        <c:v>46525</c:v>
                      </c:pt>
                      <c:pt idx="960">
                        <c:v>46526</c:v>
                      </c:pt>
                      <c:pt idx="961">
                        <c:v>46527</c:v>
                      </c:pt>
                      <c:pt idx="962">
                        <c:v>46528</c:v>
                      </c:pt>
                      <c:pt idx="963">
                        <c:v>46531</c:v>
                      </c:pt>
                      <c:pt idx="964">
                        <c:v>46532</c:v>
                      </c:pt>
                      <c:pt idx="965">
                        <c:v>46533</c:v>
                      </c:pt>
                      <c:pt idx="966">
                        <c:v>46534</c:v>
                      </c:pt>
                      <c:pt idx="967">
                        <c:v>46535</c:v>
                      </c:pt>
                      <c:pt idx="968">
                        <c:v>46538</c:v>
                      </c:pt>
                      <c:pt idx="969">
                        <c:v>46539</c:v>
                      </c:pt>
                      <c:pt idx="970">
                        <c:v>46540</c:v>
                      </c:pt>
                      <c:pt idx="971">
                        <c:v>46541</c:v>
                      </c:pt>
                      <c:pt idx="972">
                        <c:v>46542</c:v>
                      </c:pt>
                      <c:pt idx="973">
                        <c:v>46545</c:v>
                      </c:pt>
                      <c:pt idx="974">
                        <c:v>46546</c:v>
                      </c:pt>
                      <c:pt idx="975">
                        <c:v>46547</c:v>
                      </c:pt>
                      <c:pt idx="976">
                        <c:v>46548</c:v>
                      </c:pt>
                      <c:pt idx="977">
                        <c:v>46549</c:v>
                      </c:pt>
                      <c:pt idx="978">
                        <c:v>46552</c:v>
                      </c:pt>
                      <c:pt idx="979">
                        <c:v>46553</c:v>
                      </c:pt>
                      <c:pt idx="980">
                        <c:v>46554</c:v>
                      </c:pt>
                      <c:pt idx="981">
                        <c:v>46555</c:v>
                      </c:pt>
                      <c:pt idx="982">
                        <c:v>46556</c:v>
                      </c:pt>
                      <c:pt idx="983">
                        <c:v>46559</c:v>
                      </c:pt>
                      <c:pt idx="984">
                        <c:v>46560</c:v>
                      </c:pt>
                      <c:pt idx="985">
                        <c:v>46561</c:v>
                      </c:pt>
                      <c:pt idx="986">
                        <c:v>46562</c:v>
                      </c:pt>
                      <c:pt idx="987">
                        <c:v>46563</c:v>
                      </c:pt>
                      <c:pt idx="988">
                        <c:v>46566</c:v>
                      </c:pt>
                      <c:pt idx="989">
                        <c:v>46567</c:v>
                      </c:pt>
                      <c:pt idx="990">
                        <c:v>46568</c:v>
                      </c:pt>
                      <c:pt idx="991">
                        <c:v>46569</c:v>
                      </c:pt>
                      <c:pt idx="992">
                        <c:v>46570</c:v>
                      </c:pt>
                      <c:pt idx="993">
                        <c:v>46573</c:v>
                      </c:pt>
                      <c:pt idx="994">
                        <c:v>46574</c:v>
                      </c:pt>
                      <c:pt idx="995">
                        <c:v>46575</c:v>
                      </c:pt>
                      <c:pt idx="996">
                        <c:v>46576</c:v>
                      </c:pt>
                      <c:pt idx="997">
                        <c:v>46577</c:v>
                      </c:pt>
                      <c:pt idx="998">
                        <c:v>46580</c:v>
                      </c:pt>
                    </c:numCache>
                  </c:numRef>
                </c:cat>
                <c:val>
                  <c:numRef>
                    <c:extLst xmlns:c15="http://schemas.microsoft.com/office/drawing/2012/chart">
                      <c:ext xmlns:c15="http://schemas.microsoft.com/office/drawing/2012/chart" uri="{02D57815-91ED-43cb-92C2-25804820EDAC}">
                        <c15:formulaRef>
                          <c15:sqref>Daily!$AU$2:$AU$1057</c15:sqref>
                        </c15:formulaRef>
                      </c:ext>
                    </c:extLst>
                    <c:numCache>
                      <c:formatCode>#,##0.00</c:formatCode>
                      <c:ptCount val="1056"/>
                      <c:pt idx="0">
                        <c:v>1.7719849999999999</c:v>
                      </c:pt>
                      <c:pt idx="1">
                        <c:v>2.6453555500000001</c:v>
                      </c:pt>
                      <c:pt idx="2">
                        <c:v>3.1995406000000002</c:v>
                      </c:pt>
                      <c:pt idx="3">
                        <c:v>3.2290510499999998</c:v>
                      </c:pt>
                      <c:pt idx="4">
                        <c:v>3.3282904499999999</c:v>
                      </c:pt>
                      <c:pt idx="5">
                        <c:v>3.2470827999999998</c:v>
                      </c:pt>
                      <c:pt idx="6">
                        <c:v>3.4553862</c:v>
                      </c:pt>
                      <c:pt idx="7">
                        <c:v>3.4686997499999999</c:v>
                      </c:pt>
                      <c:pt idx="8">
                        <c:v>3.4833628499999998</c:v>
                      </c:pt>
                      <c:pt idx="9">
                        <c:v>3.5993216000000001</c:v>
                      </c:pt>
                      <c:pt idx="10">
                        <c:v>3.67342185</c:v>
                      </c:pt>
                      <c:pt idx="11">
                        <c:v>4.0467883499999999</c:v>
                      </c:pt>
                      <c:pt idx="12">
                        <c:v>4.3531639000000002</c:v>
                      </c:pt>
                      <c:pt idx="13">
                        <c:v>4.2722104500000002</c:v>
                      </c:pt>
                      <c:pt idx="14">
                        <c:v>5.0183055999999997</c:v>
                      </c:pt>
                      <c:pt idx="15">
                        <c:v>5.2217333500000001</c:v>
                      </c:pt>
                      <c:pt idx="16">
                        <c:v>6.2463500500000002</c:v>
                      </c:pt>
                      <c:pt idx="17">
                        <c:v>6.8110889999999999</c:v>
                      </c:pt>
                      <c:pt idx="18">
                        <c:v>6.6753453</c:v>
                      </c:pt>
                      <c:pt idx="19">
                        <c:v>7.0805184499999996</c:v>
                      </c:pt>
                      <c:pt idx="20">
                        <c:v>6.6051690499999998</c:v>
                      </c:pt>
                      <c:pt idx="21">
                        <c:v>6.3796739499999999</c:v>
                      </c:pt>
                      <c:pt idx="22">
                        <c:v>6.3688940499999998</c:v>
                      </c:pt>
                      <c:pt idx="23">
                        <c:v>6.5003225000000002</c:v>
                      </c:pt>
                      <c:pt idx="24">
                        <c:v>6.3736024999999996</c:v>
                      </c:pt>
                      <c:pt idx="25">
                        <c:v>6.8016211999999996</c:v>
                      </c:pt>
                      <c:pt idx="26">
                        <c:v>7.4920555000000002</c:v>
                      </c:pt>
                      <c:pt idx="27">
                        <c:v>7.5905538000000004</c:v>
                      </c:pt>
                      <c:pt idx="28">
                        <c:v>7.7873682500000001</c:v>
                      </c:pt>
                      <c:pt idx="29">
                        <c:v>7.7869713000000003</c:v>
                      </c:pt>
                      <c:pt idx="30">
                        <c:v>7.8587853499999998</c:v>
                      </c:pt>
                      <c:pt idx="31">
                        <c:v>7.8982203499999999</c:v>
                      </c:pt>
                      <c:pt idx="32">
                        <c:v>8.0693553500000004</c:v>
                      </c:pt>
                      <c:pt idx="33">
                        <c:v>8.2909898999999996</c:v>
                      </c:pt>
                      <c:pt idx="34">
                        <c:v>8.7635650999999992</c:v>
                      </c:pt>
                      <c:pt idx="35">
                        <c:v>9.8463789500000001</c:v>
                      </c:pt>
                      <c:pt idx="36">
                        <c:v>10.2605001</c:v>
                      </c:pt>
                      <c:pt idx="37">
                        <c:v>11.0172899</c:v>
                      </c:pt>
                      <c:pt idx="38">
                        <c:v>11.198513350000001</c:v>
                      </c:pt>
                      <c:pt idx="39">
                        <c:v>12.304591350000001</c:v>
                      </c:pt>
                      <c:pt idx="40">
                        <c:v>12.401268699999999</c:v>
                      </c:pt>
                      <c:pt idx="41">
                        <c:v>13.05032825</c:v>
                      </c:pt>
                      <c:pt idx="42">
                        <c:v>14.44628135</c:v>
                      </c:pt>
                      <c:pt idx="43">
                        <c:v>15.185514299999999</c:v>
                      </c:pt>
                      <c:pt idx="44">
                        <c:v>14.74420435</c:v>
                      </c:pt>
                      <c:pt idx="45">
                        <c:v>14.914451</c:v>
                      </c:pt>
                      <c:pt idx="46">
                        <c:v>15.1093358</c:v>
                      </c:pt>
                      <c:pt idx="47">
                        <c:v>15.921928149999999</c:v>
                      </c:pt>
                      <c:pt idx="48">
                        <c:v>15.15001515</c:v>
                      </c:pt>
                      <c:pt idx="49">
                        <c:v>14.378225199999999</c:v>
                      </c:pt>
                      <c:pt idx="50">
                        <c:v>15.276381499999999</c:v>
                      </c:pt>
                      <c:pt idx="51">
                        <c:v>16.543388100000001</c:v>
                      </c:pt>
                      <c:pt idx="52">
                        <c:v>17.41612645</c:v>
                      </c:pt>
                      <c:pt idx="53">
                        <c:v>18.319037699999999</c:v>
                      </c:pt>
                      <c:pt idx="54">
                        <c:v>17.30795195</c:v>
                      </c:pt>
                      <c:pt idx="55">
                        <c:v>18.08330115</c:v>
                      </c:pt>
                      <c:pt idx="56">
                        <c:v>18.827531749999999</c:v>
                      </c:pt>
                      <c:pt idx="57">
                        <c:v>18.976945950000001</c:v>
                      </c:pt>
                      <c:pt idx="58">
                        <c:v>19.212455500000001</c:v>
                      </c:pt>
                      <c:pt idx="59">
                        <c:v>19.668389049999998</c:v>
                      </c:pt>
                      <c:pt idx="60">
                        <c:v>20.047985700000002</c:v>
                      </c:pt>
                      <c:pt idx="61">
                        <c:v>20.339648700000001</c:v>
                      </c:pt>
                      <c:pt idx="62">
                        <c:v>21.1182394</c:v>
                      </c:pt>
                      <c:pt idx="63">
                        <c:v>21.8188608</c:v>
                      </c:pt>
                      <c:pt idx="64">
                        <c:v>22.18140975</c:v>
                      </c:pt>
                      <c:pt idx="65">
                        <c:v>22.6035881</c:v>
                      </c:pt>
                      <c:pt idx="66">
                        <c:v>22.88640775</c:v>
                      </c:pt>
                      <c:pt idx="67">
                        <c:v>23.536315399999999</c:v>
                      </c:pt>
                      <c:pt idx="68">
                        <c:v>23.822160499999999</c:v>
                      </c:pt>
                      <c:pt idx="69">
                        <c:v>24.885234199999999</c:v>
                      </c:pt>
                      <c:pt idx="70">
                        <c:v>27.097961949999998</c:v>
                      </c:pt>
                      <c:pt idx="71">
                        <c:v>28.162675350000001</c:v>
                      </c:pt>
                      <c:pt idx="72">
                        <c:v>26.8485695</c:v>
                      </c:pt>
                      <c:pt idx="73">
                        <c:v>27.343456249999999</c:v>
                      </c:pt>
                      <c:pt idx="74">
                        <c:v>26.750661950000001</c:v>
                      </c:pt>
                      <c:pt idx="75">
                        <c:v>26.741849500000001</c:v>
                      </c:pt>
                      <c:pt idx="76">
                        <c:v>26.54534555</c:v>
                      </c:pt>
                      <c:pt idx="77">
                        <c:v>28.283602850000001</c:v>
                      </c:pt>
                      <c:pt idx="78">
                        <c:v>29.333318200000001</c:v>
                      </c:pt>
                      <c:pt idx="79">
                        <c:v>29.144599849999999</c:v>
                      </c:pt>
                      <c:pt idx="80">
                        <c:v>29.975990500000002</c:v>
                      </c:pt>
                      <c:pt idx="81">
                        <c:v>29.95096015</c:v>
                      </c:pt>
                      <c:pt idx="82">
                        <c:v>29.1794093</c:v>
                      </c:pt>
                      <c:pt idx="83">
                        <c:v>28.131207799999999</c:v>
                      </c:pt>
                      <c:pt idx="84">
                        <c:v>30.014164149999999</c:v>
                      </c:pt>
                      <c:pt idx="85">
                        <c:v>31.437245050000001</c:v>
                      </c:pt>
                      <c:pt idx="86">
                        <c:v>30.733201900000001</c:v>
                      </c:pt>
                      <c:pt idx="87">
                        <c:v>35.289101850000002</c:v>
                      </c:pt>
                      <c:pt idx="88">
                        <c:v>35.801102999999998</c:v>
                      </c:pt>
                      <c:pt idx="89">
                        <c:v>34.487825649999998</c:v>
                      </c:pt>
                      <c:pt idx="90">
                        <c:v>36.966102499999998</c:v>
                      </c:pt>
                      <c:pt idx="91">
                        <c:v>36.309708950000001</c:v>
                      </c:pt>
                      <c:pt idx="92">
                        <c:v>34.634995500000002</c:v>
                      </c:pt>
                      <c:pt idx="93">
                        <c:v>38.920820999999997</c:v>
                      </c:pt>
                      <c:pt idx="94">
                        <c:v>40.751156649999999</c:v>
                      </c:pt>
                      <c:pt idx="95">
                        <c:v>31.886833599999999</c:v>
                      </c:pt>
                      <c:pt idx="96">
                        <c:v>30.744237500000001</c:v>
                      </c:pt>
                      <c:pt idx="97">
                        <c:v>30.671838999999999</c:v>
                      </c:pt>
                      <c:pt idx="98">
                        <c:v>30.864907250000002</c:v>
                      </c:pt>
                      <c:pt idx="99">
                        <c:v>31.91574125</c:v>
                      </c:pt>
                      <c:pt idx="100">
                        <c:v>31.157905700000001</c:v>
                      </c:pt>
                      <c:pt idx="101">
                        <c:v>30.119624699999999</c:v>
                      </c:pt>
                      <c:pt idx="102">
                        <c:v>29.8318826</c:v>
                      </c:pt>
                      <c:pt idx="103">
                        <c:v>28.134472850000002</c:v>
                      </c:pt>
                      <c:pt idx="104">
                        <c:v>28.919640300000001</c:v>
                      </c:pt>
                      <c:pt idx="105">
                        <c:v>29.750533300000001</c:v>
                      </c:pt>
                      <c:pt idx="106">
                        <c:v>30.066972549999999</c:v>
                      </c:pt>
                      <c:pt idx="107">
                        <c:v>29.367670749999998</c:v>
                      </c:pt>
                      <c:pt idx="108">
                        <c:v>29.562443900000002</c:v>
                      </c:pt>
                      <c:pt idx="109">
                        <c:v>29.087443700000001</c:v>
                      </c:pt>
                      <c:pt idx="110">
                        <c:v>28.958050849999999</c:v>
                      </c:pt>
                      <c:pt idx="111">
                        <c:v>28.014887600000002</c:v>
                      </c:pt>
                      <c:pt idx="112">
                        <c:v>27.215843199999998</c:v>
                      </c:pt>
                      <c:pt idx="113">
                        <c:v>25.957489299999999</c:v>
                      </c:pt>
                      <c:pt idx="114">
                        <c:v>26.410087499999999</c:v>
                      </c:pt>
                      <c:pt idx="115">
                        <c:v>26.8219709</c:v>
                      </c:pt>
                      <c:pt idx="116">
                        <c:v>26.409410950000002</c:v>
                      </c:pt>
                      <c:pt idx="117">
                        <c:v>27.330765249999999</c:v>
                      </c:pt>
                      <c:pt idx="118">
                        <c:v>27.5734657</c:v>
                      </c:pt>
                      <c:pt idx="119">
                        <c:v>27.031828449999999</c:v>
                      </c:pt>
                      <c:pt idx="120">
                        <c:v>27.915324250000001</c:v>
                      </c:pt>
                      <c:pt idx="121">
                        <c:v>27.638921100000001</c:v>
                      </c:pt>
                      <c:pt idx="122">
                        <c:v>26.879197900000001</c:v>
                      </c:pt>
                      <c:pt idx="123">
                        <c:v>26.879826399999999</c:v>
                      </c:pt>
                      <c:pt idx="124">
                        <c:v>25.792710400000001</c:v>
                      </c:pt>
                      <c:pt idx="125">
                        <c:v>25.67034095</c:v>
                      </c:pt>
                      <c:pt idx="126">
                        <c:v>26.135041999999999</c:v>
                      </c:pt>
                      <c:pt idx="127">
                        <c:v>26.0344148</c:v>
                      </c:pt>
                      <c:pt idx="128">
                        <c:v>25.888049800000001</c:v>
                      </c:pt>
                      <c:pt idx="129">
                        <c:v>25.42605635</c:v>
                      </c:pt>
                      <c:pt idx="130">
                        <c:v>24.877464400000001</c:v>
                      </c:pt>
                      <c:pt idx="131">
                        <c:v>25.191334900000001</c:v>
                      </c:pt>
                      <c:pt idx="132">
                        <c:v>24.105589649999999</c:v>
                      </c:pt>
                      <c:pt idx="133">
                        <c:v>23.299811850000001</c:v>
                      </c:pt>
                      <c:pt idx="134">
                        <c:v>22.883806499999999</c:v>
                      </c:pt>
                      <c:pt idx="135">
                        <c:v>23.15754755</c:v>
                      </c:pt>
                      <c:pt idx="136">
                        <c:v>22.430832250000002</c:v>
                      </c:pt>
                      <c:pt idx="137">
                        <c:v>22.268784149999998</c:v>
                      </c:pt>
                      <c:pt idx="138">
                        <c:v>23.071970700000001</c:v>
                      </c:pt>
                      <c:pt idx="139">
                        <c:v>24.869333650000002</c:v>
                      </c:pt>
                      <c:pt idx="140">
                        <c:v>25.137601700000001</c:v>
                      </c:pt>
                      <c:pt idx="141">
                        <c:v>25.115057350000001</c:v>
                      </c:pt>
                      <c:pt idx="142">
                        <c:v>27.016796249999999</c:v>
                      </c:pt>
                      <c:pt idx="143">
                        <c:v>28.598687900000002</c:v>
                      </c:pt>
                      <c:pt idx="144">
                        <c:v>30.973640799999998</c:v>
                      </c:pt>
                      <c:pt idx="145">
                        <c:v>32.199266950000002</c:v>
                      </c:pt>
                      <c:pt idx="146">
                        <c:v>36.926726549999998</c:v>
                      </c:pt>
                      <c:pt idx="147">
                        <c:v>37.252266050000003</c:v>
                      </c:pt>
                      <c:pt idx="148">
                        <c:v>38.074903399999997</c:v>
                      </c:pt>
                      <c:pt idx="149">
                        <c:v>35.730276549999999</c:v>
                      </c:pt>
                      <c:pt idx="150">
                        <c:v>36.166491550000003</c:v>
                      </c:pt>
                      <c:pt idx="151">
                        <c:v>37.2506518</c:v>
                      </c:pt>
                      <c:pt idx="152">
                        <c:v>36.802265949999999</c:v>
                      </c:pt>
                      <c:pt idx="153">
                        <c:v>39.107423099999998</c:v>
                      </c:pt>
                      <c:pt idx="154">
                        <c:v>40.029220850000002</c:v>
                      </c:pt>
                      <c:pt idx="155">
                        <c:v>40.601217699999999</c:v>
                      </c:pt>
                      <c:pt idx="156">
                        <c:v>36.707605299999997</c:v>
                      </c:pt>
                      <c:pt idx="157">
                        <c:v>35.506854300000001</c:v>
                      </c:pt>
                      <c:pt idx="158">
                        <c:v>36.545261000000004</c:v>
                      </c:pt>
                      <c:pt idx="159">
                        <c:v>35.654600500000001</c:v>
                      </c:pt>
                      <c:pt idx="160">
                        <c:v>35.696266899999998</c:v>
                      </c:pt>
                      <c:pt idx="161">
                        <c:v>36.890380100000002</c:v>
                      </c:pt>
                      <c:pt idx="162">
                        <c:v>35.061188600000001</c:v>
                      </c:pt>
                      <c:pt idx="163">
                        <c:v>34.424052949999997</c:v>
                      </c:pt>
                      <c:pt idx="164">
                        <c:v>32.782559550000002</c:v>
                      </c:pt>
                      <c:pt idx="165">
                        <c:v>32.8103883</c:v>
                      </c:pt>
                      <c:pt idx="166">
                        <c:v>33.014475099999999</c:v>
                      </c:pt>
                      <c:pt idx="167">
                        <c:v>32.497535300000003</c:v>
                      </c:pt>
                      <c:pt idx="168">
                        <c:v>33.208098749999998</c:v>
                      </c:pt>
                      <c:pt idx="169">
                        <c:v>32.594842399999997</c:v>
                      </c:pt>
                      <c:pt idx="170">
                        <c:v>31.756313200000001</c:v>
                      </c:pt>
                      <c:pt idx="171">
                        <c:v>32.166373399999998</c:v>
                      </c:pt>
                      <c:pt idx="172">
                        <c:v>32.183427500000001</c:v>
                      </c:pt>
                      <c:pt idx="173">
                        <c:v>32.795037749999999</c:v>
                      </c:pt>
                      <c:pt idx="174">
                        <c:v>31.158077550000002</c:v>
                      </c:pt>
                      <c:pt idx="175">
                        <c:v>30.5572777</c:v>
                      </c:pt>
                      <c:pt idx="176">
                        <c:v>30.571542999999998</c:v>
                      </c:pt>
                      <c:pt idx="177">
                        <c:v>29.332913049999998</c:v>
                      </c:pt>
                      <c:pt idx="178">
                        <c:v>28.803710899999999</c:v>
                      </c:pt>
                      <c:pt idx="179">
                        <c:v>28.963299750000001</c:v>
                      </c:pt>
                      <c:pt idx="180">
                        <c:v>28.653932699999999</c:v>
                      </c:pt>
                      <c:pt idx="181">
                        <c:v>29.143426349999999</c:v>
                      </c:pt>
                      <c:pt idx="182">
                        <c:v>29.022782849999999</c:v>
                      </c:pt>
                      <c:pt idx="183">
                        <c:v>29.817543000000001</c:v>
                      </c:pt>
                      <c:pt idx="184">
                        <c:v>29.564523399999999</c:v>
                      </c:pt>
                      <c:pt idx="185">
                        <c:v>28.843317299999999</c:v>
                      </c:pt>
                      <c:pt idx="186">
                        <c:v>33.103407799999999</c:v>
                      </c:pt>
                      <c:pt idx="187">
                        <c:v>31.449432900000001</c:v>
                      </c:pt>
                      <c:pt idx="188">
                        <c:v>31.672119299999999</c:v>
                      </c:pt>
                      <c:pt idx="189">
                        <c:v>32.855875599999997</c:v>
                      </c:pt>
                      <c:pt idx="190">
                        <c:v>32.741655399999999</c:v>
                      </c:pt>
                      <c:pt idx="191">
                        <c:v>32.983665950000002</c:v>
                      </c:pt>
                      <c:pt idx="192">
                        <c:v>32.899047549999999</c:v>
                      </c:pt>
                      <c:pt idx="193">
                        <c:v>32.688636649999999</c:v>
                      </c:pt>
                      <c:pt idx="194">
                        <c:v>32.430967600000002</c:v>
                      </c:pt>
                      <c:pt idx="195">
                        <c:v>31.798995300000001</c:v>
                      </c:pt>
                      <c:pt idx="196">
                        <c:v>31.312483449999998</c:v>
                      </c:pt>
                      <c:pt idx="197">
                        <c:v>30.615501600000002</c:v>
                      </c:pt>
                      <c:pt idx="198">
                        <c:v>30.712077499999999</c:v>
                      </c:pt>
                      <c:pt idx="199">
                        <c:v>30.63661995</c:v>
                      </c:pt>
                      <c:pt idx="200">
                        <c:v>30.944894999999999</c:v>
                      </c:pt>
                      <c:pt idx="201">
                        <c:v>30.13529445</c:v>
                      </c:pt>
                      <c:pt idx="202">
                        <c:v>30.840210500000001</c:v>
                      </c:pt>
                      <c:pt idx="203">
                        <c:v>31.4877903</c:v>
                      </c:pt>
                      <c:pt idx="204">
                        <c:v>31.504295249999998</c:v>
                      </c:pt>
                      <c:pt idx="205">
                        <c:v>30.864357500000001</c:v>
                      </c:pt>
                      <c:pt idx="206">
                        <c:v>31.245513849999998</c:v>
                      </c:pt>
                      <c:pt idx="207">
                        <c:v>31.135097850000001</c:v>
                      </c:pt>
                      <c:pt idx="208">
                        <c:v>30.7528218</c:v>
                      </c:pt>
                      <c:pt idx="209">
                        <c:v>31.001272100000001</c:v>
                      </c:pt>
                      <c:pt idx="210">
                        <c:v>30.906016650000002</c:v>
                      </c:pt>
                      <c:pt idx="211">
                        <c:v>30.2886335</c:v>
                      </c:pt>
                      <c:pt idx="212">
                        <c:v>30.300466849999999</c:v>
                      </c:pt>
                      <c:pt idx="213">
                        <c:v>30.133315899999999</c:v>
                      </c:pt>
                      <c:pt idx="214">
                        <c:v>29.630398549999999</c:v>
                      </c:pt>
                      <c:pt idx="215">
                        <c:v>29.41883125</c:v>
                      </c:pt>
                      <c:pt idx="216">
                        <c:v>29.218626050000001</c:v>
                      </c:pt>
                      <c:pt idx="217">
                        <c:v>29.077638149999999</c:v>
                      </c:pt>
                      <c:pt idx="218">
                        <c:v>29.801882599999999</c:v>
                      </c:pt>
                      <c:pt idx="219">
                        <c:v>29.105020849999999</c:v>
                      </c:pt>
                      <c:pt idx="220">
                        <c:v>28.745493450000001</c:v>
                      </c:pt>
                      <c:pt idx="221">
                        <c:v>28.718063900000001</c:v>
                      </c:pt>
                      <c:pt idx="222">
                        <c:v>28.086551350000001</c:v>
                      </c:pt>
                      <c:pt idx="223">
                        <c:v>28.042431449999999</c:v>
                      </c:pt>
                      <c:pt idx="224">
                        <c:v>29.292777950000001</c:v>
                      </c:pt>
                      <c:pt idx="225">
                        <c:v>29.126246299999998</c:v>
                      </c:pt>
                      <c:pt idx="226">
                        <c:v>28.785292649999999</c:v>
                      </c:pt>
                      <c:pt idx="227">
                        <c:v>28.84926785</c:v>
                      </c:pt>
                      <c:pt idx="228">
                        <c:v>29.794477950000001</c:v>
                      </c:pt>
                      <c:pt idx="229">
                        <c:v>29.93814575</c:v>
                      </c:pt>
                      <c:pt idx="230">
                        <c:v>30.460264500000001</c:v>
                      </c:pt>
                      <c:pt idx="231">
                        <c:v>29.41611035</c:v>
                      </c:pt>
                      <c:pt idx="232">
                        <c:v>29.886486399999999</c:v>
                      </c:pt>
                      <c:pt idx="233">
                        <c:v>29.439983000000002</c:v>
                      </c:pt>
                      <c:pt idx="234">
                        <c:v>29.337024899999999</c:v>
                      </c:pt>
                      <c:pt idx="235">
                        <c:v>27.905193499999999</c:v>
                      </c:pt>
                      <c:pt idx="236">
                        <c:v>27.935014599999999</c:v>
                      </c:pt>
                      <c:pt idx="237">
                        <c:v>28.39376275</c:v>
                      </c:pt>
                      <c:pt idx="238">
                        <c:v>27.470079299999998</c:v>
                      </c:pt>
                      <c:pt idx="239">
                        <c:v>27.851047550000001</c:v>
                      </c:pt>
                      <c:pt idx="240">
                        <c:v>27.455736699999999</c:v>
                      </c:pt>
                      <c:pt idx="241">
                        <c:v>27.93433585</c:v>
                      </c:pt>
                      <c:pt idx="242">
                        <c:v>27.732461749999999</c:v>
                      </c:pt>
                      <c:pt idx="243">
                        <c:v>27.237593</c:v>
                      </c:pt>
                      <c:pt idx="244">
                        <c:v>26.63051535</c:v>
                      </c:pt>
                      <c:pt idx="245">
                        <c:v>26.233880750000001</c:v>
                      </c:pt>
                      <c:pt idx="246">
                        <c:v>26.833600050000001</c:v>
                      </c:pt>
                      <c:pt idx="247">
                        <c:v>27.186058150000001</c:v>
                      </c:pt>
                      <c:pt idx="248">
                        <c:v>26.880654700000001</c:v>
                      </c:pt>
                      <c:pt idx="249">
                        <c:v>26.393264850000001</c:v>
                      </c:pt>
                      <c:pt idx="250">
                        <c:v>27.144991900000001</c:v>
                      </c:pt>
                      <c:pt idx="251">
                        <c:v>26.10515255</c:v>
                      </c:pt>
                      <c:pt idx="252">
                        <c:v>25.271362750000002</c:v>
                      </c:pt>
                      <c:pt idx="253">
                        <c:v>24.643038950000001</c:v>
                      </c:pt>
                      <c:pt idx="254">
                        <c:v>24.635119849999999</c:v>
                      </c:pt>
                      <c:pt idx="255">
                        <c:v>24.951603349999999</c:v>
                      </c:pt>
                      <c:pt idx="256">
                        <c:v>24.869783649999999</c:v>
                      </c:pt>
                      <c:pt idx="257">
                        <c:v>25.024540649999999</c:v>
                      </c:pt>
                      <c:pt idx="258">
                        <c:v>24.612154700000001</c:v>
                      </c:pt>
                      <c:pt idx="259">
                        <c:v>24.762435249999999</c:v>
                      </c:pt>
                      <c:pt idx="260">
                        <c:v>24.005802299999999</c:v>
                      </c:pt>
                      <c:pt idx="261">
                        <c:v>24.021677350000001</c:v>
                      </c:pt>
                      <c:pt idx="262">
                        <c:v>24.247760150000001</c:v>
                      </c:pt>
                      <c:pt idx="263">
                        <c:v>24.7639116</c:v>
                      </c:pt>
                      <c:pt idx="264">
                        <c:v>25.68000945</c:v>
                      </c:pt>
                      <c:pt idx="265">
                        <c:v>25.420075149999999</c:v>
                      </c:pt>
                      <c:pt idx="266">
                        <c:v>24.576284350000002</c:v>
                      </c:pt>
                      <c:pt idx="267">
                        <c:v>24.880946649999998</c:v>
                      </c:pt>
                      <c:pt idx="268">
                        <c:v>25.592305499999998</c:v>
                      </c:pt>
                      <c:pt idx="269">
                        <c:v>26.02869145</c:v>
                      </c:pt>
                      <c:pt idx="270">
                        <c:v>27.3170708</c:v>
                      </c:pt>
                      <c:pt idx="271">
                        <c:v>27.93377735</c:v>
                      </c:pt>
                      <c:pt idx="272">
                        <c:v>27.336853349999998</c:v>
                      </c:pt>
                      <c:pt idx="273">
                        <c:v>27.02440305</c:v>
                      </c:pt>
                      <c:pt idx="274">
                        <c:v>26.9980194</c:v>
                      </c:pt>
                      <c:pt idx="275">
                        <c:v>27.371042599999999</c:v>
                      </c:pt>
                      <c:pt idx="276">
                        <c:v>26.693674250000001</c:v>
                      </c:pt>
                      <c:pt idx="277">
                        <c:v>27.03466255</c:v>
                      </c:pt>
                      <c:pt idx="278">
                        <c:v>28.300156000000001</c:v>
                      </c:pt>
                      <c:pt idx="279">
                        <c:v>32.096230249999998</c:v>
                      </c:pt>
                      <c:pt idx="280">
                        <c:v>32.2746633</c:v>
                      </c:pt>
                      <c:pt idx="281">
                        <c:v>31.717048999999999</c:v>
                      </c:pt>
                      <c:pt idx="282">
                        <c:v>30.870168499999998</c:v>
                      </c:pt>
                      <c:pt idx="283">
                        <c:v>30.708544199999999</c:v>
                      </c:pt>
                      <c:pt idx="284">
                        <c:v>30.6158739</c:v>
                      </c:pt>
                      <c:pt idx="285">
                        <c:v>30.4957341</c:v>
                      </c:pt>
                      <c:pt idx="286">
                        <c:v>32.346513600000002</c:v>
                      </c:pt>
                      <c:pt idx="287">
                        <c:v>33.919580699999997</c:v>
                      </c:pt>
                      <c:pt idx="288">
                        <c:v>33.019625499999997</c:v>
                      </c:pt>
                      <c:pt idx="289">
                        <c:v>33.889220100000003</c:v>
                      </c:pt>
                      <c:pt idx="290">
                        <c:v>35.514734249999997</c:v>
                      </c:pt>
                      <c:pt idx="291">
                        <c:v>36.555214450000001</c:v>
                      </c:pt>
                      <c:pt idx="292">
                        <c:v>34.925708800000002</c:v>
                      </c:pt>
                      <c:pt idx="293">
                        <c:v>35.468907850000001</c:v>
                      </c:pt>
                      <c:pt idx="294">
                        <c:v>33.777093999999998</c:v>
                      </c:pt>
                      <c:pt idx="295">
                        <c:v>35.501673799999999</c:v>
                      </c:pt>
                      <c:pt idx="296">
                        <c:v>34.499976750000002</c:v>
                      </c:pt>
                      <c:pt idx="297">
                        <c:v>34.620939749999998</c:v>
                      </c:pt>
                      <c:pt idx="298">
                        <c:v>33.754866550000003</c:v>
                      </c:pt>
                      <c:pt idx="299">
                        <c:v>33.446950999999999</c:v>
                      </c:pt>
                      <c:pt idx="300">
                        <c:v>34.078662450000003</c:v>
                      </c:pt>
                      <c:pt idx="301">
                        <c:v>34.305059900000003</c:v>
                      </c:pt>
                      <c:pt idx="302">
                        <c:v>34.783925349999997</c:v>
                      </c:pt>
                      <c:pt idx="303">
                        <c:v>34.19551405</c:v>
                      </c:pt>
                      <c:pt idx="304">
                        <c:v>34.220984199999997</c:v>
                      </c:pt>
                      <c:pt idx="305">
                        <c:v>33.373303649999997</c:v>
                      </c:pt>
                      <c:pt idx="306">
                        <c:v>32.977318099999998</c:v>
                      </c:pt>
                      <c:pt idx="307">
                        <c:v>31.01539975</c:v>
                      </c:pt>
                      <c:pt idx="308">
                        <c:v>30.159167499999999</c:v>
                      </c:pt>
                      <c:pt idx="309">
                        <c:v>30.450870649999999</c:v>
                      </c:pt>
                      <c:pt idx="310">
                        <c:v>30.795617549999999</c:v>
                      </c:pt>
                      <c:pt idx="311">
                        <c:v>31.048953449999999</c:v>
                      </c:pt>
                      <c:pt idx="312">
                        <c:v>29.530238499999999</c:v>
                      </c:pt>
                      <c:pt idx="313">
                        <c:v>30.027894849999999</c:v>
                      </c:pt>
                      <c:pt idx="314">
                        <c:v>30.55429415</c:v>
                      </c:pt>
                      <c:pt idx="315">
                        <c:v>35.686722000000003</c:v>
                      </c:pt>
                      <c:pt idx="316">
                        <c:v>38.173400350000001</c:v>
                      </c:pt>
                      <c:pt idx="317">
                        <c:v>43.744267749999999</c:v>
                      </c:pt>
                      <c:pt idx="318">
                        <c:v>41.178847300000001</c:v>
                      </c:pt>
                      <c:pt idx="319">
                        <c:v>37.911172149999999</c:v>
                      </c:pt>
                      <c:pt idx="320">
                        <c:v>38.187518900000001</c:v>
                      </c:pt>
                      <c:pt idx="321">
                        <c:v>40.742584749999999</c:v>
                      </c:pt>
                      <c:pt idx="322">
                        <c:v>41.444769649999998</c:v>
                      </c:pt>
                      <c:pt idx="323">
                        <c:v>41.337643300000003</c:v>
                      </c:pt>
                      <c:pt idx="324">
                        <c:v>39.242482299999999</c:v>
                      </c:pt>
                      <c:pt idx="325">
                        <c:v>39.084106400000003</c:v>
                      </c:pt>
                      <c:pt idx="326">
                        <c:v>38.481184200000001</c:v>
                      </c:pt>
                      <c:pt idx="327">
                        <c:v>37.529586549999998</c:v>
                      </c:pt>
                      <c:pt idx="328">
                        <c:v>36.969709700000003</c:v>
                      </c:pt>
                      <c:pt idx="329">
                        <c:v>38.133261699999998</c:v>
                      </c:pt>
                      <c:pt idx="330">
                        <c:v>37.995421700000001</c:v>
                      </c:pt>
                      <c:pt idx="331">
                        <c:v>37.314444199999997</c:v>
                      </c:pt>
                      <c:pt idx="332">
                        <c:v>35.895724749999999</c:v>
                      </c:pt>
                      <c:pt idx="333">
                        <c:v>34.783709299999998</c:v>
                      </c:pt>
                      <c:pt idx="334">
                        <c:v>34.391126700000001</c:v>
                      </c:pt>
                      <c:pt idx="335">
                        <c:v>33.538674749999998</c:v>
                      </c:pt>
                      <c:pt idx="336">
                        <c:v>34.150137100000002</c:v>
                      </c:pt>
                      <c:pt idx="337">
                        <c:v>33.714322250000002</c:v>
                      </c:pt>
                      <c:pt idx="338">
                        <c:v>33.281717100000002</c:v>
                      </c:pt>
                      <c:pt idx="339">
                        <c:v>32.053530049999999</c:v>
                      </c:pt>
                      <c:pt idx="340">
                        <c:v>31.150222800000002</c:v>
                      </c:pt>
                      <c:pt idx="341">
                        <c:v>30.1752042</c:v>
                      </c:pt>
                      <c:pt idx="342">
                        <c:v>29.868690319999999</c:v>
                      </c:pt>
                      <c:pt idx="343">
                        <c:v>28.319418859999999</c:v>
                      </c:pt>
                      <c:pt idx="344">
                        <c:v>28.1474726</c:v>
                      </c:pt>
                      <c:pt idx="345">
                        <c:v>28.145110819999999</c:v>
                      </c:pt>
                      <c:pt idx="346">
                        <c:v>28.484267299999999</c:v>
                      </c:pt>
                      <c:pt idx="347">
                        <c:v>28.148140900000001</c:v>
                      </c:pt>
                      <c:pt idx="348">
                        <c:v>27.769254459999999</c:v>
                      </c:pt>
                      <c:pt idx="349">
                        <c:v>28.001033840000002</c:v>
                      </c:pt>
                      <c:pt idx="350">
                        <c:v>28.792163639999998</c:v>
                      </c:pt>
                      <c:pt idx="351">
                        <c:v>28.7993062</c:v>
                      </c:pt>
                      <c:pt idx="352">
                        <c:v>28.01427812</c:v>
                      </c:pt>
                      <c:pt idx="353">
                        <c:v>26.8719869</c:v>
                      </c:pt>
                      <c:pt idx="354">
                        <c:v>26.6869944</c:v>
                      </c:pt>
                      <c:pt idx="355">
                        <c:v>28.826662800000001</c:v>
                      </c:pt>
                      <c:pt idx="356">
                        <c:v>27.85461368</c:v>
                      </c:pt>
                      <c:pt idx="357">
                        <c:v>27.75363316</c:v>
                      </c:pt>
                      <c:pt idx="358">
                        <c:v>27.565531</c:v>
                      </c:pt>
                      <c:pt idx="359">
                        <c:v>28.066778500000002</c:v>
                      </c:pt>
                      <c:pt idx="360">
                        <c:v>29.88023338</c:v>
                      </c:pt>
                      <c:pt idx="361">
                        <c:v>32.675861959999999</c:v>
                      </c:pt>
                      <c:pt idx="362">
                        <c:v>31.907887880000001</c:v>
                      </c:pt>
                      <c:pt idx="363">
                        <c:v>33.135219640000003</c:v>
                      </c:pt>
                      <c:pt idx="364">
                        <c:v>33.42783446</c:v>
                      </c:pt>
                      <c:pt idx="365">
                        <c:v>32.05640554</c:v>
                      </c:pt>
                      <c:pt idx="366">
                        <c:v>31.26493524</c:v>
                      </c:pt>
                      <c:pt idx="367">
                        <c:v>31.21226824</c:v>
                      </c:pt>
                      <c:pt idx="368">
                        <c:v>30.38410498</c:v>
                      </c:pt>
                      <c:pt idx="369">
                        <c:v>30.010003600000001</c:v>
                      </c:pt>
                      <c:pt idx="370">
                        <c:v>30.040977999999999</c:v>
                      </c:pt>
                      <c:pt idx="371">
                        <c:v>30.425560699999998</c:v>
                      </c:pt>
                      <c:pt idx="372">
                        <c:v>29.771565420000002</c:v>
                      </c:pt>
                      <c:pt idx="373">
                        <c:v>29.806834340000002</c:v>
                      </c:pt>
                      <c:pt idx="374">
                        <c:v>29.9010891</c:v>
                      </c:pt>
                      <c:pt idx="375">
                        <c:v>29.9155947</c:v>
                      </c:pt>
                      <c:pt idx="376">
                        <c:v>30.07271106</c:v>
                      </c:pt>
                      <c:pt idx="377">
                        <c:v>30.288638219999999</c:v>
                      </c:pt>
                      <c:pt idx="378">
                        <c:v>29.63309662</c:v>
                      </c:pt>
                      <c:pt idx="379">
                        <c:v>29.586573479999998</c:v>
                      </c:pt>
                      <c:pt idx="380">
                        <c:v>29.44251452</c:v>
                      </c:pt>
                      <c:pt idx="381">
                        <c:v>29.07052874</c:v>
                      </c:pt>
                      <c:pt idx="382">
                        <c:v>29.90464206</c:v>
                      </c:pt>
                      <c:pt idx="383">
                        <c:v>29.796438760000001</c:v>
                      </c:pt>
                      <c:pt idx="384">
                        <c:v>28.923112660000001</c:v>
                      </c:pt>
                      <c:pt idx="385">
                        <c:v>29.758441659999999</c:v>
                      </c:pt>
                      <c:pt idx="386">
                        <c:v>29.339730159999998</c:v>
                      </c:pt>
                      <c:pt idx="387">
                        <c:v>30.360448559999998</c:v>
                      </c:pt>
                      <c:pt idx="388">
                        <c:v>29.678538379999999</c:v>
                      </c:pt>
                      <c:pt idx="389">
                        <c:v>29.307970359999999</c:v>
                      </c:pt>
                      <c:pt idx="390">
                        <c:v>28.683337300000002</c:v>
                      </c:pt>
                      <c:pt idx="391">
                        <c:v>28.307088459999999</c:v>
                      </c:pt>
                      <c:pt idx="392">
                        <c:v>28.70564238</c:v>
                      </c:pt>
                      <c:pt idx="393">
                        <c:v>28.440511820000001</c:v>
                      </c:pt>
                      <c:pt idx="394">
                        <c:v>28.272109619999998</c:v>
                      </c:pt>
                      <c:pt idx="395">
                        <c:v>28.368120279999999</c:v>
                      </c:pt>
                      <c:pt idx="396">
                        <c:v>28.390102039999999</c:v>
                      </c:pt>
                      <c:pt idx="397">
                        <c:v>28.4034011</c:v>
                      </c:pt>
                      <c:pt idx="398">
                        <c:v>28.814275179999999</c:v>
                      </c:pt>
                      <c:pt idx="399">
                        <c:v>29.061636799999999</c:v>
                      </c:pt>
                      <c:pt idx="400">
                        <c:v>28.734330360000001</c:v>
                      </c:pt>
                      <c:pt idx="401">
                        <c:v>29.271578000000002</c:v>
                      </c:pt>
                      <c:pt idx="402">
                        <c:v>28.768576379999999</c:v>
                      </c:pt>
                      <c:pt idx="403">
                        <c:v>28.216126939999999</c:v>
                      </c:pt>
                      <c:pt idx="404">
                        <c:v>27.783611100000002</c:v>
                      </c:pt>
                      <c:pt idx="405">
                        <c:v>27.269565799999999</c:v>
                      </c:pt>
                      <c:pt idx="406">
                        <c:v>27.490800440000001</c:v>
                      </c:pt>
                      <c:pt idx="407">
                        <c:v>27.355224459999999</c:v>
                      </c:pt>
                      <c:pt idx="408">
                        <c:v>26.936255119999998</c:v>
                      </c:pt>
                      <c:pt idx="409">
                        <c:v>26.569815080000001</c:v>
                      </c:pt>
                      <c:pt idx="410">
                        <c:v>27.186276299999999</c:v>
                      </c:pt>
                      <c:pt idx="411">
                        <c:v>26.669502420000001</c:v>
                      </c:pt>
                      <c:pt idx="412">
                        <c:v>24.61684954</c:v>
                      </c:pt>
                      <c:pt idx="413">
                        <c:v>24.642084579999999</c:v>
                      </c:pt>
                      <c:pt idx="414">
                        <c:v>23.415954880000001</c:v>
                      </c:pt>
                      <c:pt idx="415">
                        <c:v>23.453270079999999</c:v>
                      </c:pt>
                      <c:pt idx="416">
                        <c:v>23.040234000000002</c:v>
                      </c:pt>
                      <c:pt idx="417">
                        <c:v>22.92235784</c:v>
                      </c:pt>
                      <c:pt idx="418">
                        <c:v>22.9172896</c:v>
                      </c:pt>
                      <c:pt idx="419">
                        <c:v>23.04255758</c:v>
                      </c:pt>
                      <c:pt idx="420">
                        <c:v>22.726971859999999</c:v>
                      </c:pt>
                      <c:pt idx="421">
                        <c:v>22.726689799999999</c:v>
                      </c:pt>
                      <c:pt idx="422">
                        <c:v>24.112650160000001</c:v>
                      </c:pt>
                      <c:pt idx="423">
                        <c:v>25.328606839999999</c:v>
                      </c:pt>
                      <c:pt idx="424">
                        <c:v>25.111432239999999</c:v>
                      </c:pt>
                      <c:pt idx="425">
                        <c:v>25.0738676</c:v>
                      </c:pt>
                      <c:pt idx="426">
                        <c:v>24.948783259999999</c:v>
                      </c:pt>
                      <c:pt idx="427">
                        <c:v>26.641988260000002</c:v>
                      </c:pt>
                      <c:pt idx="428">
                        <c:v>26.352622239999999</c:v>
                      </c:pt>
                      <c:pt idx="429">
                        <c:v>25.884639839999998</c:v>
                      </c:pt>
                      <c:pt idx="430">
                        <c:v>26.8449913</c:v>
                      </c:pt>
                      <c:pt idx="431">
                        <c:v>28.514142840000002</c:v>
                      </c:pt>
                      <c:pt idx="432">
                        <c:v>27.91388474</c:v>
                      </c:pt>
                      <c:pt idx="433">
                        <c:v>30.060698680000002</c:v>
                      </c:pt>
                      <c:pt idx="434">
                        <c:v>29.915003039999998</c:v>
                      </c:pt>
                      <c:pt idx="435">
                        <c:v>30.89234162</c:v>
                      </c:pt>
                      <c:pt idx="436">
                        <c:v>30.348081180000001</c:v>
                      </c:pt>
                      <c:pt idx="437">
                        <c:v>31.252394240000001</c:v>
                      </c:pt>
                      <c:pt idx="438">
                        <c:v>34.725694760000003</c:v>
                      </c:pt>
                      <c:pt idx="439">
                        <c:v>35.110568260000001</c:v>
                      </c:pt>
                      <c:pt idx="440">
                        <c:v>35.459665719999997</c:v>
                      </c:pt>
                      <c:pt idx="441">
                        <c:v>35.253485779999998</c:v>
                      </c:pt>
                      <c:pt idx="442">
                        <c:v>34.75490224</c:v>
                      </c:pt>
                      <c:pt idx="443">
                        <c:v>35.696553379999997</c:v>
                      </c:pt>
                      <c:pt idx="444">
                        <c:v>35.669657139999998</c:v>
                      </c:pt>
                      <c:pt idx="445">
                        <c:v>34.673756859999997</c:v>
                      </c:pt>
                      <c:pt idx="446">
                        <c:v>34.405251219999997</c:v>
                      </c:pt>
                      <c:pt idx="447">
                        <c:v>35.248996599999998</c:v>
                      </c:pt>
                      <c:pt idx="448">
                        <c:v>34.343217619999997</c:v>
                      </c:pt>
                      <c:pt idx="449">
                        <c:v>34.944565959999998</c:v>
                      </c:pt>
                      <c:pt idx="450">
                        <c:v>35.052864380000003</c:v>
                      </c:pt>
                      <c:pt idx="451">
                        <c:v>35.00375614</c:v>
                      </c:pt>
                      <c:pt idx="452">
                        <c:v>34.538846560000003</c:v>
                      </c:pt>
                      <c:pt idx="453">
                        <c:v>34.291305659999999</c:v>
                      </c:pt>
                      <c:pt idx="454">
                        <c:v>33.832224799999999</c:v>
                      </c:pt>
                      <c:pt idx="455">
                        <c:v>34.644806180000003</c:v>
                      </c:pt>
                      <c:pt idx="456">
                        <c:v>35.248044640000003</c:v>
                      </c:pt>
                      <c:pt idx="457">
                        <c:v>36.050857880000002</c:v>
                      </c:pt>
                      <c:pt idx="458">
                        <c:v>36.710466879999998</c:v>
                      </c:pt>
                      <c:pt idx="459">
                        <c:v>36.731313120000003</c:v>
                      </c:pt>
                      <c:pt idx="460">
                        <c:v>36.445604119999999</c:v>
                      </c:pt>
                      <c:pt idx="461">
                        <c:v>35.973144660000003</c:v>
                      </c:pt>
                      <c:pt idx="462">
                        <c:v>38.629588320000003</c:v>
                      </c:pt>
                      <c:pt idx="463">
                        <c:v>38.737365259999997</c:v>
                      </c:pt>
                      <c:pt idx="464">
                        <c:v>38.093216820000002</c:v>
                      </c:pt>
                      <c:pt idx="465">
                        <c:v>38.366681980000003</c:v>
                      </c:pt>
                      <c:pt idx="466">
                        <c:v>37.996680079999997</c:v>
                      </c:pt>
                      <c:pt idx="467">
                        <c:v>38.579869799999997</c:v>
                      </c:pt>
                      <c:pt idx="468">
                        <c:v>37.429325599999999</c:v>
                      </c:pt>
                      <c:pt idx="469">
                        <c:v>36.71171734</c:v>
                      </c:pt>
                      <c:pt idx="470">
                        <c:v>37.4192222</c:v>
                      </c:pt>
                      <c:pt idx="471">
                        <c:v>38.454609400000002</c:v>
                      </c:pt>
                      <c:pt idx="472">
                        <c:v>37.718065959999997</c:v>
                      </c:pt>
                      <c:pt idx="473">
                        <c:v>37.495294600000001</c:v>
                      </c:pt>
                      <c:pt idx="474">
                        <c:v>38.533406020000001</c:v>
                      </c:pt>
                      <c:pt idx="475">
                        <c:v>37.675013239999998</c:v>
                      </c:pt>
                      <c:pt idx="476">
                        <c:v>38.147937120000002</c:v>
                      </c:pt>
                      <c:pt idx="477">
                        <c:v>38.525923120000002</c:v>
                      </c:pt>
                      <c:pt idx="478">
                        <c:v>42.175631459999998</c:v>
                      </c:pt>
                      <c:pt idx="479">
                        <c:v>41.166161279999997</c:v>
                      </c:pt>
                      <c:pt idx="480">
                        <c:v>41.031559520000002</c:v>
                      </c:pt>
                      <c:pt idx="481">
                        <c:v>43.193417359999998</c:v>
                      </c:pt>
                      <c:pt idx="482">
                        <c:v>45.6390314</c:v>
                      </c:pt>
                      <c:pt idx="483">
                        <c:v>47.762658500000001</c:v>
                      </c:pt>
                      <c:pt idx="484">
                        <c:v>51.603971280000003</c:v>
                      </c:pt>
                      <c:pt idx="485">
                        <c:v>49.133739499999997</c:v>
                      </c:pt>
                      <c:pt idx="486">
                        <c:v>60.33457782</c:v>
                      </c:pt>
                      <c:pt idx="487">
                        <c:v>71.178444020000001</c:v>
                      </c:pt>
                      <c:pt idx="488">
                        <c:v>59.451385700000003</c:v>
                      </c:pt>
                      <c:pt idx="489">
                        <c:v>50.532270760000003</c:v>
                      </c:pt>
                      <c:pt idx="490">
                        <c:v>52.003516859999998</c:v>
                      </c:pt>
                      <c:pt idx="491">
                        <c:v>47.670626720000001</c:v>
                      </c:pt>
                      <c:pt idx="492">
                        <c:v>48.161955020000001</c:v>
                      </c:pt>
                      <c:pt idx="493">
                        <c:v>48.837523480000002</c:v>
                      </c:pt>
                      <c:pt idx="494">
                        <c:v>47.365863060000002</c:v>
                      </c:pt>
                      <c:pt idx="495">
                        <c:v>49.011061120000001</c:v>
                      </c:pt>
                      <c:pt idx="496">
                        <c:v>52.966181339999999</c:v>
                      </c:pt>
                      <c:pt idx="497">
                        <c:v>58.560764839999997</c:v>
                      </c:pt>
                      <c:pt idx="498">
                        <c:v>63.331251639999998</c:v>
                      </c:pt>
                      <c:pt idx="499">
                        <c:v>71.076457140000002</c:v>
                      </c:pt>
                      <c:pt idx="500">
                        <c:v>73.919118519999998</c:v>
                      </c:pt>
                      <c:pt idx="501">
                        <c:v>73.974496439999996</c:v>
                      </c:pt>
                      <c:pt idx="502">
                        <c:v>75.931153739999999</c:v>
                      </c:pt>
                      <c:pt idx="503">
                        <c:v>81.57911</c:v>
                      </c:pt>
                      <c:pt idx="504">
                        <c:v>79.094367919999996</c:v>
                      </c:pt>
                      <c:pt idx="505">
                        <c:v>69.413147240000001</c:v>
                      </c:pt>
                      <c:pt idx="506">
                        <c:v>67.30100032</c:v>
                      </c:pt>
                      <c:pt idx="507">
                        <c:v>62.526209379999997</c:v>
                      </c:pt>
                      <c:pt idx="508">
                        <c:v>62.498749140000001</c:v>
                      </c:pt>
                      <c:pt idx="509">
                        <c:v>59.8596091</c:v>
                      </c:pt>
                      <c:pt idx="510">
                        <c:v>60.275021580000001</c:v>
                      </c:pt>
                      <c:pt idx="511">
                        <c:v>56.933057499999997</c:v>
                      </c:pt>
                      <c:pt idx="512">
                        <c:v>57.506463580000002</c:v>
                      </c:pt>
                      <c:pt idx="513">
                        <c:v>56.100176959999999</c:v>
                      </c:pt>
                      <c:pt idx="514">
                        <c:v>56.322366500000001</c:v>
                      </c:pt>
                      <c:pt idx="515">
                        <c:v>55.507005380000003</c:v>
                      </c:pt>
                      <c:pt idx="516">
                        <c:v>56.954123340000002</c:v>
                      </c:pt>
                      <c:pt idx="517">
                        <c:v>60.160427779999999</c:v>
                      </c:pt>
                      <c:pt idx="518">
                        <c:v>60.428649440000001</c:v>
                      </c:pt>
                      <c:pt idx="519">
                        <c:v>59.967684380000001</c:v>
                      </c:pt>
                      <c:pt idx="520">
                        <c:v>55.903736420000001</c:v>
                      </c:pt>
                      <c:pt idx="521">
                        <c:v>55.164694140000002</c:v>
                      </c:pt>
                      <c:pt idx="522">
                        <c:v>54.232039899999997</c:v>
                      </c:pt>
                      <c:pt idx="523">
                        <c:v>55.094582359999997</c:v>
                      </c:pt>
                      <c:pt idx="524">
                        <c:v>55.69460634</c:v>
                      </c:pt>
                      <c:pt idx="525">
                        <c:v>55.17283364</c:v>
                      </c:pt>
                      <c:pt idx="526">
                        <c:v>53.35990666</c:v>
                      </c:pt>
                      <c:pt idx="527">
                        <c:v>54.079175239999998</c:v>
                      </c:pt>
                      <c:pt idx="528">
                        <c:v>53.52503256</c:v>
                      </c:pt>
                      <c:pt idx="529">
                        <c:v>51.767421480000003</c:v>
                      </c:pt>
                      <c:pt idx="530">
                        <c:v>52.433101999999998</c:v>
                      </c:pt>
                      <c:pt idx="531">
                        <c:v>52.472444619999997</c:v>
                      </c:pt>
                      <c:pt idx="532">
                        <c:v>50.886517699999999</c:v>
                      </c:pt>
                      <c:pt idx="533">
                        <c:v>51.24239128</c:v>
                      </c:pt>
                      <c:pt idx="534">
                        <c:v>49.466017239999999</c:v>
                      </c:pt>
                    </c:numCache>
                  </c:numRef>
                </c:val>
                <c:smooth val="0"/>
                <c:extLst xmlns:c15="http://schemas.microsoft.com/office/drawing/2012/chart">
                  <c:ext xmlns:c16="http://schemas.microsoft.com/office/drawing/2014/chart" uri="{C3380CC4-5D6E-409C-BE32-E72D297353CC}">
                    <c16:uniqueId val="{00000022-094D-4E29-B010-D717A2A1A293}"/>
                  </c:ext>
                </c:extLst>
              </c15:ser>
            </c15:filteredLineSeries>
          </c:ext>
        </c:extLst>
      </c:lineChart>
      <c:dateAx>
        <c:axId val="831629328"/>
        <c:scaling>
          <c:orientation val="minMax"/>
          <c:max val="45930"/>
          <c:min val="45748"/>
        </c:scaling>
        <c:delete val="0"/>
        <c:axPos val="b"/>
        <c:numFmt formatCode="mmm\-yy"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1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1069910368"/>
        <c:crosses val="autoZero"/>
        <c:auto val="1"/>
        <c:lblOffset val="100"/>
        <c:baseTimeUnit val="days"/>
        <c:majorUnit val="1"/>
        <c:majorTimeUnit val="months"/>
      </c:dateAx>
      <c:valAx>
        <c:axId val="1069910368"/>
        <c:scaling>
          <c:orientation val="minMax"/>
          <c:max val="90000"/>
          <c:min val="50000"/>
        </c:scaling>
        <c:delete val="0"/>
        <c:axPos val="l"/>
        <c:majorGridlines>
          <c:spPr>
            <a:ln w="6350" cap="flat" cmpd="sng" algn="ctr">
              <a:noFill/>
              <a:prstDash val="solid"/>
              <a:round/>
            </a:ln>
            <a:effectLst/>
          </c:spPr>
        </c:majorGridlines>
        <c:numFmt formatCode="#,##0" sourceLinked="1"/>
        <c:majorTickMark val="out"/>
        <c:minorTickMark val="none"/>
        <c:tickLblPos val="nextTo"/>
        <c:spPr>
          <a:noFill/>
          <a:ln w="9525" cap="flat" cmpd="sng" algn="ctr">
            <a:noFill/>
            <a:prstDash val="solid"/>
            <a:round/>
          </a:ln>
          <a:effectLst/>
        </c:spPr>
        <c:txPr>
          <a:bodyPr rot="-60000000" spcFirstLastPara="1" vertOverflow="ellipsis" vert="horz" wrap="square" anchor="ctr" anchorCtr="1"/>
          <a:lstStyle/>
          <a:p>
            <a:pPr>
              <a:defRPr sz="11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831629328"/>
        <c:crosses val="autoZero"/>
        <c:crossBetween val="between"/>
        <c:majorUnit val="5000"/>
        <c:dispUnits>
          <c:builtInUnit val="thousands"/>
        </c:dispUnits>
      </c:valAx>
      <c:valAx>
        <c:axId val="1257485904"/>
        <c:scaling>
          <c:orientation val="minMax"/>
          <c:min val="0"/>
        </c:scaling>
        <c:delete val="0"/>
        <c:axPos val="r"/>
        <c:numFmt formatCode="#,##0" sourceLinked="0"/>
        <c:majorTickMark val="out"/>
        <c:minorTickMark val="none"/>
        <c:tickLblPos val="nextTo"/>
        <c:spPr>
          <a:noFill/>
          <a:ln w="9525" cap="flat" cmpd="sng" algn="ctr">
            <a:noFill/>
            <a:prstDash val="solid"/>
            <a:round/>
          </a:ln>
          <a:effectLst/>
        </c:spPr>
        <c:txPr>
          <a:bodyPr rot="-60000000" spcFirstLastPara="1" vertOverflow="ellipsis" vert="horz" wrap="square" anchor="ctr" anchorCtr="1"/>
          <a:lstStyle/>
          <a:p>
            <a:pPr>
              <a:defRPr sz="11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1257490704"/>
        <c:crosses val="max"/>
        <c:crossBetween val="between"/>
        <c:majorUnit val="30"/>
      </c:valAx>
      <c:dateAx>
        <c:axId val="1257490704"/>
        <c:scaling>
          <c:orientation val="minMax"/>
        </c:scaling>
        <c:delete val="1"/>
        <c:axPos val="b"/>
        <c:numFmt formatCode="d\-mmm\-yy" sourceLinked="1"/>
        <c:majorTickMark val="out"/>
        <c:minorTickMark val="none"/>
        <c:tickLblPos val="nextTo"/>
        <c:crossAx val="1257485904"/>
        <c:crosses val="autoZero"/>
        <c:auto val="1"/>
        <c:lblOffset val="100"/>
        <c:baseTimeUnit val="days"/>
      </c:dateAx>
      <c:spPr>
        <a:noFill/>
        <a:ln>
          <a:noFill/>
        </a:ln>
        <a:effectLst/>
      </c:spPr>
    </c:plotArea>
    <c:legend>
      <c:legendPos val="t"/>
      <c:layout>
        <c:manualLayout>
          <c:xMode val="edge"/>
          <c:yMode val="edge"/>
          <c:x val="0.12962392474663295"/>
          <c:y val="0.15069714686131791"/>
          <c:w val="0.40596805910383971"/>
          <c:h val="0.1163558891684129"/>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w="6350" cap="flat" cmpd="sng" algn="ctr">
      <a:noFill/>
      <a:prstDash val="solid"/>
      <a:round/>
    </a:ln>
    <a:effectLst/>
  </c:spPr>
  <c:txPr>
    <a:bodyPr/>
    <a:lstStyle/>
    <a:p>
      <a:pPr>
        <a:defRPr sz="1050">
          <a:solidFill>
            <a:srgbClr val="4B4B4B"/>
          </a:solidFill>
          <a:latin typeface="Arial" panose="020B0604020202020204" pitchFamily="34" charset="0"/>
          <a:cs typeface="Arial" panose="020B0604020202020204" pitchFamily="34" charset="0"/>
        </a:defRPr>
      </a:pPr>
      <a:endParaRPr lang="en-US"/>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omments/modernComment_7FFFEE33_90621E3.xml><?xml version="1.0" encoding="utf-8"?>
<p188:cmLst xmlns:a="http://schemas.openxmlformats.org/drawingml/2006/main" xmlns:r="http://schemas.openxmlformats.org/officeDocument/2006/relationships" xmlns:p188="http://schemas.microsoft.com/office/powerpoint/2018/8/main">
  <p188:cm id="{BD6DF930-39A5-4662-9329-52EBC7448CD6}" authorId="{A7C982F0-767B-DC52-0C49-518B854CFECC}" created="2025-10-08T16:33:45.572" startDate="2025-10-08T16:33:45.572" dueDate="2025-10-08T16:33:45.572" assignedTo="{40469429-1FB6-75C2-7313-ED3BCF794900}" title="@Yuming Chang Do you have a higher quality version of this webinar marketing material?">
    <pc:sldMkLst xmlns:pc="http://schemas.microsoft.com/office/powerpoint/2013/main/command">
      <pc:docMk/>
      <pc:sldMk cId="151396835" sldId="2147479091"/>
    </pc:sldMkLst>
    <p188:txBody>
      <a:bodyPr/>
      <a:lstStyle/>
      <a:p>
        <a:r>
          <a:rPr lang="en-GB"/>
          <a:t>[@Yuming Chang] Do you have a higher quality version of this webinar marketing material?</a:t>
        </a:r>
      </a:p>
    </p188:txBody>
    <p188:extLst>
      <p:ext xmlns:p="http://schemas.openxmlformats.org/presentationml/2006/main" uri="{5BB2D875-25FF-4072-B9AC-8F64D62656EB}">
        <p228:taskDetails xmlns:p228="http://schemas.microsoft.com/office/powerpoint/2022/08/main">
          <p228:history>
            <p228:event time="2025-10-08T16:33:45.572" id="{7407DB5F-E941-4885-8347-D52842146997}">
              <p228:atrbtn authorId="{A7C982F0-767B-DC52-0C49-518B854CFECC}"/>
              <p228:anchr>
                <p228:comment id="{BD6DF930-39A5-4662-9329-52EBC7448CD6}"/>
              </p228:anchr>
              <p228:add/>
            </p228:event>
            <p228:event time="2025-10-08T16:33:45.572" id="{6DA48ACF-53F2-4375-8C4D-4300CD562AD2}">
              <p228:atrbtn authorId="{A7C982F0-767B-DC52-0C49-518B854CFECC}"/>
              <p228:anchr>
                <p228:comment id="{BD6DF930-39A5-4662-9329-52EBC7448CD6}"/>
              </p228:anchr>
              <p228:asgn authorId="{40469429-1FB6-75C2-7313-ED3BCF794900}"/>
            </p228:event>
            <p228:event time="2025-10-08T16:33:45.572" id="{0D2E1A95-FCB2-4359-B552-D152AC586CAC}">
              <p228:atrbtn authorId="{A7C982F0-767B-DC52-0C49-518B854CFECC}"/>
              <p228:anchr>
                <p228:comment id="{BD6DF930-39A5-4662-9329-52EBC7448CD6}"/>
              </p228:anchr>
              <p228:title val="@Yuming Chang Do you have a higher quality version of this webinar marketing material?"/>
            </p228:event>
            <p228:event time="2025-10-08T16:33:45.572" id="{8F477F29-A21D-449B-B76F-9F04D763A26A}">
              <p228:atrbtn authorId="{A7C982F0-767B-DC52-0C49-518B854CFECC}"/>
              <p228:anchr>
                <p228:comment id="{BD6DF930-39A5-4662-9329-52EBC7448CD6}"/>
              </p228:anchr>
              <p228:date stDt="2025-10-08T16:33:45.572" endDt="2025-10-08T16:33:45.572"/>
            </p228:event>
          </p228:history>
        </p228:taskDetails>
      </p:ext>
    </p188:extLst>
  </p188:cm>
</p188: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0198</cdr:x>
      <cdr:y>0</cdr:y>
    </cdr:from>
    <cdr:to>
      <cdr:x>1</cdr:x>
      <cdr:y>0.08555</cdr:y>
    </cdr:to>
    <cdr:sp macro="" textlink="">
      <cdr:nvSpPr>
        <cdr:cNvPr id="3" name="TextBox 1">
          <a:extLst xmlns:a="http://schemas.openxmlformats.org/drawingml/2006/main">
            <a:ext uri="{FF2B5EF4-FFF2-40B4-BE49-F238E27FC236}">
              <a16:creationId xmlns:a16="http://schemas.microsoft.com/office/drawing/2014/main" id="{C8FE39DC-31BC-A6E7-196D-BE22F3F1F347}"/>
            </a:ext>
          </a:extLst>
        </cdr:cNvPr>
        <cdr:cNvSpPr txBox="1"/>
      </cdr:nvSpPr>
      <cdr:spPr>
        <a:xfrm xmlns:a="http://schemas.openxmlformats.org/drawingml/2006/main">
          <a:off x="91406" y="0"/>
          <a:ext cx="4525044" cy="234681"/>
        </a:xfrm>
        <a:prstGeom xmlns:a="http://schemas.openxmlformats.org/drawingml/2006/main" prst="rect">
          <a:avLst/>
        </a:prstGeom>
      </cdr:spPr>
      <cdr:txBody>
        <a:bodyPr xmlns:a="http://schemas.openxmlformats.org/drawingml/2006/main" wrap="square" tIns="36000" bIns="36000" rtlCol="0" anchor="t"/>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lvl="0" indent="0" defTabSz="914400" eaLnBrk="1" fontAlgn="auto" latinLnBrk="0" hangingPunct="1">
            <a:lnSpc>
              <a:spcPct val="100000"/>
            </a:lnSpc>
            <a:spcBef>
              <a:spcPts val="0"/>
            </a:spcBef>
            <a:spcAft>
              <a:spcPts val="0"/>
            </a:spcAft>
            <a:buClrTx/>
            <a:buSzTx/>
            <a:buFontTx/>
            <a:buNone/>
            <a:tabLst/>
            <a:defRPr/>
          </a:pPr>
          <a:r>
            <a:rPr lang="en-GB" sz="1200" dirty="0">
              <a:solidFill>
                <a:schemeClr val="bg1"/>
              </a:solidFill>
              <a:effectLst/>
              <a:latin typeface="Arial" panose="020B0604020202020204" pitchFamily="34" charset="0"/>
              <a:ea typeface="Helvetica Neue" panose="02000503000000020004" pitchFamily="2" charset="0"/>
              <a:cs typeface="Arial" panose="020B0604020202020204" pitchFamily="34" charset="0"/>
            </a:rPr>
            <a:t>US Cobalt Metal</a:t>
          </a:r>
          <a:r>
            <a:rPr lang="en-GB" sz="1200" baseline="0" dirty="0">
              <a:solidFill>
                <a:schemeClr val="bg1"/>
              </a:solidFill>
              <a:effectLst/>
              <a:latin typeface="Arial" panose="020B0604020202020204" pitchFamily="34" charset="0"/>
              <a:ea typeface="Helvetica Neue" panose="02000503000000020004" pitchFamily="2" charset="0"/>
              <a:cs typeface="Arial" panose="020B0604020202020204" pitchFamily="34" charset="0"/>
            </a:rPr>
            <a:t> Price, $Real 2025</a:t>
          </a:r>
          <a:endParaRPr lang="en-GB" sz="1200" dirty="0">
            <a:solidFill>
              <a:schemeClr val="bg1"/>
            </a:solidFill>
            <a:effectLst/>
            <a:latin typeface="Arial" panose="020B0604020202020204" pitchFamily="34" charset="0"/>
            <a:ea typeface="Helvetica Neue" panose="02000503000000020004" pitchFamily="2" charset="0"/>
            <a:cs typeface="Arial" panose="020B0604020202020204" pitchFamily="34" charset="0"/>
          </a:endParaRPr>
        </a:p>
      </cdr:txBody>
    </cdr:sp>
  </cdr:relSizeAnchor>
</c:userShapes>
</file>

<file path=ppt/drawings/drawing10.xml><?xml version="1.0" encoding="utf-8"?>
<c:userShapes xmlns:c="http://schemas.openxmlformats.org/drawingml/2006/chart">
  <cdr:relSizeAnchor xmlns:cdr="http://schemas.openxmlformats.org/drawingml/2006/chartDrawing">
    <cdr:from>
      <cdr:x>0.00218</cdr:x>
      <cdr:y>0.00612</cdr:y>
    </cdr:from>
    <cdr:to>
      <cdr:x>0.98612</cdr:x>
      <cdr:y>0.10108</cdr:y>
    </cdr:to>
    <cdr:sp macro="" textlink="">
      <cdr:nvSpPr>
        <cdr:cNvPr id="3" name="TextBox 1">
          <a:extLst xmlns:a="http://schemas.openxmlformats.org/drawingml/2006/main">
            <a:ext uri="{FF2B5EF4-FFF2-40B4-BE49-F238E27FC236}">
              <a16:creationId xmlns:a16="http://schemas.microsoft.com/office/drawing/2014/main" id="{5EE8D23B-2794-C709-8E35-74BE9DD4FD54}"/>
            </a:ext>
          </a:extLst>
        </cdr:cNvPr>
        <cdr:cNvSpPr txBox="1"/>
      </cdr:nvSpPr>
      <cdr:spPr>
        <a:xfrm xmlns:a="http://schemas.openxmlformats.org/drawingml/2006/main">
          <a:off x="8248" y="26217"/>
          <a:ext cx="3719118" cy="406721"/>
        </a:xfrm>
        <a:prstGeom xmlns:a="http://schemas.openxmlformats.org/drawingml/2006/main" prst="rect">
          <a:avLst/>
        </a:prstGeom>
      </cdr:spPr>
      <cdr:txBody>
        <a:bodyPr xmlns:a="http://schemas.openxmlformats.org/drawingml/2006/main" wrap="square" tIns="36000" bIns="36000"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lvl="0" indent="0" defTabSz="914400" eaLnBrk="1" fontAlgn="auto" latinLnBrk="0" hangingPunct="1">
            <a:lnSpc>
              <a:spcPct val="100000"/>
            </a:lnSpc>
            <a:spcBef>
              <a:spcPts val="0"/>
            </a:spcBef>
            <a:spcAft>
              <a:spcPts val="0"/>
            </a:spcAft>
            <a:buClrTx/>
            <a:buSzTx/>
            <a:buFontTx/>
            <a:buNone/>
            <a:tabLst/>
            <a:defRPr/>
          </a:pPr>
          <a:r>
            <a:rPr lang="en-GB" dirty="0">
              <a:solidFill>
                <a:schemeClr val="bg1"/>
              </a:solidFill>
              <a:effectLst/>
            </a:rPr>
            <a:t>2025 market surplus with vs without closures, kt LCE</a:t>
          </a:r>
        </a:p>
      </cdr:txBody>
    </cdr:sp>
  </cdr:relSizeAnchor>
  <cdr:relSizeAnchor xmlns:cdr="http://schemas.openxmlformats.org/drawingml/2006/chartDrawing">
    <cdr:from>
      <cdr:x>0.00595</cdr:x>
      <cdr:y>0.00397</cdr:y>
    </cdr:from>
    <cdr:to>
      <cdr:x>0.99107</cdr:x>
      <cdr:y>0.08333</cdr:y>
    </cdr:to>
    <cdr:sp macro="" textlink="">
      <cdr:nvSpPr>
        <cdr:cNvPr id="2" name="TextBox 1">
          <a:extLst xmlns:a="http://schemas.openxmlformats.org/drawingml/2006/main">
            <a:ext uri="{FF2B5EF4-FFF2-40B4-BE49-F238E27FC236}">
              <a16:creationId xmlns:a16="http://schemas.microsoft.com/office/drawing/2014/main" id="{C4FCB79D-EDF8-378E-6B63-67AD742F6EE1}"/>
            </a:ext>
          </a:extLst>
        </cdr:cNvPr>
        <cdr:cNvSpPr txBox="1"/>
      </cdr:nvSpPr>
      <cdr:spPr>
        <a:xfrm xmlns:a="http://schemas.openxmlformats.org/drawingml/2006/main">
          <a:off x="27214" y="10886"/>
          <a:ext cx="4503965" cy="217714"/>
        </a:xfrm>
        <a:prstGeom xmlns:a="http://schemas.openxmlformats.org/drawingml/2006/main" prst="rect">
          <a:avLst/>
        </a:prstGeom>
        <a:ln xmlns:a="http://schemas.openxmlformats.org/drawingml/2006/main">
          <a:noFill/>
        </a:ln>
      </cdr:spPr>
      <cdr:txBody>
        <a:bodyPr xmlns:a="http://schemas.openxmlformats.org/drawingml/2006/main" vertOverflow="clip" wrap="square" rtlCol="0"/>
        <a:lstStyle xmlns:a="http://schemas.openxmlformats.org/drawingml/2006/main"/>
        <a:p xmlns:a="http://schemas.openxmlformats.org/drawingml/2006/main">
          <a:endParaRPr lang="en-GB" sz="1100" kern="1200"/>
        </a:p>
      </cdr:txBody>
    </cdr:sp>
  </cdr:relSizeAnchor>
  <cdr:relSizeAnchor xmlns:cdr="http://schemas.openxmlformats.org/drawingml/2006/chartDrawing">
    <cdr:from>
      <cdr:x>0.36413</cdr:x>
      <cdr:y>0.14307</cdr:y>
    </cdr:from>
    <cdr:to>
      <cdr:x>0.36413</cdr:x>
      <cdr:y>0.2054</cdr:y>
    </cdr:to>
    <cdr:cxnSp macro="">
      <cdr:nvCxnSpPr>
        <cdr:cNvPr id="8" name="Straight Arrow Connector 7">
          <a:extLst xmlns:a="http://schemas.openxmlformats.org/drawingml/2006/main">
            <a:ext uri="{FF2B5EF4-FFF2-40B4-BE49-F238E27FC236}">
              <a16:creationId xmlns:a16="http://schemas.microsoft.com/office/drawing/2014/main" id="{080D15CC-2F1F-BAD6-CC4F-2D3C62DAABE8}"/>
            </a:ext>
          </a:extLst>
        </cdr:cNvPr>
        <cdr:cNvCxnSpPr>
          <a:stCxn xmlns:a="http://schemas.openxmlformats.org/drawingml/2006/main" id="12" idx="0"/>
        </cdr:cNvCxnSpPr>
      </cdr:nvCxnSpPr>
      <cdr:spPr>
        <a:xfrm xmlns:a="http://schemas.openxmlformats.org/drawingml/2006/main" flipV="1">
          <a:off x="1376352" y="612775"/>
          <a:ext cx="0" cy="266973"/>
        </a:xfrm>
        <a:prstGeom xmlns:a="http://schemas.openxmlformats.org/drawingml/2006/main" prst="straightConnector1">
          <a:avLst/>
        </a:prstGeom>
        <a:ln xmlns:a="http://schemas.openxmlformats.org/drawingml/2006/main">
          <a:solidFill>
            <a:schemeClr val="bg1"/>
          </a:solidFill>
          <a:tailEnd type="triangle"/>
        </a:ln>
      </cdr:spPr>
      <cdr:style>
        <a:lnRef xmlns:a="http://schemas.openxmlformats.org/drawingml/2006/main" idx="2">
          <a:schemeClr val="dk1"/>
        </a:lnRef>
        <a:fillRef xmlns:a="http://schemas.openxmlformats.org/drawingml/2006/main" idx="0">
          <a:schemeClr val="dk1"/>
        </a:fillRef>
        <a:effectRef xmlns:a="http://schemas.openxmlformats.org/drawingml/2006/main" idx="1">
          <a:schemeClr val="dk1"/>
        </a:effectRef>
        <a:fontRef xmlns:a="http://schemas.openxmlformats.org/drawingml/2006/main" idx="minor">
          <a:schemeClr val="tx1"/>
        </a:fontRef>
      </cdr:style>
    </cdr:cxnSp>
  </cdr:relSizeAnchor>
  <cdr:relSizeAnchor xmlns:cdr="http://schemas.openxmlformats.org/drawingml/2006/chartDrawing">
    <cdr:from>
      <cdr:x>0.36413</cdr:x>
      <cdr:y>0.30029</cdr:y>
    </cdr:from>
    <cdr:to>
      <cdr:x>0.36413</cdr:x>
      <cdr:y>0.37583</cdr:y>
    </cdr:to>
    <cdr:cxnSp macro="">
      <cdr:nvCxnSpPr>
        <cdr:cNvPr id="10" name="Straight Arrow Connector 9">
          <a:extLst xmlns:a="http://schemas.openxmlformats.org/drawingml/2006/main">
            <a:ext uri="{FF2B5EF4-FFF2-40B4-BE49-F238E27FC236}">
              <a16:creationId xmlns:a16="http://schemas.microsoft.com/office/drawing/2014/main" id="{1F9E5961-FCBA-2D4A-BEB5-9AF73DF89E3F}"/>
            </a:ext>
          </a:extLst>
        </cdr:cNvPr>
        <cdr:cNvCxnSpPr>
          <a:stCxn xmlns:a="http://schemas.openxmlformats.org/drawingml/2006/main" id="12" idx="2"/>
        </cdr:cNvCxnSpPr>
      </cdr:nvCxnSpPr>
      <cdr:spPr>
        <a:xfrm xmlns:a="http://schemas.openxmlformats.org/drawingml/2006/main">
          <a:off x="1376352" y="1286169"/>
          <a:ext cx="0" cy="323556"/>
        </a:xfrm>
        <a:prstGeom xmlns:a="http://schemas.openxmlformats.org/drawingml/2006/main" prst="straightConnector1">
          <a:avLst/>
        </a:prstGeom>
        <a:ln xmlns:a="http://schemas.openxmlformats.org/drawingml/2006/main">
          <a:solidFill>
            <a:schemeClr val="bg1"/>
          </a:solidFill>
          <a:tailEnd type="triangle"/>
        </a:ln>
      </cdr:spPr>
      <cdr:style>
        <a:lnRef xmlns:a="http://schemas.openxmlformats.org/drawingml/2006/main" idx="2">
          <a:schemeClr val="dk1"/>
        </a:lnRef>
        <a:fillRef xmlns:a="http://schemas.openxmlformats.org/drawingml/2006/main" idx="0">
          <a:schemeClr val="dk1"/>
        </a:fillRef>
        <a:effectRef xmlns:a="http://schemas.openxmlformats.org/drawingml/2006/main" idx="1">
          <a:schemeClr val="dk1"/>
        </a:effectRef>
        <a:fontRef xmlns:a="http://schemas.openxmlformats.org/drawingml/2006/main" idx="minor">
          <a:schemeClr val="tx1"/>
        </a:fontRef>
      </cdr:style>
    </cdr:cxnSp>
  </cdr:relSizeAnchor>
  <cdr:relSizeAnchor xmlns:cdr="http://schemas.openxmlformats.org/drawingml/2006/chartDrawing">
    <cdr:from>
      <cdr:x>0.25493</cdr:x>
      <cdr:y>0.2054</cdr:y>
    </cdr:from>
    <cdr:to>
      <cdr:x>0.47333</cdr:x>
      <cdr:y>0.30029</cdr:y>
    </cdr:to>
    <cdr:sp macro="" textlink="">
      <cdr:nvSpPr>
        <cdr:cNvPr id="12" name="TextBox 11">
          <a:extLst xmlns:a="http://schemas.openxmlformats.org/drawingml/2006/main">
            <a:ext uri="{FF2B5EF4-FFF2-40B4-BE49-F238E27FC236}">
              <a16:creationId xmlns:a16="http://schemas.microsoft.com/office/drawing/2014/main" id="{44D3A2AE-C6B4-41DA-C79A-4194A8253D1A}"/>
            </a:ext>
          </a:extLst>
        </cdr:cNvPr>
        <cdr:cNvSpPr txBox="1"/>
      </cdr:nvSpPr>
      <cdr:spPr>
        <a:xfrm xmlns:a="http://schemas.openxmlformats.org/drawingml/2006/main">
          <a:off x="963594" y="879748"/>
          <a:ext cx="825516" cy="406421"/>
        </a:xfrm>
        <a:prstGeom xmlns:a="http://schemas.openxmlformats.org/drawingml/2006/main" prst="rect">
          <a:avLst/>
        </a:prstGeom>
        <a:ln xmlns:a="http://schemas.openxmlformats.org/drawingml/2006/main">
          <a:solidFill>
            <a:schemeClr val="bg1"/>
          </a:solidFill>
        </a:ln>
      </cdr:spPr>
      <cdr:txBody>
        <a:bodyPr xmlns:a="http://schemas.openxmlformats.org/drawingml/2006/main" vertOverflow="clip" wrap="square" rtlCol="0" anchor="ctr"/>
        <a:lstStyle xmlns:a="http://schemas.openxmlformats.org/drawingml/2006/main"/>
        <a:p xmlns:a="http://schemas.openxmlformats.org/drawingml/2006/main">
          <a:pPr algn="ctr"/>
          <a:r>
            <a:rPr lang="en-US" sz="1000" kern="1200" dirty="0">
              <a:solidFill>
                <a:schemeClr val="bg1"/>
              </a:solidFill>
              <a:latin typeface="Arial" panose="020B0604020202020204" pitchFamily="34" charset="0"/>
              <a:cs typeface="Arial" panose="020B0604020202020204" pitchFamily="34" charset="0"/>
            </a:rPr>
            <a:t>26 kt LCE of closures</a:t>
          </a:r>
          <a:endParaRPr lang="en-GB" sz="1000" kern="1200" dirty="0">
            <a:solidFill>
              <a:schemeClr val="bg1"/>
            </a:solidFill>
            <a:latin typeface="Arial" panose="020B0604020202020204" pitchFamily="34" charset="0"/>
            <a:cs typeface="Arial" panose="020B0604020202020204" pitchFamily="34" charset="0"/>
          </a:endParaRPr>
        </a:p>
      </cdr:txBody>
    </cdr:sp>
  </cdr:relSizeAnchor>
</c:userShapes>
</file>

<file path=ppt/drawings/drawing11.xml><?xml version="1.0" encoding="utf-8"?>
<c:userShapes xmlns:c="http://schemas.openxmlformats.org/drawingml/2006/chart">
  <cdr:relSizeAnchor xmlns:cdr="http://schemas.openxmlformats.org/drawingml/2006/chartDrawing">
    <cdr:from>
      <cdr:x>0.00941</cdr:x>
      <cdr:y>0.00139</cdr:y>
    </cdr:from>
    <cdr:to>
      <cdr:x>0.9896</cdr:x>
      <cdr:y>0.08655</cdr:y>
    </cdr:to>
    <cdr:sp macro="" textlink="">
      <cdr:nvSpPr>
        <cdr:cNvPr id="5" name="TextBox 1">
          <a:extLst xmlns:a="http://schemas.openxmlformats.org/drawingml/2006/main">
            <a:ext uri="{FF2B5EF4-FFF2-40B4-BE49-F238E27FC236}">
              <a16:creationId xmlns:a16="http://schemas.microsoft.com/office/drawing/2014/main" id="{4ED3803B-B926-17F4-2A22-49E35E77F880}"/>
            </a:ext>
          </a:extLst>
        </cdr:cNvPr>
        <cdr:cNvSpPr txBox="1"/>
      </cdr:nvSpPr>
      <cdr:spPr>
        <a:xfrm xmlns:a="http://schemas.openxmlformats.org/drawingml/2006/main">
          <a:off x="50783" y="4124"/>
          <a:ext cx="5292000" cy="252000"/>
        </a:xfrm>
        <a:prstGeom xmlns:a="http://schemas.openxmlformats.org/drawingml/2006/main" prst="rect">
          <a:avLst/>
        </a:prstGeom>
      </cdr:spPr>
      <cdr:txBody>
        <a:bodyPr xmlns:a="http://schemas.openxmlformats.org/drawingml/2006/main" wrap="square" tIns="36000" bIns="36000"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lvl="0" indent="0" defTabSz="914400" eaLnBrk="1" fontAlgn="auto" latinLnBrk="0" hangingPunct="1">
            <a:lnSpc>
              <a:spcPct val="100000"/>
            </a:lnSpc>
            <a:spcBef>
              <a:spcPts val="0"/>
            </a:spcBef>
            <a:spcAft>
              <a:spcPts val="0"/>
            </a:spcAft>
            <a:buClrTx/>
            <a:buSzTx/>
            <a:buFontTx/>
            <a:buNone/>
            <a:tabLst/>
            <a:defRPr/>
          </a:pPr>
          <a:r>
            <a:rPr lang="en-US" altLang="zh-CN" sz="1100" dirty="0">
              <a:solidFill>
                <a:schemeClr val="bg1"/>
              </a:solidFill>
              <a:effectLst/>
              <a:latin typeface="Arial" panose="020B0604020202020204" pitchFamily="34" charset="0"/>
              <a:ea typeface="Helvetica Neue" panose="02000503000000020004" pitchFamily="2" charset="0"/>
              <a:cs typeface="Arial" panose="020B0604020202020204" pitchFamily="34" charset="0"/>
            </a:rPr>
            <a:t>Chinese lithium mine production</a:t>
          </a:r>
          <a:r>
            <a:rPr lang="en-US" altLang="zh-CN" sz="1100" baseline="0" dirty="0">
              <a:solidFill>
                <a:schemeClr val="bg1"/>
              </a:solidFill>
              <a:effectLst/>
              <a:latin typeface="Arial" panose="020B0604020202020204" pitchFamily="34" charset="0"/>
              <a:ea typeface="Helvetica Neue" panose="02000503000000020004" pitchFamily="2" charset="0"/>
              <a:cs typeface="Arial" panose="020B0604020202020204" pitchFamily="34" charset="0"/>
            </a:rPr>
            <a:t> (LHS), kt LCE, and affected global share (RHS), %</a:t>
          </a:r>
          <a:endParaRPr lang="en-GB" dirty="0">
            <a:solidFill>
              <a:schemeClr val="bg1"/>
            </a:solidFill>
            <a:effectLst/>
            <a:latin typeface="Arial" panose="020B0604020202020204" pitchFamily="34" charset="0"/>
            <a:ea typeface="Helvetica Neue" panose="02000503000000020004" pitchFamily="2" charset="0"/>
            <a:cs typeface="Arial" panose="020B0604020202020204" pitchFamily="34" charset="0"/>
          </a:endParaRPr>
        </a:p>
      </cdr:txBody>
    </cdr:sp>
  </cdr:relSizeAnchor>
</c:userShapes>
</file>

<file path=ppt/drawings/drawing12.xml><?xml version="1.0" encoding="utf-8"?>
<c:userShapes xmlns:c="http://schemas.openxmlformats.org/drawingml/2006/chart">
  <cdr:relSizeAnchor xmlns:cdr="http://schemas.openxmlformats.org/drawingml/2006/chartDrawing">
    <cdr:from>
      <cdr:x>0</cdr:x>
      <cdr:y>0.01669</cdr:y>
    </cdr:from>
    <cdr:to>
      <cdr:x>1</cdr:x>
      <cdr:y>0.06568</cdr:y>
    </cdr:to>
    <cdr:sp macro="" textlink="">
      <cdr:nvSpPr>
        <cdr:cNvPr id="4" name="TextBox 1">
          <a:extLst xmlns:a="http://schemas.openxmlformats.org/drawingml/2006/main">
            <a:ext uri="{FF2B5EF4-FFF2-40B4-BE49-F238E27FC236}">
              <a16:creationId xmlns:a16="http://schemas.microsoft.com/office/drawing/2014/main" id="{D012E336-2E06-4812-995A-A368C9FBAB2C}"/>
            </a:ext>
          </a:extLst>
        </cdr:cNvPr>
        <cdr:cNvSpPr txBox="1"/>
      </cdr:nvSpPr>
      <cdr:spPr>
        <a:xfrm xmlns:a="http://schemas.openxmlformats.org/drawingml/2006/main">
          <a:off x="0" y="85202"/>
          <a:ext cx="9188013" cy="250093"/>
        </a:xfrm>
        <a:prstGeom xmlns:a="http://schemas.openxmlformats.org/drawingml/2006/main" prst="rect">
          <a:avLst/>
        </a:prstGeom>
        <a:noFill xmlns:a="http://schemas.openxmlformats.org/drawingml/2006/main"/>
      </cdr:spPr>
      <cdr:txBody>
        <a:bodyPr xmlns:a="http://schemas.openxmlformats.org/drawingml/2006/main" wrap="square" lIns="108000" tIns="54000" rIns="108000"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spcBef>
              <a:spcPts val="400"/>
            </a:spcBef>
          </a:pPr>
          <a:r>
            <a:rPr lang="en-GB" sz="1050" b="1" baseline="0" dirty="0">
              <a:solidFill>
                <a:schemeClr val="accent1"/>
              </a:solidFill>
              <a:effectLst/>
              <a:latin typeface="Arial" panose="020B0604020202020204" pitchFamily="34" charset="0"/>
              <a:ea typeface="+mn-ea"/>
              <a:cs typeface="Arial" panose="020B0604020202020204" pitchFamily="34" charset="0"/>
            </a:rPr>
            <a:t>Market balance </a:t>
          </a:r>
          <a:r>
            <a:rPr lang="en-GB" sz="1100" baseline="0" dirty="0">
              <a:solidFill>
                <a:schemeClr val="bg1"/>
              </a:solidFill>
              <a:effectLst/>
              <a:latin typeface="+mn-lt"/>
              <a:ea typeface="+mn-ea"/>
              <a:cs typeface="+mn-cs"/>
            </a:rPr>
            <a:t>as a share of demand, % (LHS), </a:t>
          </a:r>
          <a:r>
            <a:rPr lang="en-GB" sz="1050" baseline="0" dirty="0">
              <a:solidFill>
                <a:schemeClr val="bg1"/>
              </a:solidFill>
              <a:effectLst/>
              <a:latin typeface="Arial" panose="020B0604020202020204" pitchFamily="34" charset="0"/>
              <a:ea typeface="+mn-ea"/>
              <a:cs typeface="Arial" panose="020B0604020202020204" pitchFamily="34" charset="0"/>
            </a:rPr>
            <a:t>versus </a:t>
          </a:r>
          <a:r>
            <a:rPr lang="en-GB" sz="1050" b="1" baseline="0" dirty="0">
              <a:solidFill>
                <a:schemeClr val="accent4"/>
              </a:solidFill>
              <a:effectLst/>
              <a:latin typeface="Arial" panose="020B0604020202020204" pitchFamily="34" charset="0"/>
              <a:ea typeface="+mn-ea"/>
              <a:cs typeface="Arial" panose="020B0604020202020204" pitchFamily="34" charset="0"/>
            </a:rPr>
            <a:t>global inventories </a:t>
          </a:r>
          <a:r>
            <a:rPr lang="en-GB" sz="1050" baseline="0" dirty="0">
              <a:solidFill>
                <a:schemeClr val="bg1"/>
              </a:solidFill>
              <a:effectLst/>
              <a:latin typeface="Arial" panose="020B0604020202020204" pitchFamily="34" charset="0"/>
              <a:cs typeface="Arial" panose="020B0604020202020204" pitchFamily="34" charset="0"/>
            </a:rPr>
            <a:t>as days of consumption (RHS)</a:t>
          </a:r>
          <a:endParaRPr lang="en-GB" sz="1050" dirty="0">
            <a:solidFill>
              <a:schemeClr val="bg1"/>
            </a:solidFill>
            <a:effectLst/>
            <a:latin typeface="Arial" panose="020B0604020202020204" pitchFamily="34" charset="0"/>
            <a:cs typeface="Arial" panose="020B0604020202020204" pitchFamily="34" charset="0"/>
          </a:endParaRPr>
        </a:p>
        <a:p xmlns:a="http://schemas.openxmlformats.org/drawingml/2006/main">
          <a:pPr algn="l">
            <a:lnSpc>
              <a:spcPts val="1100"/>
            </a:lnSpc>
          </a:pPr>
          <a:endParaRPr lang="en-GB" sz="1050" dirty="0">
            <a:solidFill>
              <a:sysClr val="windowText" lastClr="000000"/>
            </a:solidFill>
            <a:latin typeface="Arial" panose="020B0604020202020204" pitchFamily="34" charset="0"/>
            <a:cs typeface="Arial" panose="020B0604020202020204" pitchFamily="3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00915</cdr:x>
      <cdr:y>0.00238</cdr:y>
    </cdr:from>
    <cdr:to>
      <cdr:x>1</cdr:x>
      <cdr:y>0.08793</cdr:y>
    </cdr:to>
    <cdr:sp macro="" textlink="">
      <cdr:nvSpPr>
        <cdr:cNvPr id="3" name="TextBox 1">
          <a:extLst xmlns:a="http://schemas.openxmlformats.org/drawingml/2006/main">
            <a:ext uri="{FF2B5EF4-FFF2-40B4-BE49-F238E27FC236}">
              <a16:creationId xmlns:a16="http://schemas.microsoft.com/office/drawing/2014/main" id="{C8FE39DC-31BC-A6E7-196D-BE22F3F1F347}"/>
            </a:ext>
          </a:extLst>
        </cdr:cNvPr>
        <cdr:cNvSpPr txBox="1"/>
      </cdr:nvSpPr>
      <cdr:spPr>
        <a:xfrm xmlns:a="http://schemas.openxmlformats.org/drawingml/2006/main">
          <a:off x="47760" y="10991"/>
          <a:ext cx="5171940" cy="395073"/>
        </a:xfrm>
        <a:prstGeom xmlns:a="http://schemas.openxmlformats.org/drawingml/2006/main" prst="rect">
          <a:avLst/>
        </a:prstGeom>
      </cdr:spPr>
      <cdr:txBody>
        <a:bodyPr xmlns:a="http://schemas.openxmlformats.org/drawingml/2006/main" wrap="square" tIns="36000" bIns="36000" rtlCol="0" anchor="t"/>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eaLnBrk="1" fontAlgn="auto" latinLnBrk="0" hangingPunct="1"/>
          <a:r>
            <a:rPr lang="en-GB" sz="1200" dirty="0">
              <a:solidFill>
                <a:schemeClr val="bg1"/>
              </a:solidFill>
              <a:effectLst/>
              <a:latin typeface="Arial" panose="020B0604020202020204" pitchFamily="34" charset="0"/>
              <a:ea typeface="+mn-ea"/>
              <a:cs typeface="Arial" panose="020B0604020202020204" pitchFamily="34" charset="0"/>
            </a:rPr>
            <a:t>CRU cobalt indexed price</a:t>
          </a:r>
          <a:r>
            <a:rPr lang="en-GB" sz="1200" baseline="0" dirty="0">
              <a:solidFill>
                <a:schemeClr val="bg1"/>
              </a:solidFill>
              <a:effectLst/>
              <a:latin typeface="Arial" panose="020B0604020202020204" pitchFamily="34" charset="0"/>
              <a:ea typeface="+mn-ea"/>
              <a:cs typeface="Arial" panose="020B0604020202020204" pitchFamily="34" charset="0"/>
            </a:rPr>
            <a:t> performance in 2025, 100 = 1st week of 2025</a:t>
          </a:r>
          <a:endParaRPr lang="en-GB" sz="1200" dirty="0">
            <a:solidFill>
              <a:schemeClr val="bg1"/>
            </a:solidFill>
            <a:effectLst/>
            <a:latin typeface="Arial" panose="020B0604020202020204" pitchFamily="34" charset="0"/>
            <a:ea typeface="+mn-ea"/>
            <a:cs typeface="Arial" panose="020B0604020202020204" pitchFamily="34" charset="0"/>
          </a:endParaRPr>
        </a:p>
      </cdr:txBody>
    </cdr:sp>
  </cdr:relSizeAnchor>
  <cdr:relSizeAnchor xmlns:cdr="http://schemas.openxmlformats.org/drawingml/2006/chartDrawing">
    <cdr:from>
      <cdr:x>0.34739</cdr:x>
      <cdr:y>0.31065</cdr:y>
    </cdr:from>
    <cdr:to>
      <cdr:x>0.51694</cdr:x>
      <cdr:y>0.4358</cdr:y>
    </cdr:to>
    <cdr:sp macro="" textlink="">
      <cdr:nvSpPr>
        <cdr:cNvPr id="2" name="Text Box 1"/>
        <cdr:cNvSpPr txBox="1"/>
      </cdr:nvSpPr>
      <cdr:spPr>
        <a:xfrm xmlns:a="http://schemas.openxmlformats.org/drawingml/2006/main">
          <a:off x="1813276" y="1434591"/>
          <a:ext cx="885009" cy="57797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b="1" kern="1200" dirty="0">
              <a:solidFill>
                <a:schemeClr val="tx2">
                  <a:lumMod val="40000"/>
                  <a:lumOff val="60000"/>
                </a:schemeClr>
              </a:solidFill>
              <a:latin typeface="Arial" panose="020B0604020202020204" pitchFamily="34" charset="0"/>
              <a:cs typeface="Arial" panose="020B0604020202020204" pitchFamily="34" charset="0"/>
            </a:rPr>
            <a:t>China Sulphate</a:t>
          </a:r>
        </a:p>
      </cdr:txBody>
    </cdr:sp>
  </cdr:relSizeAnchor>
  <cdr:relSizeAnchor xmlns:cdr="http://schemas.openxmlformats.org/drawingml/2006/chartDrawing">
    <cdr:from>
      <cdr:x>0.3509</cdr:x>
      <cdr:y>0.5636</cdr:y>
    </cdr:from>
    <cdr:to>
      <cdr:x>0.47415</cdr:x>
      <cdr:y>0.64831</cdr:y>
    </cdr:to>
    <cdr:sp macro="" textlink="">
      <cdr:nvSpPr>
        <cdr:cNvPr id="4" name="Text Box 1"/>
        <cdr:cNvSpPr txBox="1"/>
      </cdr:nvSpPr>
      <cdr:spPr>
        <a:xfrm xmlns:a="http://schemas.openxmlformats.org/drawingml/2006/main">
          <a:off x="1831613" y="2602711"/>
          <a:ext cx="643299" cy="39119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b="1" kern="1200" dirty="0">
              <a:solidFill>
                <a:schemeClr val="accent3"/>
              </a:solidFill>
              <a:latin typeface="Arial" panose="020B0604020202020204" pitchFamily="34" charset="0"/>
              <a:cs typeface="Arial" panose="020B0604020202020204" pitchFamily="34" charset="0"/>
            </a:rPr>
            <a:t>EU Metal</a:t>
          </a:r>
        </a:p>
      </cdr:txBody>
    </cdr:sp>
  </cdr:relSizeAnchor>
</c:userShapes>
</file>

<file path=ppt/drawings/drawing3.xml><?xml version="1.0" encoding="utf-8"?>
<c:userShapes xmlns:c="http://schemas.openxmlformats.org/drawingml/2006/chart">
  <cdr:relSizeAnchor xmlns:cdr="http://schemas.openxmlformats.org/drawingml/2006/chartDrawing">
    <cdr:from>
      <cdr:x>0.00941</cdr:x>
      <cdr:y>0.00293</cdr:y>
    </cdr:from>
    <cdr:to>
      <cdr:x>0.98705</cdr:x>
      <cdr:y>0.08838</cdr:y>
    </cdr:to>
    <cdr:sp macro="" textlink="">
      <cdr:nvSpPr>
        <cdr:cNvPr id="3" name="TextBox 1">
          <a:extLst xmlns:a="http://schemas.openxmlformats.org/drawingml/2006/main">
            <a:ext uri="{FF2B5EF4-FFF2-40B4-BE49-F238E27FC236}">
              <a16:creationId xmlns:a16="http://schemas.microsoft.com/office/drawing/2014/main" id="{5EE8D23B-2794-C709-8E35-74BE9DD4FD54}"/>
            </a:ext>
          </a:extLst>
        </cdr:cNvPr>
        <cdr:cNvSpPr txBox="1"/>
      </cdr:nvSpPr>
      <cdr:spPr>
        <a:xfrm xmlns:a="http://schemas.openxmlformats.org/drawingml/2006/main">
          <a:off x="50923" y="8683"/>
          <a:ext cx="5292000" cy="252861"/>
        </a:xfrm>
        <a:prstGeom xmlns:a="http://schemas.openxmlformats.org/drawingml/2006/main" prst="rect">
          <a:avLst/>
        </a:prstGeom>
      </cdr:spPr>
      <cdr:txBody>
        <a:bodyPr xmlns:a="http://schemas.openxmlformats.org/drawingml/2006/main" wrap="square" tIns="36000" bIns="36000"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lvl="0" indent="0" defTabSz="914400" eaLnBrk="1" fontAlgn="auto" latinLnBrk="0" hangingPunct="1">
            <a:lnSpc>
              <a:spcPct val="100000"/>
            </a:lnSpc>
            <a:spcBef>
              <a:spcPts val="0"/>
            </a:spcBef>
            <a:spcAft>
              <a:spcPts val="0"/>
            </a:spcAft>
            <a:buClrTx/>
            <a:buSzTx/>
            <a:buFontTx/>
            <a:buNone/>
            <a:tabLst/>
            <a:defRPr/>
          </a:pPr>
          <a:r>
            <a:rPr lang="en-GB" sz="1200" dirty="0">
              <a:solidFill>
                <a:schemeClr val="bg1"/>
              </a:solidFill>
              <a:effectLst/>
              <a:latin typeface="Arial" panose="020B0604020202020204" pitchFamily="34" charset="0"/>
              <a:ea typeface="Helvetica Neue" panose="02000503000000020004" pitchFamily="2" charset="0"/>
              <a:cs typeface="Arial" panose="020B0604020202020204" pitchFamily="34" charset="0"/>
            </a:rPr>
            <a:t>Global imports from the DRC</a:t>
          </a:r>
          <a:r>
            <a:rPr lang="en-GB" sz="1200" baseline="0" dirty="0">
              <a:solidFill>
                <a:schemeClr val="bg1"/>
              </a:solidFill>
              <a:effectLst/>
              <a:latin typeface="Arial" panose="020B0604020202020204" pitchFamily="34" charset="0"/>
              <a:ea typeface="Helvetica Neue" panose="02000503000000020004" pitchFamily="2" charset="0"/>
              <a:cs typeface="Arial" panose="020B0604020202020204" pitchFamily="34" charset="0"/>
            </a:rPr>
            <a:t>, kt Co</a:t>
          </a:r>
          <a:endParaRPr lang="en-GB" sz="1200" dirty="0">
            <a:solidFill>
              <a:schemeClr val="bg1"/>
            </a:solidFill>
            <a:effectLst/>
            <a:latin typeface="Arial" panose="020B0604020202020204" pitchFamily="34" charset="0"/>
            <a:ea typeface="Helvetica Neue" panose="02000503000000020004" pitchFamily="2" charset="0"/>
            <a:cs typeface="Arial" panose="020B0604020202020204" pitchFamily="34" charset="0"/>
          </a:endParaRPr>
        </a:p>
      </cdr:txBody>
    </cdr:sp>
  </cdr:relSizeAnchor>
  <cdr:relSizeAnchor xmlns:cdr="http://schemas.openxmlformats.org/drawingml/2006/chartDrawing">
    <cdr:from>
      <cdr:x>0.13374</cdr:x>
      <cdr:y>0.1488</cdr:y>
    </cdr:from>
    <cdr:to>
      <cdr:x>0.94145</cdr:x>
      <cdr:y>0.1488</cdr:y>
    </cdr:to>
    <cdr:cxnSp macro="">
      <cdr:nvCxnSpPr>
        <cdr:cNvPr id="4" name="Straight Connector 3">
          <a:extLst xmlns:a="http://schemas.openxmlformats.org/drawingml/2006/main">
            <a:ext uri="{FF2B5EF4-FFF2-40B4-BE49-F238E27FC236}">
              <a16:creationId xmlns:a16="http://schemas.microsoft.com/office/drawing/2014/main" id="{60361048-D1A5-95A4-A515-12128D9C006A}"/>
            </a:ext>
          </a:extLst>
        </cdr:cNvPr>
        <cdr:cNvCxnSpPr/>
      </cdr:nvCxnSpPr>
      <cdr:spPr>
        <a:xfrm xmlns:a="http://schemas.openxmlformats.org/drawingml/2006/main">
          <a:off x="1479550" y="701095"/>
          <a:ext cx="8935928" cy="0"/>
        </a:xfrm>
        <a:prstGeom xmlns:a="http://schemas.openxmlformats.org/drawingml/2006/main" prst="line">
          <a:avLst/>
        </a:prstGeom>
        <a:ln xmlns:a="http://schemas.openxmlformats.org/drawingml/2006/main">
          <a:solidFill>
            <a:srgbClr val="30A3FD"/>
          </a:solidFill>
          <a:prstDash val="lgDash"/>
        </a:ln>
      </cdr:spPr>
      <cdr:style>
        <a:lnRef xmlns:a="http://schemas.openxmlformats.org/drawingml/2006/main" idx="2">
          <a:schemeClr val="accent1"/>
        </a:lnRef>
        <a:fillRef xmlns:a="http://schemas.openxmlformats.org/drawingml/2006/main" idx="0">
          <a:schemeClr val="accent1"/>
        </a:fillRef>
        <a:effectRef xmlns:a="http://schemas.openxmlformats.org/drawingml/2006/main" idx="1">
          <a:schemeClr val="accent1"/>
        </a:effectRef>
        <a:fontRef xmlns:a="http://schemas.openxmlformats.org/drawingml/2006/main" idx="minor">
          <a:schemeClr val="tx1"/>
        </a:fontRef>
      </cdr:style>
    </cdr:cxnSp>
  </cdr:relSizeAnchor>
  <cdr:relSizeAnchor xmlns:cdr="http://schemas.openxmlformats.org/drawingml/2006/chartDrawing">
    <cdr:from>
      <cdr:x>0.85435</cdr:x>
      <cdr:y>0.06068</cdr:y>
    </cdr:from>
    <cdr:to>
      <cdr:x>0.96561</cdr:x>
      <cdr:y>0.15634</cdr:y>
    </cdr:to>
    <cdr:sp macro="" textlink="">
      <cdr:nvSpPr>
        <cdr:cNvPr id="7" name="TextBox 6">
          <a:extLst xmlns:a="http://schemas.openxmlformats.org/drawingml/2006/main">
            <a:ext uri="{FF2B5EF4-FFF2-40B4-BE49-F238E27FC236}">
              <a16:creationId xmlns:a16="http://schemas.microsoft.com/office/drawing/2014/main" id="{2CCBF5C2-8947-7E34-6F0B-833D026D523C}"/>
            </a:ext>
          </a:extLst>
        </cdr:cNvPr>
        <cdr:cNvSpPr txBox="1"/>
      </cdr:nvSpPr>
      <cdr:spPr>
        <a:xfrm xmlns:a="http://schemas.openxmlformats.org/drawingml/2006/main">
          <a:off x="9451975" y="285900"/>
          <a:ext cx="1230807" cy="45072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GB" sz="1100" b="1" kern="1200" dirty="0">
              <a:solidFill>
                <a:srgbClr val="30A3FD"/>
              </a:solidFill>
            </a:rPr>
            <a:t>Avg. 2024</a:t>
          </a:r>
        </a:p>
        <a:p xmlns:a="http://schemas.openxmlformats.org/drawingml/2006/main">
          <a:pPr algn="ctr"/>
          <a:r>
            <a:rPr lang="en-GB" sz="1100" b="1" kern="1200" baseline="0" dirty="0">
              <a:solidFill>
                <a:srgbClr val="30A3FD"/>
              </a:solidFill>
            </a:rPr>
            <a:t> exports</a:t>
          </a:r>
          <a:endParaRPr lang="en-GB" sz="1100" b="1" kern="1200" dirty="0">
            <a:solidFill>
              <a:srgbClr val="30A3FD"/>
            </a:solidFill>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00941</cdr:x>
      <cdr:y>0.0011</cdr:y>
    </cdr:from>
    <cdr:to>
      <cdr:x>0.98705</cdr:x>
      <cdr:y>0.08638</cdr:y>
    </cdr:to>
    <cdr:sp macro="" textlink="">
      <cdr:nvSpPr>
        <cdr:cNvPr id="3" name="TextBox 1">
          <a:extLst xmlns:a="http://schemas.openxmlformats.org/drawingml/2006/main">
            <a:ext uri="{FF2B5EF4-FFF2-40B4-BE49-F238E27FC236}">
              <a16:creationId xmlns:a16="http://schemas.microsoft.com/office/drawing/2014/main" id="{5EE8D23B-2794-C709-8E35-74BE9DD4FD54}"/>
            </a:ext>
          </a:extLst>
        </cdr:cNvPr>
        <cdr:cNvSpPr txBox="1"/>
      </cdr:nvSpPr>
      <cdr:spPr>
        <a:xfrm xmlns:a="http://schemas.openxmlformats.org/drawingml/2006/main">
          <a:off x="50924" y="3259"/>
          <a:ext cx="5292000" cy="252000"/>
        </a:xfrm>
        <a:prstGeom xmlns:a="http://schemas.openxmlformats.org/drawingml/2006/main" prst="rect">
          <a:avLst/>
        </a:prstGeom>
      </cdr:spPr>
      <cdr:txBody>
        <a:bodyPr xmlns:a="http://schemas.openxmlformats.org/drawingml/2006/main" wrap="square" tIns="36000" bIns="36000"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lvl="0" indent="0" defTabSz="914400" eaLnBrk="1" fontAlgn="auto" latinLnBrk="0" hangingPunct="1">
            <a:lnSpc>
              <a:spcPct val="100000"/>
            </a:lnSpc>
            <a:spcBef>
              <a:spcPts val="0"/>
            </a:spcBef>
            <a:spcAft>
              <a:spcPts val="0"/>
            </a:spcAft>
            <a:buClrTx/>
            <a:buSzTx/>
            <a:buFontTx/>
            <a:buNone/>
            <a:tabLst/>
            <a:defRPr/>
          </a:pPr>
          <a:r>
            <a:rPr lang="en-GB" sz="1200" dirty="0">
              <a:solidFill>
                <a:schemeClr val="bg1"/>
              </a:solidFill>
              <a:effectLst/>
              <a:latin typeface="Arial" panose="020B0604020202020204" pitchFamily="34" charset="0"/>
              <a:ea typeface="Helvetica Neue" panose="02000503000000020004" pitchFamily="2" charset="0"/>
              <a:cs typeface="Arial" panose="020B0604020202020204" pitchFamily="34" charset="0"/>
            </a:rPr>
            <a:t>China</a:t>
          </a:r>
          <a:r>
            <a:rPr lang="en-GB" sz="1200" baseline="0" dirty="0">
              <a:solidFill>
                <a:schemeClr val="bg1"/>
              </a:solidFill>
              <a:effectLst/>
              <a:latin typeface="Arial" panose="020B0604020202020204" pitchFamily="34" charset="0"/>
              <a:ea typeface="Helvetica Neue" panose="02000503000000020004" pitchFamily="2" charset="0"/>
              <a:cs typeface="Arial" panose="020B0604020202020204" pitchFamily="34" charset="0"/>
            </a:rPr>
            <a:t> Co intermediate stocks, </a:t>
          </a:r>
          <a:r>
            <a:rPr lang="en-GB" sz="1200" b="1" baseline="0" dirty="0">
              <a:solidFill>
                <a:schemeClr val="bg1"/>
              </a:solidFill>
              <a:effectLst/>
              <a:latin typeface="Arial" panose="020B0604020202020204" pitchFamily="34" charset="0"/>
              <a:ea typeface="Helvetica Neue" panose="02000503000000020004" pitchFamily="2" charset="0"/>
              <a:cs typeface="Arial" panose="020B0604020202020204" pitchFamily="34" charset="0"/>
            </a:rPr>
            <a:t>months of consumption </a:t>
          </a:r>
          <a:r>
            <a:rPr lang="en-GB" sz="1200" baseline="0" dirty="0">
              <a:solidFill>
                <a:schemeClr val="bg1"/>
              </a:solidFill>
              <a:effectLst/>
              <a:latin typeface="Arial" panose="020B0604020202020204" pitchFamily="34" charset="0"/>
              <a:ea typeface="Helvetica Neue" panose="02000503000000020004" pitchFamily="2" charset="0"/>
              <a:cs typeface="Arial" panose="020B0604020202020204" pitchFamily="34" charset="0"/>
            </a:rPr>
            <a:t>(LHS), and China Co sulphate price, </a:t>
          </a:r>
          <a:r>
            <a:rPr lang="en-GB" sz="1200" b="1" baseline="0" dirty="0">
              <a:solidFill>
                <a:schemeClr val="bg1"/>
              </a:solidFill>
              <a:effectLst/>
              <a:latin typeface="Arial" panose="020B0604020202020204" pitchFamily="34" charset="0"/>
              <a:ea typeface="Helvetica Neue" panose="02000503000000020004" pitchFamily="2" charset="0"/>
              <a:cs typeface="Arial" panose="020B0604020202020204" pitchFamily="34" charset="0"/>
            </a:rPr>
            <a:t>RMB/ kg (RHS)</a:t>
          </a:r>
          <a:endParaRPr lang="en-GB" sz="1200" b="1" dirty="0">
            <a:solidFill>
              <a:schemeClr val="bg1"/>
            </a:solidFill>
            <a:effectLst/>
            <a:latin typeface="Arial" panose="020B0604020202020204" pitchFamily="34" charset="0"/>
            <a:ea typeface="Helvetica Neue" panose="02000503000000020004" pitchFamily="2" charset="0"/>
            <a:cs typeface="Arial" panose="020B0604020202020204" pitchFamily="34" charset="0"/>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00941</cdr:x>
      <cdr:y>0.00293</cdr:y>
    </cdr:from>
    <cdr:to>
      <cdr:x>0.98705</cdr:x>
      <cdr:y>0.08838</cdr:y>
    </cdr:to>
    <cdr:sp macro="" textlink="">
      <cdr:nvSpPr>
        <cdr:cNvPr id="3" name="TextBox 1">
          <a:extLst xmlns:a="http://schemas.openxmlformats.org/drawingml/2006/main">
            <a:ext uri="{FF2B5EF4-FFF2-40B4-BE49-F238E27FC236}">
              <a16:creationId xmlns:a16="http://schemas.microsoft.com/office/drawing/2014/main" id="{5EE8D23B-2794-C709-8E35-74BE9DD4FD54}"/>
            </a:ext>
          </a:extLst>
        </cdr:cNvPr>
        <cdr:cNvSpPr txBox="1"/>
      </cdr:nvSpPr>
      <cdr:spPr>
        <a:xfrm xmlns:a="http://schemas.openxmlformats.org/drawingml/2006/main">
          <a:off x="50923" y="8683"/>
          <a:ext cx="5292000" cy="252861"/>
        </a:xfrm>
        <a:prstGeom xmlns:a="http://schemas.openxmlformats.org/drawingml/2006/main" prst="rect">
          <a:avLst/>
        </a:prstGeom>
      </cdr:spPr>
      <cdr:txBody>
        <a:bodyPr xmlns:a="http://schemas.openxmlformats.org/drawingml/2006/main" wrap="square" tIns="36000" bIns="36000"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lvl="0" indent="0" defTabSz="914400" eaLnBrk="1" fontAlgn="auto" latinLnBrk="0" hangingPunct="1">
            <a:lnSpc>
              <a:spcPct val="100000"/>
            </a:lnSpc>
            <a:spcBef>
              <a:spcPts val="0"/>
            </a:spcBef>
            <a:spcAft>
              <a:spcPts val="0"/>
            </a:spcAft>
            <a:buClrTx/>
            <a:buSzTx/>
            <a:buFontTx/>
            <a:buNone/>
            <a:tabLst/>
            <a:defRPr/>
          </a:pPr>
          <a:r>
            <a:rPr lang="en-GB" sz="1200" dirty="0">
              <a:solidFill>
                <a:schemeClr val="bg1"/>
              </a:solidFill>
              <a:effectLst/>
              <a:latin typeface="Arial" panose="020B0604020202020204" pitchFamily="34" charset="0"/>
              <a:ea typeface="Helvetica Neue" panose="02000503000000020004" pitchFamily="2" charset="0"/>
              <a:cs typeface="Arial" panose="020B0604020202020204" pitchFamily="34" charset="0"/>
            </a:rPr>
            <a:t>Cumulative Co intermediate</a:t>
          </a:r>
          <a:r>
            <a:rPr lang="en-GB" sz="1200" baseline="0" dirty="0">
              <a:solidFill>
                <a:schemeClr val="bg1"/>
              </a:solidFill>
              <a:effectLst/>
              <a:latin typeface="Arial" panose="020B0604020202020204" pitchFamily="34" charset="0"/>
              <a:ea typeface="Helvetica Neue" panose="02000503000000020004" pitchFamily="2" charset="0"/>
              <a:cs typeface="Arial" panose="020B0604020202020204" pitchFamily="34" charset="0"/>
            </a:rPr>
            <a:t> stock, kt Co</a:t>
          </a:r>
          <a:endParaRPr lang="en-GB" sz="1200" dirty="0">
            <a:solidFill>
              <a:schemeClr val="bg1"/>
            </a:solidFill>
            <a:effectLst/>
            <a:latin typeface="Arial" panose="020B0604020202020204" pitchFamily="34" charset="0"/>
            <a:ea typeface="Helvetica Neue" panose="02000503000000020004" pitchFamily="2" charset="0"/>
            <a:cs typeface="Arial" panose="020B0604020202020204" pitchFamily="34" charset="0"/>
          </a:endParaRPr>
        </a:p>
      </cdr:txBody>
    </cdr:sp>
  </cdr:relSizeAnchor>
</c:userShapes>
</file>

<file path=ppt/drawings/drawing6.xml><?xml version="1.0" encoding="utf-8"?>
<c:userShapes xmlns:c="http://schemas.openxmlformats.org/drawingml/2006/chart">
  <cdr:relSizeAnchor xmlns:cdr="http://schemas.openxmlformats.org/drawingml/2006/chartDrawing">
    <cdr:from>
      <cdr:x>0.00941</cdr:x>
      <cdr:y>0.00139</cdr:y>
    </cdr:from>
    <cdr:to>
      <cdr:x>0.9896</cdr:x>
      <cdr:y>0.08655</cdr:y>
    </cdr:to>
    <cdr:sp macro="" textlink="">
      <cdr:nvSpPr>
        <cdr:cNvPr id="5" name="TextBox 1">
          <a:extLst xmlns:a="http://schemas.openxmlformats.org/drawingml/2006/main">
            <a:ext uri="{FF2B5EF4-FFF2-40B4-BE49-F238E27FC236}">
              <a16:creationId xmlns:a16="http://schemas.microsoft.com/office/drawing/2014/main" id="{4ED3803B-B926-17F4-2A22-49E35E77F880}"/>
            </a:ext>
          </a:extLst>
        </cdr:cNvPr>
        <cdr:cNvSpPr txBox="1"/>
      </cdr:nvSpPr>
      <cdr:spPr>
        <a:xfrm xmlns:a="http://schemas.openxmlformats.org/drawingml/2006/main">
          <a:off x="50783" y="4124"/>
          <a:ext cx="5292000" cy="252000"/>
        </a:xfrm>
        <a:prstGeom xmlns:a="http://schemas.openxmlformats.org/drawingml/2006/main" prst="rect">
          <a:avLst/>
        </a:prstGeom>
      </cdr:spPr>
      <cdr:txBody>
        <a:bodyPr xmlns:a="http://schemas.openxmlformats.org/drawingml/2006/main" wrap="square" tIns="36000" bIns="36000"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eaLnBrk="1" fontAlgn="auto" latinLnBrk="0" hangingPunct="1"/>
          <a:r>
            <a:rPr lang="en-GB" sz="1200" dirty="0">
              <a:solidFill>
                <a:schemeClr val="bg1"/>
              </a:solidFill>
              <a:effectLst/>
            </a:rPr>
            <a:t>DRC production vs quotas</a:t>
          </a:r>
          <a:r>
            <a:rPr lang="en-GB" sz="1200" baseline="0" dirty="0">
              <a:solidFill>
                <a:schemeClr val="bg1"/>
              </a:solidFill>
              <a:effectLst/>
            </a:rPr>
            <a:t>, kt Co</a:t>
          </a:r>
          <a:endParaRPr lang="en-GB" sz="1200" dirty="0">
            <a:solidFill>
              <a:schemeClr val="bg1"/>
            </a:solidFill>
            <a:effectLst/>
          </a:endParaRPr>
        </a:p>
      </cdr:txBody>
    </cdr:sp>
  </cdr:relSizeAnchor>
</c:userShapes>
</file>

<file path=ppt/drawings/drawing7.xml><?xml version="1.0" encoding="utf-8"?>
<c:userShapes xmlns:c="http://schemas.openxmlformats.org/drawingml/2006/chart">
  <cdr:relSizeAnchor xmlns:cdr="http://schemas.openxmlformats.org/drawingml/2006/chartDrawing">
    <cdr:from>
      <cdr:x>0.00941</cdr:x>
      <cdr:y>0</cdr:y>
    </cdr:from>
    <cdr:to>
      <cdr:x>1</cdr:x>
      <cdr:y>0.08545</cdr:y>
    </cdr:to>
    <cdr:sp macro="" textlink="">
      <cdr:nvSpPr>
        <cdr:cNvPr id="3" name="TextBox 1">
          <a:extLst xmlns:a="http://schemas.openxmlformats.org/drawingml/2006/main">
            <a:ext uri="{FF2B5EF4-FFF2-40B4-BE49-F238E27FC236}">
              <a16:creationId xmlns:a16="http://schemas.microsoft.com/office/drawing/2014/main" id="{5EE8D23B-2794-C709-8E35-74BE9DD4FD54}"/>
            </a:ext>
          </a:extLst>
        </cdr:cNvPr>
        <cdr:cNvSpPr txBox="1"/>
      </cdr:nvSpPr>
      <cdr:spPr>
        <a:xfrm xmlns:a="http://schemas.openxmlformats.org/drawingml/2006/main">
          <a:off x="53014" y="0"/>
          <a:ext cx="5580831" cy="292909"/>
        </a:xfrm>
        <a:prstGeom xmlns:a="http://schemas.openxmlformats.org/drawingml/2006/main" prst="rect">
          <a:avLst/>
        </a:prstGeom>
      </cdr:spPr>
      <cdr:txBody>
        <a:bodyPr xmlns:a="http://schemas.openxmlformats.org/drawingml/2006/main" wrap="square" tIns="36000" bIns="36000"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lvl="0" indent="0" defTabSz="914400" eaLnBrk="1" fontAlgn="auto" latinLnBrk="0" hangingPunct="1">
            <a:lnSpc>
              <a:spcPct val="100000"/>
            </a:lnSpc>
            <a:spcBef>
              <a:spcPts val="0"/>
            </a:spcBef>
            <a:spcAft>
              <a:spcPts val="0"/>
            </a:spcAft>
            <a:buClrTx/>
            <a:buSzTx/>
            <a:buFontTx/>
            <a:buNone/>
            <a:tabLst/>
            <a:defRPr/>
          </a:pPr>
          <a:r>
            <a:rPr lang="en-GB" sz="1200" dirty="0">
              <a:solidFill>
                <a:schemeClr val="bg1"/>
              </a:solidFill>
              <a:effectLst/>
              <a:latin typeface="Arial" panose="020B0604020202020204" pitchFamily="34" charset="0"/>
              <a:ea typeface="Helvetica Neue" panose="02000503000000020004" pitchFamily="2" charset="0"/>
              <a:cs typeface="Arial" panose="020B0604020202020204" pitchFamily="34" charset="0"/>
            </a:rPr>
            <a:t>Co market balances, % of first-use demand </a:t>
          </a:r>
        </a:p>
      </cdr:txBody>
    </cdr:sp>
  </cdr:relSizeAnchor>
</c:userShapes>
</file>

<file path=ppt/drawings/drawing8.xml><?xml version="1.0" encoding="utf-8"?>
<c:userShapes xmlns:c="http://schemas.openxmlformats.org/drawingml/2006/chart">
  <cdr:relSizeAnchor xmlns:cdr="http://schemas.openxmlformats.org/drawingml/2006/chartDrawing">
    <cdr:from>
      <cdr:x>0.00915</cdr:x>
      <cdr:y>0.00238</cdr:y>
    </cdr:from>
    <cdr:to>
      <cdr:x>0.98935</cdr:x>
      <cdr:y>0.08793</cdr:y>
    </cdr:to>
    <cdr:sp macro="" textlink="">
      <cdr:nvSpPr>
        <cdr:cNvPr id="3" name="TextBox 1">
          <a:extLst xmlns:a="http://schemas.openxmlformats.org/drawingml/2006/main">
            <a:ext uri="{FF2B5EF4-FFF2-40B4-BE49-F238E27FC236}">
              <a16:creationId xmlns:a16="http://schemas.microsoft.com/office/drawing/2014/main" id="{C8FE39DC-31BC-A6E7-196D-BE22F3F1F347}"/>
            </a:ext>
          </a:extLst>
        </cdr:cNvPr>
        <cdr:cNvSpPr txBox="1"/>
      </cdr:nvSpPr>
      <cdr:spPr>
        <a:xfrm xmlns:a="http://schemas.openxmlformats.org/drawingml/2006/main">
          <a:off x="49400" y="7011"/>
          <a:ext cx="5292000" cy="252000"/>
        </a:xfrm>
        <a:prstGeom xmlns:a="http://schemas.openxmlformats.org/drawingml/2006/main" prst="rect">
          <a:avLst/>
        </a:prstGeom>
      </cdr:spPr>
      <cdr:txBody>
        <a:bodyPr xmlns:a="http://schemas.openxmlformats.org/drawingml/2006/main" wrap="square" tIns="36000" bIns="36000" rtlCol="0" anchor="t"/>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lvl="0" indent="0" defTabSz="914400" eaLnBrk="1" fontAlgn="auto" latinLnBrk="0" hangingPunct="1">
            <a:lnSpc>
              <a:spcPct val="100000"/>
            </a:lnSpc>
            <a:spcBef>
              <a:spcPts val="0"/>
            </a:spcBef>
            <a:spcAft>
              <a:spcPts val="0"/>
            </a:spcAft>
            <a:buClrTx/>
            <a:buSzTx/>
            <a:buFontTx/>
            <a:buNone/>
            <a:tabLst/>
            <a:defRPr/>
          </a:pPr>
          <a:r>
            <a:rPr lang="en-GB" sz="1200" dirty="0" err="1">
              <a:solidFill>
                <a:schemeClr val="bg1"/>
              </a:solidFill>
              <a:effectLst/>
              <a:latin typeface="Arial" panose="020B0604020202020204" pitchFamily="34" charset="0"/>
              <a:ea typeface="Helvetica Neue" panose="02000503000000020004" pitchFamily="2" charset="0"/>
              <a:cs typeface="Arial" panose="020B0604020202020204" pitchFamily="34" charset="0"/>
            </a:rPr>
            <a:t>pCAM</a:t>
          </a:r>
          <a:r>
            <a:rPr lang="en-GB" sz="1200" dirty="0">
              <a:solidFill>
                <a:schemeClr val="bg1"/>
              </a:solidFill>
              <a:effectLst/>
              <a:latin typeface="Arial" panose="020B0604020202020204" pitchFamily="34" charset="0"/>
              <a:ea typeface="Helvetica Neue" panose="02000503000000020004" pitchFamily="2" charset="0"/>
              <a:cs typeface="Arial" panose="020B0604020202020204" pitchFamily="34" charset="0"/>
            </a:rPr>
            <a:t> production</a:t>
          </a:r>
          <a:r>
            <a:rPr lang="en-GB" sz="1200" baseline="0" dirty="0">
              <a:solidFill>
                <a:schemeClr val="bg1"/>
              </a:solidFill>
              <a:effectLst/>
              <a:latin typeface="Arial" panose="020B0604020202020204" pitchFamily="34" charset="0"/>
              <a:ea typeface="Helvetica Neue" panose="02000503000000020004" pitchFamily="2" charset="0"/>
              <a:cs typeface="Arial" panose="020B0604020202020204" pitchFamily="34" charset="0"/>
            </a:rPr>
            <a:t>, indexed to January 2024</a:t>
          </a:r>
          <a:endParaRPr lang="en-GB" sz="1200" dirty="0">
            <a:solidFill>
              <a:schemeClr val="bg1"/>
            </a:solidFill>
            <a:effectLst/>
            <a:latin typeface="Arial" panose="020B0604020202020204" pitchFamily="34" charset="0"/>
            <a:ea typeface="Helvetica Neue" panose="02000503000000020004" pitchFamily="2" charset="0"/>
            <a:cs typeface="Arial" panose="020B0604020202020204" pitchFamily="34" charset="0"/>
          </a:endParaRPr>
        </a:p>
      </cdr:txBody>
    </cdr:sp>
  </cdr:relSizeAnchor>
  <cdr:relSizeAnchor xmlns:cdr="http://schemas.openxmlformats.org/drawingml/2006/chartDrawing">
    <cdr:from>
      <cdr:x>0.10201</cdr:x>
      <cdr:y>0.6693</cdr:y>
    </cdr:from>
    <cdr:to>
      <cdr:x>0.94288</cdr:x>
      <cdr:y>0.6693</cdr:y>
    </cdr:to>
    <cdr:cxnSp macro="">
      <cdr:nvCxnSpPr>
        <cdr:cNvPr id="4" name="Straight Connector 3">
          <a:extLst xmlns:a="http://schemas.openxmlformats.org/drawingml/2006/main">
            <a:ext uri="{FF2B5EF4-FFF2-40B4-BE49-F238E27FC236}">
              <a16:creationId xmlns:a16="http://schemas.microsoft.com/office/drawing/2014/main" id="{8FD59C62-4BB2-53A2-E7BE-62B4E8E0C5B7}"/>
            </a:ext>
          </a:extLst>
        </cdr:cNvPr>
        <cdr:cNvCxnSpPr/>
      </cdr:nvCxnSpPr>
      <cdr:spPr>
        <a:xfrm xmlns:a="http://schemas.openxmlformats.org/drawingml/2006/main">
          <a:off x="532447" y="3090862"/>
          <a:ext cx="4389120" cy="0"/>
        </a:xfrm>
        <a:prstGeom xmlns:a="http://schemas.openxmlformats.org/drawingml/2006/main" prst="line">
          <a:avLst/>
        </a:prstGeom>
        <a:ln xmlns:a="http://schemas.openxmlformats.org/drawingml/2006/main" w="28575">
          <a:solidFill>
            <a:schemeClr val="bg1"/>
          </a:solidFill>
          <a:prstDash val="lgDash"/>
        </a:ln>
      </cdr:spPr>
      <cdr:style>
        <a:lnRef xmlns:a="http://schemas.openxmlformats.org/drawingml/2006/main" idx="2">
          <a:schemeClr val="accent1"/>
        </a:lnRef>
        <a:fillRef xmlns:a="http://schemas.openxmlformats.org/drawingml/2006/main" idx="0">
          <a:schemeClr val="accent1"/>
        </a:fillRef>
        <a:effectRef xmlns:a="http://schemas.openxmlformats.org/drawingml/2006/main" idx="1">
          <a:schemeClr val="accent1"/>
        </a:effectRef>
        <a:fontRef xmlns:a="http://schemas.openxmlformats.org/drawingml/2006/main" idx="minor">
          <a:schemeClr val="tx1"/>
        </a:fontRef>
      </cdr:style>
    </cdr:cxnSp>
  </cdr:relSizeAnchor>
</c:userShapes>
</file>

<file path=ppt/drawings/drawing9.xml><?xml version="1.0" encoding="utf-8"?>
<c:userShapes xmlns:c="http://schemas.openxmlformats.org/drawingml/2006/chart">
  <cdr:relSizeAnchor xmlns:cdr="http://schemas.openxmlformats.org/drawingml/2006/chartDrawing">
    <cdr:from>
      <cdr:x>0.00915</cdr:x>
      <cdr:y>0.01528</cdr:y>
    </cdr:from>
    <cdr:to>
      <cdr:x>0.96479</cdr:x>
      <cdr:y>0.07545</cdr:y>
    </cdr:to>
    <cdr:sp macro="" textlink="">
      <cdr:nvSpPr>
        <cdr:cNvPr id="2" name="TextBox 1">
          <a:extLst xmlns:a="http://schemas.openxmlformats.org/drawingml/2006/main">
            <a:ext uri="{FF2B5EF4-FFF2-40B4-BE49-F238E27FC236}">
              <a16:creationId xmlns:a16="http://schemas.microsoft.com/office/drawing/2014/main" id="{C8FE39DC-31BC-A6E7-196D-BE22F3F1F347}"/>
            </a:ext>
          </a:extLst>
        </cdr:cNvPr>
        <cdr:cNvSpPr txBox="1"/>
      </cdr:nvSpPr>
      <cdr:spPr>
        <a:xfrm xmlns:a="http://schemas.openxmlformats.org/drawingml/2006/main">
          <a:off x="50800" y="50800"/>
          <a:ext cx="5305425" cy="20002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eaLnBrk="1" fontAlgn="auto" latinLnBrk="0" hangingPunct="1"/>
          <a:r>
            <a:rPr lang="en-GB" sz="1100" dirty="0">
              <a:solidFill>
                <a:schemeClr val="bg1"/>
              </a:solidFill>
              <a:effectLst/>
              <a:latin typeface="+mn-lt"/>
              <a:ea typeface="+mn-ea"/>
              <a:cs typeface="+mn-cs"/>
            </a:rPr>
            <a:t>GFE forward-month</a:t>
          </a:r>
          <a:r>
            <a:rPr lang="en-GB" sz="1100" baseline="0" dirty="0">
              <a:solidFill>
                <a:schemeClr val="bg1"/>
              </a:solidFill>
              <a:effectLst/>
            </a:rPr>
            <a:t> settlement price, RMB k /t (LHS) and daily turnover, RMB bn (RHS)</a:t>
          </a:r>
          <a:endParaRPr lang="en-GB" dirty="0">
            <a:solidFill>
              <a:schemeClr val="bg1"/>
            </a:solidFill>
            <a:effectLst/>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BDE3153-C93A-4145-8D86-D866206F94AF}"/>
              </a:ext>
            </a:extLst>
          </p:cNvPr>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5268B38A-22D7-4C51-80F2-590BCFD9D8E2}"/>
              </a:ext>
            </a:extLst>
          </p:cNvPr>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0C50132D-872D-418C-92DE-4D49519CB0AB}" type="datetimeFigureOut">
              <a:rPr lang="en-GB" smtClean="0"/>
              <a:t>08/10/2025</a:t>
            </a:fld>
            <a:endParaRPr lang="en-GB"/>
          </a:p>
        </p:txBody>
      </p:sp>
      <p:sp>
        <p:nvSpPr>
          <p:cNvPr id="4" name="Footer Placeholder 3">
            <a:extLst>
              <a:ext uri="{FF2B5EF4-FFF2-40B4-BE49-F238E27FC236}">
                <a16:creationId xmlns:a16="http://schemas.microsoft.com/office/drawing/2014/main" id="{E6974088-0D79-4CB5-86D9-A60686CE7040}"/>
              </a:ext>
            </a:extLst>
          </p:cNvPr>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616FACC2-8CF9-40A0-BDD3-FFA85EFD63F9}"/>
              </a:ext>
            </a:extLst>
          </p:cNvPr>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05607BC6-71D5-4435-BCEB-7ABF309F2BA7}" type="slidenum">
              <a:rPr lang="en-GB" smtClean="0"/>
              <a:t>‹#›</a:t>
            </a:fld>
            <a:endParaRPr lang="en-GB"/>
          </a:p>
        </p:txBody>
      </p:sp>
    </p:spTree>
    <p:extLst>
      <p:ext uri="{BB962C8B-B14F-4D97-AF65-F5344CB8AC3E}">
        <p14:creationId xmlns:p14="http://schemas.microsoft.com/office/powerpoint/2010/main" val="183484423"/>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6"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C4EF400B-0C1C-458B-8D8B-A828FF24F62D}" type="datetimeFigureOut">
              <a:rPr lang="en-GB" smtClean="0"/>
              <a:pPr/>
              <a:t>08/10/2025</a:t>
            </a:fld>
            <a:endParaRPr lang="en-GB"/>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40B9839E-8D91-4A4D-A02D-A17FF2029340}" type="slidenum">
              <a:rPr lang="en-GB" smtClean="0"/>
              <a:pPr/>
              <a:t>‹#›</a:t>
            </a:fld>
            <a:endParaRPr lang="en-GB"/>
          </a:p>
        </p:txBody>
      </p:sp>
    </p:spTree>
    <p:extLst>
      <p:ext uri="{BB962C8B-B14F-4D97-AF65-F5344CB8AC3E}">
        <p14:creationId xmlns:p14="http://schemas.microsoft.com/office/powerpoint/2010/main" val="3516504530"/>
      </p:ext>
    </p:extLst>
  </p:cSld>
  <p:clrMap bg1="lt1" tx1="dk1" bg2="lt2" tx2="dk2" accent1="accent1" accent2="accent2" accent3="accent3" accent4="accent4" accent5="accent5" accent6="accent6" hlink="hlink" folHlink="folHlink"/>
  <p:notesStyle>
    <a:lvl1pPr marL="0" algn="l" defTabSz="834179" rtl="0" eaLnBrk="1" latinLnBrk="0" hangingPunct="1">
      <a:defRPr sz="1200" kern="1200">
        <a:solidFill>
          <a:schemeClr val="tx1"/>
        </a:solidFill>
        <a:latin typeface="+mn-lt"/>
        <a:ea typeface="+mn-ea"/>
        <a:cs typeface="+mn-cs"/>
      </a:defRPr>
    </a:lvl1pPr>
    <a:lvl2pPr marL="417069" algn="l" defTabSz="834179" rtl="0" eaLnBrk="1" latinLnBrk="0" hangingPunct="1">
      <a:defRPr sz="1200" kern="1200">
        <a:solidFill>
          <a:schemeClr val="tx1"/>
        </a:solidFill>
        <a:latin typeface="+mn-lt"/>
        <a:ea typeface="+mn-ea"/>
        <a:cs typeface="+mn-cs"/>
      </a:defRPr>
    </a:lvl2pPr>
    <a:lvl3pPr marL="834179" algn="l" defTabSz="834179" rtl="0" eaLnBrk="1" latinLnBrk="0" hangingPunct="1">
      <a:defRPr sz="1200" kern="1200">
        <a:solidFill>
          <a:schemeClr val="tx1"/>
        </a:solidFill>
        <a:latin typeface="+mn-lt"/>
        <a:ea typeface="+mn-ea"/>
        <a:cs typeface="+mn-cs"/>
      </a:defRPr>
    </a:lvl3pPr>
    <a:lvl4pPr marL="1251269" algn="l" defTabSz="834179" rtl="0" eaLnBrk="1" latinLnBrk="0" hangingPunct="1">
      <a:defRPr sz="1200" kern="1200">
        <a:solidFill>
          <a:schemeClr val="tx1"/>
        </a:solidFill>
        <a:latin typeface="+mn-lt"/>
        <a:ea typeface="+mn-ea"/>
        <a:cs typeface="+mn-cs"/>
      </a:defRPr>
    </a:lvl4pPr>
    <a:lvl5pPr marL="1668363" algn="l" defTabSz="834179" rtl="0" eaLnBrk="1" latinLnBrk="0" hangingPunct="1">
      <a:defRPr sz="1200" kern="1200">
        <a:solidFill>
          <a:schemeClr val="tx1"/>
        </a:solidFill>
        <a:latin typeface="+mn-lt"/>
        <a:ea typeface="+mn-ea"/>
        <a:cs typeface="+mn-cs"/>
      </a:defRPr>
    </a:lvl5pPr>
    <a:lvl6pPr marL="2085458" algn="l" defTabSz="834179" rtl="0" eaLnBrk="1" latinLnBrk="0" hangingPunct="1">
      <a:defRPr sz="1200" kern="1200">
        <a:solidFill>
          <a:schemeClr val="tx1"/>
        </a:solidFill>
        <a:latin typeface="+mn-lt"/>
        <a:ea typeface="+mn-ea"/>
        <a:cs typeface="+mn-cs"/>
      </a:defRPr>
    </a:lvl6pPr>
    <a:lvl7pPr marL="2502548" algn="l" defTabSz="834179" rtl="0" eaLnBrk="1" latinLnBrk="0" hangingPunct="1">
      <a:defRPr sz="1200" kern="1200">
        <a:solidFill>
          <a:schemeClr val="tx1"/>
        </a:solidFill>
        <a:latin typeface="+mn-lt"/>
        <a:ea typeface="+mn-ea"/>
        <a:cs typeface="+mn-cs"/>
      </a:defRPr>
    </a:lvl7pPr>
    <a:lvl8pPr marL="2919644" algn="l" defTabSz="834179" rtl="0" eaLnBrk="1" latinLnBrk="0" hangingPunct="1">
      <a:defRPr sz="1200" kern="1200">
        <a:solidFill>
          <a:schemeClr val="tx1"/>
        </a:solidFill>
        <a:latin typeface="+mn-lt"/>
        <a:ea typeface="+mn-ea"/>
        <a:cs typeface="+mn-cs"/>
      </a:defRPr>
    </a:lvl8pPr>
    <a:lvl9pPr marL="3336734" algn="l" defTabSz="83417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090A97-6A15-1B4C-B697-F3B7161AB014}" type="slidenum">
              <a:rPr kumimoji="0" lang="en-GB" sz="13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3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100820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090A97-6A15-1B4C-B697-F3B7161AB014}"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514757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5F25E9-EA80-DD11-F3D1-15E25D74EA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22D7E9-3953-8956-DB00-C2C8D5AA07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4E4D383-00E0-CAB1-8D2A-B32E449A088A}"/>
              </a:ext>
            </a:extLst>
          </p:cNvPr>
          <p:cNvSpPr>
            <a:spLocks noGrp="1"/>
          </p:cNvSpPr>
          <p:nvPr>
            <p:ph type="body" idx="1"/>
          </p:nvPr>
        </p:nvSpPr>
        <p:spPr/>
        <p:txBody>
          <a:bodyPr/>
          <a:lstStyle/>
          <a:p>
            <a:pPr>
              <a:lnSpc>
                <a:spcPct val="115000"/>
              </a:lnSpc>
              <a:spcAft>
                <a:spcPts val="800"/>
              </a:spcAft>
              <a:buNone/>
            </a:pPr>
            <a:r>
              <a:rPr lang="en-GB" sz="1800" kern="100">
                <a:effectLst/>
                <a:latin typeface="Arial" panose="020B0604020202020204" pitchFamily="34" charset="0"/>
                <a:ea typeface="DengXian" panose="02010600030101010101" pitchFamily="2" charset="-122"/>
                <a:cs typeface="Times New Roman" panose="02020603050405020304" pitchFamily="18" charset="0"/>
              </a:rPr>
              <a:t>Finally, let’s move on to the inventories situation in China now.</a:t>
            </a:r>
            <a:endParaRPr lang="en-GB" sz="1800" kern="100">
              <a:effectLst/>
              <a:latin typeface="Aptos" panose="020B0004020202020204" pitchFamily="34" charset="0"/>
              <a:ea typeface="DengXian" panose="02010600030101010101" pitchFamily="2" charset="-122"/>
              <a:cs typeface="Times New Roman" panose="02020603050405020304" pitchFamily="18" charset="0"/>
            </a:endParaRPr>
          </a:p>
          <a:p>
            <a:pPr>
              <a:lnSpc>
                <a:spcPct val="115000"/>
              </a:lnSpc>
              <a:spcAft>
                <a:spcPts val="800"/>
              </a:spcAft>
              <a:buNone/>
            </a:pPr>
            <a:r>
              <a:rPr lang="en-US" sz="1800" kern="100">
                <a:effectLst/>
                <a:latin typeface="Arial" panose="020B0604020202020204" pitchFamily="34" charset="0"/>
                <a:ea typeface="DengXian" panose="02010600030101010101" pitchFamily="2" charset="-122"/>
                <a:cs typeface="Times New Roman" panose="02020603050405020304" pitchFamily="18" charset="0"/>
              </a:rPr>
              <a:t>In terms of feedstock supply, China almost 100% relies on import from DRC and Indonesia. Which allows us to understand the supply relatively easy. </a:t>
            </a:r>
            <a:endParaRPr lang="en-GB" sz="1800" kern="100">
              <a:effectLst/>
              <a:latin typeface="Aptos" panose="020B0004020202020204" pitchFamily="34" charset="0"/>
              <a:ea typeface="DengXian" panose="02010600030101010101" pitchFamily="2" charset="-122"/>
              <a:cs typeface="Times New Roman" panose="02020603050405020304" pitchFamily="18" charset="0"/>
            </a:endParaRPr>
          </a:p>
          <a:p>
            <a:pPr>
              <a:lnSpc>
                <a:spcPct val="115000"/>
              </a:lnSpc>
              <a:spcAft>
                <a:spcPts val="800"/>
              </a:spcAft>
              <a:buNone/>
            </a:pPr>
            <a:r>
              <a:rPr lang="en-US" sz="1800" kern="100">
                <a:effectLst/>
                <a:latin typeface="Arial" panose="020B0604020202020204" pitchFamily="34" charset="0"/>
                <a:ea typeface="DengXian" panose="02010600030101010101" pitchFamily="2" charset="-122"/>
                <a:cs typeface="Times New Roman" panose="02020603050405020304" pitchFamily="18" charset="0"/>
              </a:rPr>
              <a:t>The average level of import is 19 kt Co per month since last year, with 15 kt in Co hydroxide and 4 kt in MHP from Indonesia. While the average consumption from domestic refining is 15 kt per month. Therefore, we estimate 600 kt Co intermediates inventories built in China until the ban was implemented. This figure increased to 640 kt in March, as the imports from DRC maintained at 15 k after the ban. Moreover, If we take the inventories built before 2024, the total inventories in China can be over 700 kt, which do not include the products inventories in chemicals, metals or downstream inventories in p/CAM or cathode.</a:t>
            </a:r>
            <a:endParaRPr lang="en-GB" sz="1800" kern="100">
              <a:effectLst/>
              <a:latin typeface="Aptos" panose="020B0004020202020204" pitchFamily="34" charset="0"/>
              <a:ea typeface="DengXian" panose="02010600030101010101" pitchFamily="2" charset="-122"/>
              <a:cs typeface="Times New Roman" panose="02020603050405020304" pitchFamily="18" charset="0"/>
            </a:endParaRPr>
          </a:p>
          <a:p>
            <a:pPr>
              <a:lnSpc>
                <a:spcPct val="115000"/>
              </a:lnSpc>
              <a:spcAft>
                <a:spcPts val="800"/>
              </a:spcAft>
            </a:pPr>
            <a:r>
              <a:rPr lang="en-US" sz="1800" kern="100">
                <a:effectLst/>
                <a:latin typeface="Arial" panose="020B0604020202020204" pitchFamily="34" charset="0"/>
                <a:ea typeface="DengXian" panose="02010600030101010101" pitchFamily="2" charset="-122"/>
                <a:cs typeface="Times New Roman" panose="02020603050405020304" pitchFamily="18" charset="0"/>
              </a:rPr>
              <a:t>Next I will handle back to Thomas to talk about our modelled China inventories scenarios and market balance.</a:t>
            </a:r>
            <a:endParaRPr lang="en-US"/>
          </a:p>
          <a:p>
            <a:endParaRPr lang="en-GB"/>
          </a:p>
        </p:txBody>
      </p:sp>
      <p:sp>
        <p:nvSpPr>
          <p:cNvPr id="4" name="Slide Number Placeholder 3">
            <a:extLst>
              <a:ext uri="{FF2B5EF4-FFF2-40B4-BE49-F238E27FC236}">
                <a16:creationId xmlns:a16="http://schemas.microsoft.com/office/drawing/2014/main" id="{976CCD18-1ECE-0281-3989-E6C5B8C35283}"/>
              </a:ext>
            </a:extLst>
          </p:cNvPr>
          <p:cNvSpPr>
            <a:spLocks noGrp="1"/>
          </p:cNvSpPr>
          <p:nvPr>
            <p:ph type="sldNum" sz="quarter" idx="5"/>
          </p:nvPr>
        </p:nvSpPr>
        <p:spPr/>
        <p:txBody>
          <a:bodyPr/>
          <a:lstStyle/>
          <a:p>
            <a:fld id="{35090A97-6A15-1B4C-B697-F3B7161AB014}" type="slidenum">
              <a:rPr lang="en-GB" smtClean="0"/>
              <a:t>5</a:t>
            </a:fld>
            <a:endParaRPr lang="en-GB"/>
          </a:p>
        </p:txBody>
      </p:sp>
    </p:spTree>
    <p:extLst>
      <p:ext uri="{BB962C8B-B14F-4D97-AF65-F5344CB8AC3E}">
        <p14:creationId xmlns:p14="http://schemas.microsoft.com/office/powerpoint/2010/main" val="1870077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9E6DBD-FFF4-AE2A-5507-1DE6F8CE96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5DC41F-871A-97CB-F55E-94DF78CC352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132C58C-68F5-06DD-612F-A3BEAED63150}"/>
              </a:ext>
            </a:extLst>
          </p:cNvPr>
          <p:cNvSpPr>
            <a:spLocks noGrp="1"/>
          </p:cNvSpPr>
          <p:nvPr>
            <p:ph type="body" idx="1"/>
          </p:nvPr>
        </p:nvSpPr>
        <p:spPr/>
        <p:txBody>
          <a:bodyPr/>
          <a:lstStyle/>
          <a:p>
            <a:pPr>
              <a:lnSpc>
                <a:spcPct val="115000"/>
              </a:lnSpc>
              <a:spcAft>
                <a:spcPts val="800"/>
              </a:spcAft>
              <a:buNone/>
            </a:pPr>
            <a:r>
              <a:rPr lang="en-GB" sz="1800" kern="100">
                <a:effectLst/>
                <a:latin typeface="Arial" panose="020B0604020202020204" pitchFamily="34" charset="0"/>
                <a:ea typeface="DengXian" panose="02010600030101010101" pitchFamily="2" charset="-122"/>
                <a:cs typeface="Times New Roman" panose="02020603050405020304" pitchFamily="18" charset="0"/>
              </a:rPr>
              <a:t>Moving to the ban’s impact on China refined market, or say demand for Co feedstock.</a:t>
            </a:r>
            <a:endParaRPr lang="en-GB" sz="1800" kern="100">
              <a:effectLst/>
              <a:latin typeface="Aptos" panose="020B0004020202020204" pitchFamily="34" charset="0"/>
              <a:ea typeface="DengXian" panose="02010600030101010101" pitchFamily="2" charset="-122"/>
              <a:cs typeface="Times New Roman" panose="02020603050405020304" pitchFamily="18" charset="0"/>
            </a:endParaRPr>
          </a:p>
          <a:p>
            <a:pPr>
              <a:lnSpc>
                <a:spcPct val="115000"/>
              </a:lnSpc>
              <a:spcAft>
                <a:spcPts val="800"/>
              </a:spcAft>
              <a:buNone/>
            </a:pPr>
            <a:r>
              <a:rPr lang="en-US" sz="1800" kern="100">
                <a:effectLst/>
                <a:latin typeface="Arial" panose="020B0604020202020204" pitchFamily="34" charset="0"/>
                <a:ea typeface="DengXian" panose="02010600030101010101" pitchFamily="2" charset="-122"/>
                <a:cs typeface="Times New Roman" panose="02020603050405020304" pitchFamily="18" charset="0"/>
              </a:rPr>
              <a:t>China refined output increased 12% YoY in Q1, and 30% MoM in March after the ban was implemented. Although total refined output has seen strong growth, chemical and metal refiners react differently to the ban.</a:t>
            </a:r>
            <a:endParaRPr lang="en-GB" sz="1800" kern="100">
              <a:effectLst/>
              <a:latin typeface="Aptos" panose="020B0004020202020204" pitchFamily="34" charset="0"/>
              <a:ea typeface="DengXian" panose="02010600030101010101" pitchFamily="2" charset="-122"/>
              <a:cs typeface="Times New Roman" panose="02020603050405020304" pitchFamily="18" charset="0"/>
            </a:endParaRPr>
          </a:p>
          <a:p>
            <a:pPr>
              <a:lnSpc>
                <a:spcPct val="115000"/>
              </a:lnSpc>
              <a:spcAft>
                <a:spcPts val="800"/>
              </a:spcAft>
              <a:buNone/>
            </a:pPr>
            <a:r>
              <a:rPr lang="en-US" sz="1800" kern="100">
                <a:effectLst/>
                <a:latin typeface="Arial" panose="020B0604020202020204" pitchFamily="34" charset="0"/>
                <a:ea typeface="DengXian" panose="02010600030101010101" pitchFamily="2" charset="-122"/>
                <a:cs typeface="Times New Roman" panose="02020603050405020304" pitchFamily="18" charset="0"/>
              </a:rPr>
              <a:t>As you can see from the middle chart, the utilization rate for both </a:t>
            </a:r>
            <a:r>
              <a:rPr lang="en-US" sz="1800" kern="100" err="1">
                <a:effectLst/>
                <a:latin typeface="Arial" panose="020B0604020202020204" pitchFamily="34" charset="0"/>
                <a:ea typeface="DengXian" panose="02010600030101010101" pitchFamily="2" charset="-122"/>
                <a:cs typeface="Times New Roman" panose="02020603050405020304" pitchFamily="18" charset="0"/>
              </a:rPr>
              <a:t>CoS</a:t>
            </a:r>
            <a:r>
              <a:rPr lang="en-US" sz="1800" kern="100">
                <a:effectLst/>
                <a:latin typeface="Arial" panose="020B0604020202020204" pitchFamily="34" charset="0"/>
                <a:ea typeface="DengXian" panose="02010600030101010101" pitchFamily="2" charset="-122"/>
                <a:cs typeface="Times New Roman" panose="02020603050405020304" pitchFamily="18" charset="0"/>
              </a:rPr>
              <a:t> and tetroxide rebounded strongly in March. Besides the production recovery after CNY, the profitability recovery led by the price surge is an essential factor leading to chemical output growth.</a:t>
            </a:r>
            <a:endParaRPr lang="en-GB" sz="1800" kern="100">
              <a:effectLst/>
              <a:latin typeface="Aptos" panose="020B0004020202020204" pitchFamily="34" charset="0"/>
              <a:ea typeface="DengXian" panose="02010600030101010101" pitchFamily="2" charset="-122"/>
              <a:cs typeface="Times New Roman" panose="02020603050405020304" pitchFamily="18" charset="0"/>
            </a:endParaRPr>
          </a:p>
          <a:p>
            <a:pPr>
              <a:lnSpc>
                <a:spcPct val="115000"/>
              </a:lnSpc>
              <a:spcAft>
                <a:spcPts val="800"/>
              </a:spcAft>
            </a:pPr>
            <a:r>
              <a:rPr lang="en-US" sz="1800" kern="100">
                <a:effectLst/>
                <a:latin typeface="Arial" panose="020B0604020202020204" pitchFamily="34" charset="0"/>
                <a:ea typeface="DengXian" panose="02010600030101010101" pitchFamily="2" charset="-122"/>
                <a:cs typeface="Times New Roman" panose="02020603050405020304" pitchFamily="18" charset="0"/>
              </a:rPr>
              <a:t>In contrast, the metal refiner’s utilization rate has decreased by over 10%. The lower integration level of metal than chemicals value chain is the major reason leading to this difference. As the China Co metal market was relatively tight last year, the high margin of metal production has incentivized some refiners to build standalone metal capacity with 3</a:t>
            </a:r>
            <a:r>
              <a:rPr lang="en-US" sz="1800" kern="100" baseline="30000">
                <a:effectLst/>
                <a:latin typeface="Arial" panose="020B0604020202020204" pitchFamily="34" charset="0"/>
                <a:ea typeface="DengXian" panose="02010600030101010101" pitchFamily="2" charset="-122"/>
                <a:cs typeface="Times New Roman" panose="02020603050405020304" pitchFamily="18" charset="0"/>
              </a:rPr>
              <a:t>rd</a:t>
            </a:r>
            <a:r>
              <a:rPr lang="en-US" sz="1800" kern="100">
                <a:effectLst/>
                <a:latin typeface="Arial" panose="020B0604020202020204" pitchFamily="34" charset="0"/>
                <a:ea typeface="DengXian" panose="02010600030101010101" pitchFamily="2" charset="-122"/>
                <a:cs typeface="Times New Roman" panose="02020603050405020304" pitchFamily="18" charset="0"/>
              </a:rPr>
              <a:t> party feedstock. The surging Co hydroxide price brought by the ban has led to a sharp decrease in profitability for these standalone refiners. In addition, lack of feedstock availability has left them no choice but to downgrade or even suspend production.</a:t>
            </a:r>
          </a:p>
          <a:p>
            <a:pPr>
              <a:lnSpc>
                <a:spcPct val="115000"/>
              </a:lnSpc>
              <a:spcAft>
                <a:spcPts val="800"/>
              </a:spcAft>
            </a:pPr>
            <a:r>
              <a:rPr lang="en-US" sz="1800" kern="100">
                <a:effectLst/>
                <a:latin typeface="Arial" panose="020B0604020202020204" pitchFamily="34" charset="0"/>
                <a:ea typeface="DengXian" panose="02010600030101010101" pitchFamily="2" charset="-122"/>
                <a:cs typeface="Times New Roman" panose="02020603050405020304" pitchFamily="18" charset="0"/>
              </a:rPr>
              <a:t>But in terms of the chemical refiners, they have been protected by integration. Besides the upstream investment made by refiners themselves, like </a:t>
            </a:r>
            <a:r>
              <a:rPr lang="en-US" sz="1800" kern="100" err="1">
                <a:effectLst/>
                <a:latin typeface="Arial" panose="020B0604020202020204" pitchFamily="34" charset="0"/>
                <a:ea typeface="DengXian" panose="02010600030101010101" pitchFamily="2" charset="-122"/>
                <a:cs typeface="Times New Roman" panose="02020603050405020304" pitchFamily="18" charset="0"/>
              </a:rPr>
              <a:t>pCAM</a:t>
            </a:r>
            <a:r>
              <a:rPr lang="en-US" sz="1800" kern="100">
                <a:effectLst/>
                <a:latin typeface="Arial" panose="020B0604020202020204" pitchFamily="34" charset="0"/>
                <a:ea typeface="DengXian" panose="02010600030101010101" pitchFamily="2" charset="-122"/>
                <a:cs typeface="Times New Roman" panose="02020603050405020304" pitchFamily="18" charset="0"/>
              </a:rPr>
              <a:t> producers’ MHP in Indonesia. The close relationship between CMOC and CATL has further bring up the integration level of the NMC value chain. As we can see from the right chart, CMOC is now accounting for 40% of the mined Co supply, while CATL accounts for over 50% of the NMC battery production, or in other words NMC demand for Cobalt. And as you may know, CATL is one of the largest shareholders of CMOC. Under this close relationship between the most upstream supplier and downstream consumer, the mid-stream players like refiners, precursor and CAM producers, they</a:t>
            </a:r>
            <a:r>
              <a:rPr lang="en-GB" sz="1800" kern="100">
                <a:effectLst/>
                <a:latin typeface="Arial" panose="020B0604020202020204" pitchFamily="34" charset="0"/>
                <a:ea typeface="DengXian" panose="02010600030101010101" pitchFamily="2" charset="-122"/>
                <a:cs typeface="Times New Roman" panose="02020603050405020304" pitchFamily="18" charset="0"/>
              </a:rPr>
              <a:t> are all increasingly reduced to a tolling role. Although their margins have been set by battery makers, they are also protected during the market shock. and the integrated supply or toiling agreements allow them to maintain or even increase production during the feedstock price surge. This explains why we see a strong growth for chemical production in March.</a:t>
            </a:r>
            <a:endParaRPr lang="en-GB" sz="1800" kern="100">
              <a:effectLst/>
              <a:latin typeface="Aptos" panose="020B0004020202020204" pitchFamily="34" charset="0"/>
              <a:ea typeface="DengXian" panose="02010600030101010101" pitchFamily="2" charset="-122"/>
              <a:cs typeface="Times New Roman" panose="02020603050405020304" pitchFamily="18" charset="0"/>
            </a:endParaRPr>
          </a:p>
        </p:txBody>
      </p:sp>
      <p:sp>
        <p:nvSpPr>
          <p:cNvPr id="4" name="Slide Number Placeholder 3">
            <a:extLst>
              <a:ext uri="{FF2B5EF4-FFF2-40B4-BE49-F238E27FC236}">
                <a16:creationId xmlns:a16="http://schemas.microsoft.com/office/drawing/2014/main" id="{DF81234F-237B-D99D-E395-1C8337BD23F9}"/>
              </a:ext>
            </a:extLst>
          </p:cNvPr>
          <p:cNvSpPr>
            <a:spLocks noGrp="1"/>
          </p:cNvSpPr>
          <p:nvPr>
            <p:ph type="sldNum" sz="quarter" idx="5"/>
          </p:nvPr>
        </p:nvSpPr>
        <p:spPr/>
        <p:txBody>
          <a:bodyPr/>
          <a:lstStyle/>
          <a:p>
            <a:fld id="{35090A97-6A15-1B4C-B697-F3B7161AB014}" type="slidenum">
              <a:rPr lang="en-GB" smtClean="0"/>
              <a:t>6</a:t>
            </a:fld>
            <a:endParaRPr lang="en-GB"/>
          </a:p>
        </p:txBody>
      </p:sp>
    </p:spTree>
    <p:extLst>
      <p:ext uri="{BB962C8B-B14F-4D97-AF65-F5344CB8AC3E}">
        <p14:creationId xmlns:p14="http://schemas.microsoft.com/office/powerpoint/2010/main" val="30134724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16EE91-129B-C106-DC72-65BD379D34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090BA1-84D1-0F54-54FD-7DAEE01B19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119AC70-3CD4-4E19-FCB4-7607384A104D}"/>
              </a:ext>
            </a:extLst>
          </p:cNvPr>
          <p:cNvSpPr>
            <a:spLocks noGrp="1"/>
          </p:cNvSpPr>
          <p:nvPr>
            <p:ph type="body" idx="1"/>
          </p:nvPr>
        </p:nvSpPr>
        <p:spPr/>
        <p:txBody>
          <a:bodyPr/>
          <a:lstStyle/>
          <a:p>
            <a:pPr>
              <a:lnSpc>
                <a:spcPct val="115000"/>
              </a:lnSpc>
              <a:spcAft>
                <a:spcPts val="800"/>
              </a:spcAft>
              <a:buNone/>
            </a:pPr>
            <a:r>
              <a:rPr lang="en-GB" sz="1800" kern="100">
                <a:effectLst/>
                <a:latin typeface="Arial" panose="020B0604020202020204" pitchFamily="34" charset="0"/>
                <a:ea typeface="DengXian" panose="02010600030101010101" pitchFamily="2" charset="-122"/>
                <a:cs typeface="Times New Roman" panose="02020603050405020304" pitchFamily="18" charset="0"/>
              </a:rPr>
              <a:t>Moving to the ban’s impact on China refined market, or say demand for Co feedstock.</a:t>
            </a:r>
            <a:endParaRPr lang="en-GB" sz="1800" kern="100">
              <a:effectLst/>
              <a:latin typeface="Aptos" panose="020B0004020202020204" pitchFamily="34" charset="0"/>
              <a:ea typeface="DengXian" panose="02010600030101010101" pitchFamily="2" charset="-122"/>
              <a:cs typeface="Times New Roman" panose="02020603050405020304" pitchFamily="18" charset="0"/>
            </a:endParaRPr>
          </a:p>
          <a:p>
            <a:pPr>
              <a:lnSpc>
                <a:spcPct val="115000"/>
              </a:lnSpc>
              <a:spcAft>
                <a:spcPts val="800"/>
              </a:spcAft>
              <a:buNone/>
            </a:pPr>
            <a:r>
              <a:rPr lang="en-US" sz="1800" kern="100">
                <a:effectLst/>
                <a:latin typeface="Arial" panose="020B0604020202020204" pitchFamily="34" charset="0"/>
                <a:ea typeface="DengXian" panose="02010600030101010101" pitchFamily="2" charset="-122"/>
                <a:cs typeface="Times New Roman" panose="02020603050405020304" pitchFamily="18" charset="0"/>
              </a:rPr>
              <a:t>China refined output increased 12% YoY in Q1, and 30% MoM in March after the ban was implemented. Although total refined output has seen strong growth, chemical and metal refiners react differently to the ban.</a:t>
            </a:r>
            <a:endParaRPr lang="en-GB" sz="1800" kern="100">
              <a:effectLst/>
              <a:latin typeface="Aptos" panose="020B0004020202020204" pitchFamily="34" charset="0"/>
              <a:ea typeface="DengXian" panose="02010600030101010101" pitchFamily="2" charset="-122"/>
              <a:cs typeface="Times New Roman" panose="02020603050405020304" pitchFamily="18" charset="0"/>
            </a:endParaRPr>
          </a:p>
          <a:p>
            <a:pPr>
              <a:lnSpc>
                <a:spcPct val="115000"/>
              </a:lnSpc>
              <a:spcAft>
                <a:spcPts val="800"/>
              </a:spcAft>
              <a:buNone/>
            </a:pPr>
            <a:r>
              <a:rPr lang="en-US" sz="1800" kern="100">
                <a:effectLst/>
                <a:latin typeface="Arial" panose="020B0604020202020204" pitchFamily="34" charset="0"/>
                <a:ea typeface="DengXian" panose="02010600030101010101" pitchFamily="2" charset="-122"/>
                <a:cs typeface="Times New Roman" panose="02020603050405020304" pitchFamily="18" charset="0"/>
              </a:rPr>
              <a:t>As you can see from the middle chart, the utilization rate for both </a:t>
            </a:r>
            <a:r>
              <a:rPr lang="en-US" sz="1800" kern="100" err="1">
                <a:effectLst/>
                <a:latin typeface="Arial" panose="020B0604020202020204" pitchFamily="34" charset="0"/>
                <a:ea typeface="DengXian" panose="02010600030101010101" pitchFamily="2" charset="-122"/>
                <a:cs typeface="Times New Roman" panose="02020603050405020304" pitchFamily="18" charset="0"/>
              </a:rPr>
              <a:t>CoS</a:t>
            </a:r>
            <a:r>
              <a:rPr lang="en-US" sz="1800" kern="100">
                <a:effectLst/>
                <a:latin typeface="Arial" panose="020B0604020202020204" pitchFamily="34" charset="0"/>
                <a:ea typeface="DengXian" panose="02010600030101010101" pitchFamily="2" charset="-122"/>
                <a:cs typeface="Times New Roman" panose="02020603050405020304" pitchFamily="18" charset="0"/>
              </a:rPr>
              <a:t> and tetroxide rebounded strongly in March. Besides the production recovery after CNY, the profitability recovery led by the price surge is an essential factor leading to chemical output growth.</a:t>
            </a:r>
            <a:endParaRPr lang="en-GB" sz="1800" kern="100">
              <a:effectLst/>
              <a:latin typeface="Aptos" panose="020B0004020202020204" pitchFamily="34" charset="0"/>
              <a:ea typeface="DengXian" panose="02010600030101010101" pitchFamily="2" charset="-122"/>
              <a:cs typeface="Times New Roman" panose="02020603050405020304" pitchFamily="18" charset="0"/>
            </a:endParaRPr>
          </a:p>
          <a:p>
            <a:pPr>
              <a:lnSpc>
                <a:spcPct val="115000"/>
              </a:lnSpc>
              <a:spcAft>
                <a:spcPts val="800"/>
              </a:spcAft>
            </a:pPr>
            <a:r>
              <a:rPr lang="en-US" sz="1800" kern="100">
                <a:effectLst/>
                <a:latin typeface="Arial" panose="020B0604020202020204" pitchFamily="34" charset="0"/>
                <a:ea typeface="DengXian" panose="02010600030101010101" pitchFamily="2" charset="-122"/>
                <a:cs typeface="Times New Roman" panose="02020603050405020304" pitchFamily="18" charset="0"/>
              </a:rPr>
              <a:t>In contrast, the metal refiner’s utilization rate has decreased by over 10%. The lower integration level of metal than chemicals value chain is the major reason leading to this difference. As the China Co metal market was relatively tight last year, the high margin of metal production has incentivized some refiners to build standalone metal capacity with 3</a:t>
            </a:r>
            <a:r>
              <a:rPr lang="en-US" sz="1800" kern="100" baseline="30000">
                <a:effectLst/>
                <a:latin typeface="Arial" panose="020B0604020202020204" pitchFamily="34" charset="0"/>
                <a:ea typeface="DengXian" panose="02010600030101010101" pitchFamily="2" charset="-122"/>
                <a:cs typeface="Times New Roman" panose="02020603050405020304" pitchFamily="18" charset="0"/>
              </a:rPr>
              <a:t>rd</a:t>
            </a:r>
            <a:r>
              <a:rPr lang="en-US" sz="1800" kern="100">
                <a:effectLst/>
                <a:latin typeface="Arial" panose="020B0604020202020204" pitchFamily="34" charset="0"/>
                <a:ea typeface="DengXian" panose="02010600030101010101" pitchFamily="2" charset="-122"/>
                <a:cs typeface="Times New Roman" panose="02020603050405020304" pitchFamily="18" charset="0"/>
              </a:rPr>
              <a:t> party feedstock. The surging Co hydroxide price brought by the ban has led to a sharp decrease in profitability for these standalone refiners. In addition, lack of feedstock availability has left them no choice but to downgrade or even suspend production.</a:t>
            </a:r>
          </a:p>
          <a:p>
            <a:pPr>
              <a:lnSpc>
                <a:spcPct val="115000"/>
              </a:lnSpc>
              <a:spcAft>
                <a:spcPts val="800"/>
              </a:spcAft>
            </a:pPr>
            <a:r>
              <a:rPr lang="en-US" sz="1800" kern="100">
                <a:effectLst/>
                <a:latin typeface="Arial" panose="020B0604020202020204" pitchFamily="34" charset="0"/>
                <a:ea typeface="DengXian" panose="02010600030101010101" pitchFamily="2" charset="-122"/>
                <a:cs typeface="Times New Roman" panose="02020603050405020304" pitchFamily="18" charset="0"/>
              </a:rPr>
              <a:t>But in terms of the chemical refiners, they have been protected by integration. Besides the upstream investment made by refiners themselves, like </a:t>
            </a:r>
            <a:r>
              <a:rPr lang="en-US" sz="1800" kern="100" err="1">
                <a:effectLst/>
                <a:latin typeface="Arial" panose="020B0604020202020204" pitchFamily="34" charset="0"/>
                <a:ea typeface="DengXian" panose="02010600030101010101" pitchFamily="2" charset="-122"/>
                <a:cs typeface="Times New Roman" panose="02020603050405020304" pitchFamily="18" charset="0"/>
              </a:rPr>
              <a:t>pCAM</a:t>
            </a:r>
            <a:r>
              <a:rPr lang="en-US" sz="1800" kern="100">
                <a:effectLst/>
                <a:latin typeface="Arial" panose="020B0604020202020204" pitchFamily="34" charset="0"/>
                <a:ea typeface="DengXian" panose="02010600030101010101" pitchFamily="2" charset="-122"/>
                <a:cs typeface="Times New Roman" panose="02020603050405020304" pitchFamily="18" charset="0"/>
              </a:rPr>
              <a:t> producers’ MHP in Indonesia. The close relationship between CMOC and CATL has further bring up the integration level of the NMC value chain. As we can see from the right chart, CMOC is now accounting for 40% of the mined Co supply, while CATL accounts for over 50% of the NMC battery production, or in other words NMC demand for Cobalt. And as you may know, CATL is one of the largest shareholders of CMOC. Under this close relationship between the most upstream supplier and downstream consumer, the mid-stream players like refiners, precursor and CAM producers, they</a:t>
            </a:r>
            <a:r>
              <a:rPr lang="en-GB" sz="1800" kern="100">
                <a:effectLst/>
                <a:latin typeface="Arial" panose="020B0604020202020204" pitchFamily="34" charset="0"/>
                <a:ea typeface="DengXian" panose="02010600030101010101" pitchFamily="2" charset="-122"/>
                <a:cs typeface="Times New Roman" panose="02020603050405020304" pitchFamily="18" charset="0"/>
              </a:rPr>
              <a:t> are all increasingly reduced to a tolling role. Although their margins have been set by battery makers, they are also protected during the market shock. and the integrated supply or toiling agreements allow them to maintain or even increase production during the feedstock price surge. This explains why we see a strong growth for chemical production in March.</a:t>
            </a:r>
            <a:endParaRPr lang="en-GB" sz="1800" kern="100">
              <a:effectLst/>
              <a:latin typeface="Aptos" panose="020B0004020202020204" pitchFamily="34" charset="0"/>
              <a:ea typeface="DengXian" panose="02010600030101010101" pitchFamily="2" charset="-122"/>
              <a:cs typeface="Times New Roman" panose="02020603050405020304" pitchFamily="18" charset="0"/>
            </a:endParaRPr>
          </a:p>
        </p:txBody>
      </p:sp>
      <p:sp>
        <p:nvSpPr>
          <p:cNvPr id="4" name="Slide Number Placeholder 3">
            <a:extLst>
              <a:ext uri="{FF2B5EF4-FFF2-40B4-BE49-F238E27FC236}">
                <a16:creationId xmlns:a16="http://schemas.microsoft.com/office/drawing/2014/main" id="{5BFCEEF0-85FC-B074-688B-13D0713FC4D3}"/>
              </a:ext>
            </a:extLst>
          </p:cNvPr>
          <p:cNvSpPr>
            <a:spLocks noGrp="1"/>
          </p:cNvSpPr>
          <p:nvPr>
            <p:ph type="sldNum" sz="quarter" idx="5"/>
          </p:nvPr>
        </p:nvSpPr>
        <p:spPr/>
        <p:txBody>
          <a:bodyPr/>
          <a:lstStyle/>
          <a:p>
            <a:fld id="{35090A97-6A15-1B4C-B697-F3B7161AB014}" type="slidenum">
              <a:rPr lang="en-GB" smtClean="0"/>
              <a:t>7</a:t>
            </a:fld>
            <a:endParaRPr lang="en-GB"/>
          </a:p>
        </p:txBody>
      </p:sp>
    </p:spTree>
    <p:extLst>
      <p:ext uri="{BB962C8B-B14F-4D97-AF65-F5344CB8AC3E}">
        <p14:creationId xmlns:p14="http://schemas.microsoft.com/office/powerpoint/2010/main" val="31260348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AF4C88-84FD-15DE-0874-505A7C86139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AA55EC-B1E7-F922-1D1D-EBD9E01DEBF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EC90522-F2F2-1E7B-1FC8-23F6C7990994}"/>
              </a:ext>
            </a:extLst>
          </p:cNvPr>
          <p:cNvSpPr>
            <a:spLocks noGrp="1"/>
          </p:cNvSpPr>
          <p:nvPr>
            <p:ph type="body" idx="1"/>
          </p:nvPr>
        </p:nvSpPr>
        <p:spPr/>
        <p:txBody>
          <a:bodyPr/>
          <a:lstStyle/>
          <a:p>
            <a:pPr>
              <a:lnSpc>
                <a:spcPct val="115000"/>
              </a:lnSpc>
              <a:spcAft>
                <a:spcPts val="800"/>
              </a:spcAft>
              <a:buNone/>
            </a:pPr>
            <a:r>
              <a:rPr lang="en-GB" sz="1800" kern="100">
                <a:effectLst/>
                <a:latin typeface="Arial" panose="020B0604020202020204" pitchFamily="34" charset="0"/>
                <a:ea typeface="DengXian" panose="02010600030101010101" pitchFamily="2" charset="-122"/>
                <a:cs typeface="Times New Roman" panose="02020603050405020304" pitchFamily="18" charset="0"/>
              </a:rPr>
              <a:t>Moving to the ban’s impact on China refined market, or say demand for Co feedstock.</a:t>
            </a:r>
            <a:endParaRPr lang="en-GB" sz="1800" kern="100">
              <a:effectLst/>
              <a:latin typeface="Aptos" panose="020B0004020202020204" pitchFamily="34" charset="0"/>
              <a:ea typeface="DengXian" panose="02010600030101010101" pitchFamily="2" charset="-122"/>
              <a:cs typeface="Times New Roman" panose="02020603050405020304" pitchFamily="18" charset="0"/>
            </a:endParaRPr>
          </a:p>
          <a:p>
            <a:pPr>
              <a:lnSpc>
                <a:spcPct val="115000"/>
              </a:lnSpc>
              <a:spcAft>
                <a:spcPts val="800"/>
              </a:spcAft>
              <a:buNone/>
            </a:pPr>
            <a:r>
              <a:rPr lang="en-US" sz="1800" kern="100">
                <a:effectLst/>
                <a:latin typeface="Arial" panose="020B0604020202020204" pitchFamily="34" charset="0"/>
                <a:ea typeface="DengXian" panose="02010600030101010101" pitchFamily="2" charset="-122"/>
                <a:cs typeface="Times New Roman" panose="02020603050405020304" pitchFamily="18" charset="0"/>
              </a:rPr>
              <a:t>China refined output increased 12% YoY in Q1, and 30% MoM in March after the ban was implemented. Although total refined output has seen strong growth, chemical and metal refiners react differently to the ban.</a:t>
            </a:r>
            <a:endParaRPr lang="en-GB" sz="1800" kern="100">
              <a:effectLst/>
              <a:latin typeface="Aptos" panose="020B0004020202020204" pitchFamily="34" charset="0"/>
              <a:ea typeface="DengXian" panose="02010600030101010101" pitchFamily="2" charset="-122"/>
              <a:cs typeface="Times New Roman" panose="02020603050405020304" pitchFamily="18" charset="0"/>
            </a:endParaRPr>
          </a:p>
          <a:p>
            <a:pPr>
              <a:lnSpc>
                <a:spcPct val="115000"/>
              </a:lnSpc>
              <a:spcAft>
                <a:spcPts val="800"/>
              </a:spcAft>
              <a:buNone/>
            </a:pPr>
            <a:r>
              <a:rPr lang="en-US" sz="1800" kern="100">
                <a:effectLst/>
                <a:latin typeface="Arial" panose="020B0604020202020204" pitchFamily="34" charset="0"/>
                <a:ea typeface="DengXian" panose="02010600030101010101" pitchFamily="2" charset="-122"/>
                <a:cs typeface="Times New Roman" panose="02020603050405020304" pitchFamily="18" charset="0"/>
              </a:rPr>
              <a:t>As you can see from the middle chart, the utilization rate for both </a:t>
            </a:r>
            <a:r>
              <a:rPr lang="en-US" sz="1800" kern="100" err="1">
                <a:effectLst/>
                <a:latin typeface="Arial" panose="020B0604020202020204" pitchFamily="34" charset="0"/>
                <a:ea typeface="DengXian" panose="02010600030101010101" pitchFamily="2" charset="-122"/>
                <a:cs typeface="Times New Roman" panose="02020603050405020304" pitchFamily="18" charset="0"/>
              </a:rPr>
              <a:t>CoS</a:t>
            </a:r>
            <a:r>
              <a:rPr lang="en-US" sz="1800" kern="100">
                <a:effectLst/>
                <a:latin typeface="Arial" panose="020B0604020202020204" pitchFamily="34" charset="0"/>
                <a:ea typeface="DengXian" panose="02010600030101010101" pitchFamily="2" charset="-122"/>
                <a:cs typeface="Times New Roman" panose="02020603050405020304" pitchFamily="18" charset="0"/>
              </a:rPr>
              <a:t> and tetroxide rebounded strongly in March. Besides the production recovery after CNY, the profitability recovery led by the price surge is an essential factor leading to chemical output growth.</a:t>
            </a:r>
            <a:endParaRPr lang="en-GB" sz="1800" kern="100">
              <a:effectLst/>
              <a:latin typeface="Aptos" panose="020B0004020202020204" pitchFamily="34" charset="0"/>
              <a:ea typeface="DengXian" panose="02010600030101010101" pitchFamily="2" charset="-122"/>
              <a:cs typeface="Times New Roman" panose="02020603050405020304" pitchFamily="18" charset="0"/>
            </a:endParaRPr>
          </a:p>
          <a:p>
            <a:pPr>
              <a:lnSpc>
                <a:spcPct val="115000"/>
              </a:lnSpc>
              <a:spcAft>
                <a:spcPts val="800"/>
              </a:spcAft>
            </a:pPr>
            <a:r>
              <a:rPr lang="en-US" sz="1800" kern="100">
                <a:effectLst/>
                <a:latin typeface="Arial" panose="020B0604020202020204" pitchFamily="34" charset="0"/>
                <a:ea typeface="DengXian" panose="02010600030101010101" pitchFamily="2" charset="-122"/>
                <a:cs typeface="Times New Roman" panose="02020603050405020304" pitchFamily="18" charset="0"/>
              </a:rPr>
              <a:t>In contrast, the metal refiner’s utilization rate has decreased by over 10%. The lower integration level of metal than chemicals value chain is the major reason leading to this difference. As the China Co metal market was relatively tight last year, the high margin of metal production has incentivized some refiners to build standalone metal capacity with 3</a:t>
            </a:r>
            <a:r>
              <a:rPr lang="en-US" sz="1800" kern="100" baseline="30000">
                <a:effectLst/>
                <a:latin typeface="Arial" panose="020B0604020202020204" pitchFamily="34" charset="0"/>
                <a:ea typeface="DengXian" panose="02010600030101010101" pitchFamily="2" charset="-122"/>
                <a:cs typeface="Times New Roman" panose="02020603050405020304" pitchFamily="18" charset="0"/>
              </a:rPr>
              <a:t>rd</a:t>
            </a:r>
            <a:r>
              <a:rPr lang="en-US" sz="1800" kern="100">
                <a:effectLst/>
                <a:latin typeface="Arial" panose="020B0604020202020204" pitchFamily="34" charset="0"/>
                <a:ea typeface="DengXian" panose="02010600030101010101" pitchFamily="2" charset="-122"/>
                <a:cs typeface="Times New Roman" panose="02020603050405020304" pitchFamily="18" charset="0"/>
              </a:rPr>
              <a:t> party feedstock. The surging Co hydroxide price brought by the ban has led to a sharp decrease in profitability for these standalone refiners. In addition, lack of feedstock availability has left them no choice but to downgrade or even suspend production.</a:t>
            </a:r>
          </a:p>
          <a:p>
            <a:pPr>
              <a:lnSpc>
                <a:spcPct val="115000"/>
              </a:lnSpc>
              <a:spcAft>
                <a:spcPts val="800"/>
              </a:spcAft>
            </a:pPr>
            <a:r>
              <a:rPr lang="en-US" sz="1800" kern="100">
                <a:effectLst/>
                <a:latin typeface="Arial" panose="020B0604020202020204" pitchFamily="34" charset="0"/>
                <a:ea typeface="DengXian" panose="02010600030101010101" pitchFamily="2" charset="-122"/>
                <a:cs typeface="Times New Roman" panose="02020603050405020304" pitchFamily="18" charset="0"/>
              </a:rPr>
              <a:t>But in terms of the chemical refiners, they have been protected by integration. Besides the upstream investment made by refiners themselves, like </a:t>
            </a:r>
            <a:r>
              <a:rPr lang="en-US" sz="1800" kern="100" err="1">
                <a:effectLst/>
                <a:latin typeface="Arial" panose="020B0604020202020204" pitchFamily="34" charset="0"/>
                <a:ea typeface="DengXian" panose="02010600030101010101" pitchFamily="2" charset="-122"/>
                <a:cs typeface="Times New Roman" panose="02020603050405020304" pitchFamily="18" charset="0"/>
              </a:rPr>
              <a:t>pCAM</a:t>
            </a:r>
            <a:r>
              <a:rPr lang="en-US" sz="1800" kern="100">
                <a:effectLst/>
                <a:latin typeface="Arial" panose="020B0604020202020204" pitchFamily="34" charset="0"/>
                <a:ea typeface="DengXian" panose="02010600030101010101" pitchFamily="2" charset="-122"/>
                <a:cs typeface="Times New Roman" panose="02020603050405020304" pitchFamily="18" charset="0"/>
              </a:rPr>
              <a:t> producers’ MHP in Indonesia. The close relationship between CMOC and CATL has further bring up the integration level of the NMC value chain. As we can see from the right chart, CMOC is now accounting for 40% of the mined Co supply, while CATL accounts for over 50% of the NMC battery production, or in other words NMC demand for Cobalt. And as you may know, CATL is one of the largest shareholders of CMOC. Under this close relationship between the most upstream supplier and downstream consumer, the mid-stream players like refiners, precursor and CAM producers, they</a:t>
            </a:r>
            <a:r>
              <a:rPr lang="en-GB" sz="1800" kern="100">
                <a:effectLst/>
                <a:latin typeface="Arial" panose="020B0604020202020204" pitchFamily="34" charset="0"/>
                <a:ea typeface="DengXian" panose="02010600030101010101" pitchFamily="2" charset="-122"/>
                <a:cs typeface="Times New Roman" panose="02020603050405020304" pitchFamily="18" charset="0"/>
              </a:rPr>
              <a:t> are all increasingly reduced to a tolling role. Although their margins have been set by battery makers, they are also protected during the market shock. and the integrated supply or toiling agreements allow them to maintain or even increase production during the feedstock price surge. This explains why we see a strong growth for chemical production in March.</a:t>
            </a:r>
            <a:endParaRPr lang="en-GB" sz="1800" kern="100">
              <a:effectLst/>
              <a:latin typeface="Aptos" panose="020B0004020202020204" pitchFamily="34" charset="0"/>
              <a:ea typeface="DengXian" panose="02010600030101010101" pitchFamily="2" charset="-122"/>
              <a:cs typeface="Times New Roman" panose="02020603050405020304" pitchFamily="18" charset="0"/>
            </a:endParaRPr>
          </a:p>
        </p:txBody>
      </p:sp>
      <p:sp>
        <p:nvSpPr>
          <p:cNvPr id="4" name="Slide Number Placeholder 3">
            <a:extLst>
              <a:ext uri="{FF2B5EF4-FFF2-40B4-BE49-F238E27FC236}">
                <a16:creationId xmlns:a16="http://schemas.microsoft.com/office/drawing/2014/main" id="{0001D628-1CEA-7DF0-AF48-3B606ABD66A1}"/>
              </a:ext>
            </a:extLst>
          </p:cNvPr>
          <p:cNvSpPr>
            <a:spLocks noGrp="1"/>
          </p:cNvSpPr>
          <p:nvPr>
            <p:ph type="sldNum" sz="quarter" idx="5"/>
          </p:nvPr>
        </p:nvSpPr>
        <p:spPr/>
        <p:txBody>
          <a:bodyPr/>
          <a:lstStyle/>
          <a:p>
            <a:fld id="{35090A97-6A15-1B4C-B697-F3B7161AB014}" type="slidenum">
              <a:rPr lang="en-GB" smtClean="0"/>
              <a:t>8</a:t>
            </a:fld>
            <a:endParaRPr lang="en-GB"/>
          </a:p>
        </p:txBody>
      </p:sp>
    </p:spTree>
    <p:extLst>
      <p:ext uri="{BB962C8B-B14F-4D97-AF65-F5344CB8AC3E}">
        <p14:creationId xmlns:p14="http://schemas.microsoft.com/office/powerpoint/2010/main" val="4244710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B62EEC-5A03-8D1F-1D7F-7DF38A77E8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F953A2-2015-2900-5ABF-9D4F3799692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B5C8A1-0584-67C1-2BAB-5498587C383E}"/>
              </a:ext>
            </a:extLst>
          </p:cNvPr>
          <p:cNvSpPr>
            <a:spLocks noGrp="1"/>
          </p:cNvSpPr>
          <p:nvPr>
            <p:ph type="body" idx="1"/>
          </p:nvPr>
        </p:nvSpPr>
        <p:spPr/>
        <p:txBody>
          <a:bodyPr/>
          <a:lstStyle/>
          <a:p>
            <a:pPr>
              <a:lnSpc>
                <a:spcPct val="115000"/>
              </a:lnSpc>
              <a:spcAft>
                <a:spcPts val="800"/>
              </a:spcAft>
              <a:buNone/>
            </a:pPr>
            <a:r>
              <a:rPr lang="en-GB" sz="1800" kern="100">
                <a:effectLst/>
                <a:latin typeface="Arial" panose="020B0604020202020204" pitchFamily="34" charset="0"/>
                <a:ea typeface="DengXian" panose="02010600030101010101" pitchFamily="2" charset="-122"/>
                <a:cs typeface="Times New Roman" panose="02020603050405020304" pitchFamily="18" charset="0"/>
              </a:rPr>
              <a:t>Moving to the ban’s impact on China refined market, or say demand for Co feedstock.</a:t>
            </a:r>
            <a:endParaRPr lang="en-GB" sz="1800" kern="100">
              <a:effectLst/>
              <a:latin typeface="Aptos" panose="020B0004020202020204" pitchFamily="34" charset="0"/>
              <a:ea typeface="DengXian" panose="02010600030101010101" pitchFamily="2" charset="-122"/>
              <a:cs typeface="Times New Roman" panose="02020603050405020304" pitchFamily="18" charset="0"/>
            </a:endParaRPr>
          </a:p>
          <a:p>
            <a:pPr>
              <a:lnSpc>
                <a:spcPct val="115000"/>
              </a:lnSpc>
              <a:spcAft>
                <a:spcPts val="800"/>
              </a:spcAft>
              <a:buNone/>
            </a:pPr>
            <a:r>
              <a:rPr lang="en-US" sz="1800" kern="100">
                <a:effectLst/>
                <a:latin typeface="Arial" panose="020B0604020202020204" pitchFamily="34" charset="0"/>
                <a:ea typeface="DengXian" panose="02010600030101010101" pitchFamily="2" charset="-122"/>
                <a:cs typeface="Times New Roman" panose="02020603050405020304" pitchFamily="18" charset="0"/>
              </a:rPr>
              <a:t>China refined output increased 12% YoY in Q1, and 30% MoM in March after the ban was implemented. Although total refined output has seen strong growth, chemical and metal refiners react differently to the ban.</a:t>
            </a:r>
            <a:endParaRPr lang="en-GB" sz="1800" kern="100">
              <a:effectLst/>
              <a:latin typeface="Aptos" panose="020B0004020202020204" pitchFamily="34" charset="0"/>
              <a:ea typeface="DengXian" panose="02010600030101010101" pitchFamily="2" charset="-122"/>
              <a:cs typeface="Times New Roman" panose="02020603050405020304" pitchFamily="18" charset="0"/>
            </a:endParaRPr>
          </a:p>
          <a:p>
            <a:pPr>
              <a:lnSpc>
                <a:spcPct val="115000"/>
              </a:lnSpc>
              <a:spcAft>
                <a:spcPts val="800"/>
              </a:spcAft>
              <a:buNone/>
            </a:pPr>
            <a:r>
              <a:rPr lang="en-US" sz="1800" kern="100">
                <a:effectLst/>
                <a:latin typeface="Arial" panose="020B0604020202020204" pitchFamily="34" charset="0"/>
                <a:ea typeface="DengXian" panose="02010600030101010101" pitchFamily="2" charset="-122"/>
                <a:cs typeface="Times New Roman" panose="02020603050405020304" pitchFamily="18" charset="0"/>
              </a:rPr>
              <a:t>As you can see from the middle chart, the utilization rate for both </a:t>
            </a:r>
            <a:r>
              <a:rPr lang="en-US" sz="1800" kern="100" err="1">
                <a:effectLst/>
                <a:latin typeface="Arial" panose="020B0604020202020204" pitchFamily="34" charset="0"/>
                <a:ea typeface="DengXian" panose="02010600030101010101" pitchFamily="2" charset="-122"/>
                <a:cs typeface="Times New Roman" panose="02020603050405020304" pitchFamily="18" charset="0"/>
              </a:rPr>
              <a:t>CoS</a:t>
            </a:r>
            <a:r>
              <a:rPr lang="en-US" sz="1800" kern="100">
                <a:effectLst/>
                <a:latin typeface="Arial" panose="020B0604020202020204" pitchFamily="34" charset="0"/>
                <a:ea typeface="DengXian" panose="02010600030101010101" pitchFamily="2" charset="-122"/>
                <a:cs typeface="Times New Roman" panose="02020603050405020304" pitchFamily="18" charset="0"/>
              </a:rPr>
              <a:t> and tetroxide rebounded strongly in March. Besides the production recovery after CNY, the profitability recovery led by the price surge is an essential factor leading to chemical output growth.</a:t>
            </a:r>
            <a:endParaRPr lang="en-GB" sz="1800" kern="100">
              <a:effectLst/>
              <a:latin typeface="Aptos" panose="020B0004020202020204" pitchFamily="34" charset="0"/>
              <a:ea typeface="DengXian" panose="02010600030101010101" pitchFamily="2" charset="-122"/>
              <a:cs typeface="Times New Roman" panose="02020603050405020304" pitchFamily="18" charset="0"/>
            </a:endParaRPr>
          </a:p>
          <a:p>
            <a:pPr>
              <a:lnSpc>
                <a:spcPct val="115000"/>
              </a:lnSpc>
              <a:spcAft>
                <a:spcPts val="800"/>
              </a:spcAft>
            </a:pPr>
            <a:r>
              <a:rPr lang="en-US" sz="1800" kern="100">
                <a:effectLst/>
                <a:latin typeface="Arial" panose="020B0604020202020204" pitchFamily="34" charset="0"/>
                <a:ea typeface="DengXian" panose="02010600030101010101" pitchFamily="2" charset="-122"/>
                <a:cs typeface="Times New Roman" panose="02020603050405020304" pitchFamily="18" charset="0"/>
              </a:rPr>
              <a:t>In contrast, the metal refiner’s utilization rate has decreased by over 10%. The lower integration level of metal than chemicals value chain is the major reason leading to this difference. As the China Co metal market was relatively tight last year, the high margin of metal production has incentivized some refiners to build standalone metal capacity with 3</a:t>
            </a:r>
            <a:r>
              <a:rPr lang="en-US" sz="1800" kern="100" baseline="30000">
                <a:effectLst/>
                <a:latin typeface="Arial" panose="020B0604020202020204" pitchFamily="34" charset="0"/>
                <a:ea typeface="DengXian" panose="02010600030101010101" pitchFamily="2" charset="-122"/>
                <a:cs typeface="Times New Roman" panose="02020603050405020304" pitchFamily="18" charset="0"/>
              </a:rPr>
              <a:t>rd</a:t>
            </a:r>
            <a:r>
              <a:rPr lang="en-US" sz="1800" kern="100">
                <a:effectLst/>
                <a:latin typeface="Arial" panose="020B0604020202020204" pitchFamily="34" charset="0"/>
                <a:ea typeface="DengXian" panose="02010600030101010101" pitchFamily="2" charset="-122"/>
                <a:cs typeface="Times New Roman" panose="02020603050405020304" pitchFamily="18" charset="0"/>
              </a:rPr>
              <a:t> party feedstock. The surging Co hydroxide price brought by the ban has led to a sharp decrease in profitability for these standalone refiners. In addition, lack of feedstock availability has left them no choice but to downgrade or even suspend production.</a:t>
            </a:r>
          </a:p>
          <a:p>
            <a:pPr>
              <a:lnSpc>
                <a:spcPct val="115000"/>
              </a:lnSpc>
              <a:spcAft>
                <a:spcPts val="800"/>
              </a:spcAft>
            </a:pPr>
            <a:r>
              <a:rPr lang="en-US" sz="1800" kern="100">
                <a:effectLst/>
                <a:latin typeface="Arial" panose="020B0604020202020204" pitchFamily="34" charset="0"/>
                <a:ea typeface="DengXian" panose="02010600030101010101" pitchFamily="2" charset="-122"/>
                <a:cs typeface="Times New Roman" panose="02020603050405020304" pitchFamily="18" charset="0"/>
              </a:rPr>
              <a:t>But in terms of the chemical refiners, they have been protected by integration. Besides the upstream investment made by refiners themselves, like </a:t>
            </a:r>
            <a:r>
              <a:rPr lang="en-US" sz="1800" kern="100" err="1">
                <a:effectLst/>
                <a:latin typeface="Arial" panose="020B0604020202020204" pitchFamily="34" charset="0"/>
                <a:ea typeface="DengXian" panose="02010600030101010101" pitchFamily="2" charset="-122"/>
                <a:cs typeface="Times New Roman" panose="02020603050405020304" pitchFamily="18" charset="0"/>
              </a:rPr>
              <a:t>pCAM</a:t>
            </a:r>
            <a:r>
              <a:rPr lang="en-US" sz="1800" kern="100">
                <a:effectLst/>
                <a:latin typeface="Arial" panose="020B0604020202020204" pitchFamily="34" charset="0"/>
                <a:ea typeface="DengXian" panose="02010600030101010101" pitchFamily="2" charset="-122"/>
                <a:cs typeface="Times New Roman" panose="02020603050405020304" pitchFamily="18" charset="0"/>
              </a:rPr>
              <a:t> producers’ MHP in Indonesia. The close relationship between CMOC and CATL has further bring up the integration level of the NMC value chain. As we can see from the right chart, CMOC is now accounting for 40% of the mined Co supply, while CATL accounts for over 50% of the NMC battery production, or in other words NMC demand for Cobalt. And as you may know, CATL is one of the largest shareholders of CMOC. Under this close relationship between the most upstream supplier and downstream consumer, the mid-stream players like refiners, precursor and CAM producers, they</a:t>
            </a:r>
            <a:r>
              <a:rPr lang="en-GB" sz="1800" kern="100">
                <a:effectLst/>
                <a:latin typeface="Arial" panose="020B0604020202020204" pitchFamily="34" charset="0"/>
                <a:ea typeface="DengXian" panose="02010600030101010101" pitchFamily="2" charset="-122"/>
                <a:cs typeface="Times New Roman" panose="02020603050405020304" pitchFamily="18" charset="0"/>
              </a:rPr>
              <a:t> are all increasingly reduced to a tolling role. Although their margins have been set by battery makers, they are also protected during the market shock. and the integrated supply or toiling agreements allow them to maintain or even increase production during the feedstock price surge. This explains why we see a strong growth for chemical production in March.</a:t>
            </a:r>
            <a:endParaRPr lang="en-GB" sz="1800" kern="100">
              <a:effectLst/>
              <a:latin typeface="Aptos" panose="020B0004020202020204" pitchFamily="34" charset="0"/>
              <a:ea typeface="DengXian" panose="02010600030101010101" pitchFamily="2" charset="-122"/>
              <a:cs typeface="Times New Roman" panose="02020603050405020304" pitchFamily="18" charset="0"/>
            </a:endParaRPr>
          </a:p>
        </p:txBody>
      </p:sp>
      <p:sp>
        <p:nvSpPr>
          <p:cNvPr id="4" name="Slide Number Placeholder 3">
            <a:extLst>
              <a:ext uri="{FF2B5EF4-FFF2-40B4-BE49-F238E27FC236}">
                <a16:creationId xmlns:a16="http://schemas.microsoft.com/office/drawing/2014/main" id="{70F92025-50AD-E5C5-5452-CE2DA8B4890A}"/>
              </a:ext>
            </a:extLst>
          </p:cNvPr>
          <p:cNvSpPr>
            <a:spLocks noGrp="1"/>
          </p:cNvSpPr>
          <p:nvPr>
            <p:ph type="sldNum" sz="quarter" idx="5"/>
          </p:nvPr>
        </p:nvSpPr>
        <p:spPr/>
        <p:txBody>
          <a:bodyPr/>
          <a:lstStyle/>
          <a:p>
            <a:fld id="{35090A97-6A15-1B4C-B697-F3B7161AB014}" type="slidenum">
              <a:rPr lang="en-GB" smtClean="0"/>
              <a:t>9</a:t>
            </a:fld>
            <a:endParaRPr lang="en-GB"/>
          </a:p>
        </p:txBody>
      </p:sp>
    </p:spTree>
    <p:extLst>
      <p:ext uri="{BB962C8B-B14F-4D97-AF65-F5344CB8AC3E}">
        <p14:creationId xmlns:p14="http://schemas.microsoft.com/office/powerpoint/2010/main" val="10684957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E0D149-AC10-1767-5ACB-ADE795BAB8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C3E69F-9299-60C9-DEDF-8259FF9D3E4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636D703-52BD-47D4-2FB2-4A6FC38537AC}"/>
              </a:ext>
            </a:extLst>
          </p:cNvPr>
          <p:cNvSpPr>
            <a:spLocks noGrp="1"/>
          </p:cNvSpPr>
          <p:nvPr>
            <p:ph type="body" idx="1"/>
          </p:nvPr>
        </p:nvSpPr>
        <p:spPr/>
        <p:txBody>
          <a:bodyPr/>
          <a:lstStyle/>
          <a:p>
            <a:pPr>
              <a:lnSpc>
                <a:spcPct val="115000"/>
              </a:lnSpc>
              <a:spcAft>
                <a:spcPts val="800"/>
              </a:spcAft>
              <a:buNone/>
            </a:pPr>
            <a:r>
              <a:rPr lang="en-GB" sz="1800" kern="100">
                <a:effectLst/>
                <a:latin typeface="Arial" panose="020B0604020202020204" pitchFamily="34" charset="0"/>
                <a:ea typeface="DengXian" panose="02010600030101010101" pitchFamily="2" charset="-122"/>
                <a:cs typeface="Times New Roman" panose="02020603050405020304" pitchFamily="18" charset="0"/>
              </a:rPr>
              <a:t>Moving to the ban’s impact on China refined market, or say demand for Co feedstock.</a:t>
            </a:r>
            <a:endParaRPr lang="en-GB" sz="1800" kern="100">
              <a:effectLst/>
              <a:latin typeface="Aptos" panose="020B0004020202020204" pitchFamily="34" charset="0"/>
              <a:ea typeface="DengXian" panose="02010600030101010101" pitchFamily="2" charset="-122"/>
              <a:cs typeface="Times New Roman" panose="02020603050405020304" pitchFamily="18" charset="0"/>
            </a:endParaRPr>
          </a:p>
          <a:p>
            <a:pPr>
              <a:lnSpc>
                <a:spcPct val="115000"/>
              </a:lnSpc>
              <a:spcAft>
                <a:spcPts val="800"/>
              </a:spcAft>
              <a:buNone/>
            </a:pPr>
            <a:r>
              <a:rPr lang="en-US" sz="1800" kern="100">
                <a:effectLst/>
                <a:latin typeface="Arial" panose="020B0604020202020204" pitchFamily="34" charset="0"/>
                <a:ea typeface="DengXian" panose="02010600030101010101" pitchFamily="2" charset="-122"/>
                <a:cs typeface="Times New Roman" panose="02020603050405020304" pitchFamily="18" charset="0"/>
              </a:rPr>
              <a:t>China refined output increased 12% YoY in Q1, and 30% MoM in March after the ban was implemented. Although total refined output has seen strong growth, chemical and metal refiners react differently to the ban.</a:t>
            </a:r>
            <a:endParaRPr lang="en-GB" sz="1800" kern="100">
              <a:effectLst/>
              <a:latin typeface="Aptos" panose="020B0004020202020204" pitchFamily="34" charset="0"/>
              <a:ea typeface="DengXian" panose="02010600030101010101" pitchFamily="2" charset="-122"/>
              <a:cs typeface="Times New Roman" panose="02020603050405020304" pitchFamily="18" charset="0"/>
            </a:endParaRPr>
          </a:p>
          <a:p>
            <a:pPr>
              <a:lnSpc>
                <a:spcPct val="115000"/>
              </a:lnSpc>
              <a:spcAft>
                <a:spcPts val="800"/>
              </a:spcAft>
              <a:buNone/>
            </a:pPr>
            <a:r>
              <a:rPr lang="en-US" sz="1800" kern="100">
                <a:effectLst/>
                <a:latin typeface="Arial" panose="020B0604020202020204" pitchFamily="34" charset="0"/>
                <a:ea typeface="DengXian" panose="02010600030101010101" pitchFamily="2" charset="-122"/>
                <a:cs typeface="Times New Roman" panose="02020603050405020304" pitchFamily="18" charset="0"/>
              </a:rPr>
              <a:t>As you can see from the middle chart, the utilization rate for both </a:t>
            </a:r>
            <a:r>
              <a:rPr lang="en-US" sz="1800" kern="100" err="1">
                <a:effectLst/>
                <a:latin typeface="Arial" panose="020B0604020202020204" pitchFamily="34" charset="0"/>
                <a:ea typeface="DengXian" panose="02010600030101010101" pitchFamily="2" charset="-122"/>
                <a:cs typeface="Times New Roman" panose="02020603050405020304" pitchFamily="18" charset="0"/>
              </a:rPr>
              <a:t>CoS</a:t>
            </a:r>
            <a:r>
              <a:rPr lang="en-US" sz="1800" kern="100">
                <a:effectLst/>
                <a:latin typeface="Arial" panose="020B0604020202020204" pitchFamily="34" charset="0"/>
                <a:ea typeface="DengXian" panose="02010600030101010101" pitchFamily="2" charset="-122"/>
                <a:cs typeface="Times New Roman" panose="02020603050405020304" pitchFamily="18" charset="0"/>
              </a:rPr>
              <a:t> and tetroxide rebounded strongly in March. Besides the production recovery after CNY, the profitability recovery led by the price surge is an essential factor leading to chemical output growth.</a:t>
            </a:r>
            <a:endParaRPr lang="en-GB" sz="1800" kern="100">
              <a:effectLst/>
              <a:latin typeface="Aptos" panose="020B0004020202020204" pitchFamily="34" charset="0"/>
              <a:ea typeface="DengXian" panose="02010600030101010101" pitchFamily="2" charset="-122"/>
              <a:cs typeface="Times New Roman" panose="02020603050405020304" pitchFamily="18" charset="0"/>
            </a:endParaRPr>
          </a:p>
          <a:p>
            <a:pPr>
              <a:lnSpc>
                <a:spcPct val="115000"/>
              </a:lnSpc>
              <a:spcAft>
                <a:spcPts val="800"/>
              </a:spcAft>
            </a:pPr>
            <a:r>
              <a:rPr lang="en-US" sz="1800" kern="100">
                <a:effectLst/>
                <a:latin typeface="Arial" panose="020B0604020202020204" pitchFamily="34" charset="0"/>
                <a:ea typeface="DengXian" panose="02010600030101010101" pitchFamily="2" charset="-122"/>
                <a:cs typeface="Times New Roman" panose="02020603050405020304" pitchFamily="18" charset="0"/>
              </a:rPr>
              <a:t>In contrast, the metal refiner’s utilization rate has decreased by over 10%. The lower integration level of metal than chemicals value chain is the major reason leading to this difference. As the China Co metal market was relatively tight last year, the high margin of metal production has incentivized some refiners to build standalone metal capacity with 3</a:t>
            </a:r>
            <a:r>
              <a:rPr lang="en-US" sz="1800" kern="100" baseline="30000">
                <a:effectLst/>
                <a:latin typeface="Arial" panose="020B0604020202020204" pitchFamily="34" charset="0"/>
                <a:ea typeface="DengXian" panose="02010600030101010101" pitchFamily="2" charset="-122"/>
                <a:cs typeface="Times New Roman" panose="02020603050405020304" pitchFamily="18" charset="0"/>
              </a:rPr>
              <a:t>rd</a:t>
            </a:r>
            <a:r>
              <a:rPr lang="en-US" sz="1800" kern="100">
                <a:effectLst/>
                <a:latin typeface="Arial" panose="020B0604020202020204" pitchFamily="34" charset="0"/>
                <a:ea typeface="DengXian" panose="02010600030101010101" pitchFamily="2" charset="-122"/>
                <a:cs typeface="Times New Roman" panose="02020603050405020304" pitchFamily="18" charset="0"/>
              </a:rPr>
              <a:t> party feedstock. The surging Co hydroxide price brought by the ban has led to a sharp decrease in profitability for these standalone refiners. In addition, lack of feedstock availability has left them no choice but to downgrade or even suspend production.</a:t>
            </a:r>
          </a:p>
          <a:p>
            <a:pPr>
              <a:lnSpc>
                <a:spcPct val="115000"/>
              </a:lnSpc>
              <a:spcAft>
                <a:spcPts val="800"/>
              </a:spcAft>
            </a:pPr>
            <a:r>
              <a:rPr lang="en-US" sz="1800" kern="100">
                <a:effectLst/>
                <a:latin typeface="Arial" panose="020B0604020202020204" pitchFamily="34" charset="0"/>
                <a:ea typeface="DengXian" panose="02010600030101010101" pitchFamily="2" charset="-122"/>
                <a:cs typeface="Times New Roman" panose="02020603050405020304" pitchFamily="18" charset="0"/>
              </a:rPr>
              <a:t>But in terms of the chemical refiners, they have been protected by integration. Besides the upstream investment made by refiners themselves, like </a:t>
            </a:r>
            <a:r>
              <a:rPr lang="en-US" sz="1800" kern="100" err="1">
                <a:effectLst/>
                <a:latin typeface="Arial" panose="020B0604020202020204" pitchFamily="34" charset="0"/>
                <a:ea typeface="DengXian" panose="02010600030101010101" pitchFamily="2" charset="-122"/>
                <a:cs typeface="Times New Roman" panose="02020603050405020304" pitchFamily="18" charset="0"/>
              </a:rPr>
              <a:t>pCAM</a:t>
            </a:r>
            <a:r>
              <a:rPr lang="en-US" sz="1800" kern="100">
                <a:effectLst/>
                <a:latin typeface="Arial" panose="020B0604020202020204" pitchFamily="34" charset="0"/>
                <a:ea typeface="DengXian" panose="02010600030101010101" pitchFamily="2" charset="-122"/>
                <a:cs typeface="Times New Roman" panose="02020603050405020304" pitchFamily="18" charset="0"/>
              </a:rPr>
              <a:t> producers’ MHP in Indonesia. The close relationship between CMOC and CATL has further bring up the integration level of the NMC value chain. As we can see from the right chart, CMOC is now accounting for 40% of the mined Co supply, while CATL accounts for over 50% of the NMC battery production, or in other words NMC demand for Cobalt. And as you may know, CATL is one of the largest shareholders of CMOC. Under this close relationship between the most upstream supplier and downstream consumer, the mid-stream players like refiners, precursor and CAM producers, they</a:t>
            </a:r>
            <a:r>
              <a:rPr lang="en-GB" sz="1800" kern="100">
                <a:effectLst/>
                <a:latin typeface="Arial" panose="020B0604020202020204" pitchFamily="34" charset="0"/>
                <a:ea typeface="DengXian" panose="02010600030101010101" pitchFamily="2" charset="-122"/>
                <a:cs typeface="Times New Roman" panose="02020603050405020304" pitchFamily="18" charset="0"/>
              </a:rPr>
              <a:t> are all increasingly reduced to a tolling role. Although their margins have been set by battery makers, they are also protected during the market shock. and the integrated supply or toiling agreements allow them to maintain or even increase production during the feedstock price surge. This explains why we see a strong growth for chemical production in March.</a:t>
            </a:r>
            <a:endParaRPr lang="en-GB" sz="1800" kern="100">
              <a:effectLst/>
              <a:latin typeface="Aptos" panose="020B0004020202020204" pitchFamily="34" charset="0"/>
              <a:ea typeface="DengXian" panose="02010600030101010101" pitchFamily="2" charset="-122"/>
              <a:cs typeface="Times New Roman" panose="02020603050405020304" pitchFamily="18" charset="0"/>
            </a:endParaRPr>
          </a:p>
        </p:txBody>
      </p:sp>
      <p:sp>
        <p:nvSpPr>
          <p:cNvPr id="4" name="Slide Number Placeholder 3">
            <a:extLst>
              <a:ext uri="{FF2B5EF4-FFF2-40B4-BE49-F238E27FC236}">
                <a16:creationId xmlns:a16="http://schemas.microsoft.com/office/drawing/2014/main" id="{9AD14280-F486-BB53-1DBC-21626FDE954D}"/>
              </a:ext>
            </a:extLst>
          </p:cNvPr>
          <p:cNvSpPr>
            <a:spLocks noGrp="1"/>
          </p:cNvSpPr>
          <p:nvPr>
            <p:ph type="sldNum" sz="quarter" idx="5"/>
          </p:nvPr>
        </p:nvSpPr>
        <p:spPr/>
        <p:txBody>
          <a:bodyPr/>
          <a:lstStyle/>
          <a:p>
            <a:fld id="{35090A97-6A15-1B4C-B697-F3B7161AB014}" type="slidenum">
              <a:rPr lang="en-GB" smtClean="0"/>
              <a:t>10</a:t>
            </a:fld>
            <a:endParaRPr lang="en-GB"/>
          </a:p>
        </p:txBody>
      </p:sp>
    </p:spTree>
    <p:extLst>
      <p:ext uri="{BB962C8B-B14F-4D97-AF65-F5344CB8AC3E}">
        <p14:creationId xmlns:p14="http://schemas.microsoft.com/office/powerpoint/2010/main" val="17717582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E87736-6EBF-B975-F76B-8789BEAA29B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0B63D9-0E87-5F54-A615-0F867657848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6050CD-C237-3B44-D276-ADEE8A9D598C}"/>
              </a:ext>
            </a:extLst>
          </p:cNvPr>
          <p:cNvSpPr>
            <a:spLocks noGrp="1"/>
          </p:cNvSpPr>
          <p:nvPr>
            <p:ph type="body" idx="1"/>
          </p:nvPr>
        </p:nvSpPr>
        <p:spPr/>
        <p:txBody>
          <a:bodyPr/>
          <a:lstStyle/>
          <a:p>
            <a:pPr>
              <a:lnSpc>
                <a:spcPct val="115000"/>
              </a:lnSpc>
              <a:spcAft>
                <a:spcPts val="800"/>
              </a:spcAft>
              <a:buNone/>
            </a:pPr>
            <a:r>
              <a:rPr lang="en-GB" sz="1800" kern="100">
                <a:effectLst/>
                <a:latin typeface="Arial" panose="020B0604020202020204" pitchFamily="34" charset="0"/>
                <a:ea typeface="DengXian" panose="02010600030101010101" pitchFamily="2" charset="-122"/>
                <a:cs typeface="Times New Roman" panose="02020603050405020304" pitchFamily="18" charset="0"/>
              </a:rPr>
              <a:t>Moving to the ban’s impact on China refined market, or say demand for Co feedstock.</a:t>
            </a:r>
            <a:endParaRPr lang="en-GB" sz="1800" kern="100">
              <a:effectLst/>
              <a:latin typeface="Aptos" panose="020B0004020202020204" pitchFamily="34" charset="0"/>
              <a:ea typeface="DengXian" panose="02010600030101010101" pitchFamily="2" charset="-122"/>
              <a:cs typeface="Times New Roman" panose="02020603050405020304" pitchFamily="18" charset="0"/>
            </a:endParaRPr>
          </a:p>
          <a:p>
            <a:pPr>
              <a:lnSpc>
                <a:spcPct val="115000"/>
              </a:lnSpc>
              <a:spcAft>
                <a:spcPts val="800"/>
              </a:spcAft>
              <a:buNone/>
            </a:pPr>
            <a:r>
              <a:rPr lang="en-US" sz="1800" kern="100">
                <a:effectLst/>
                <a:latin typeface="Arial" panose="020B0604020202020204" pitchFamily="34" charset="0"/>
                <a:ea typeface="DengXian" panose="02010600030101010101" pitchFamily="2" charset="-122"/>
                <a:cs typeface="Times New Roman" panose="02020603050405020304" pitchFamily="18" charset="0"/>
              </a:rPr>
              <a:t>China refined output increased 12% YoY in Q1, and 30% MoM in March after the ban was implemented. Although total refined output has seen strong growth, chemical and metal refiners react differently to the ban.</a:t>
            </a:r>
            <a:endParaRPr lang="en-GB" sz="1800" kern="100">
              <a:effectLst/>
              <a:latin typeface="Aptos" panose="020B0004020202020204" pitchFamily="34" charset="0"/>
              <a:ea typeface="DengXian" panose="02010600030101010101" pitchFamily="2" charset="-122"/>
              <a:cs typeface="Times New Roman" panose="02020603050405020304" pitchFamily="18" charset="0"/>
            </a:endParaRPr>
          </a:p>
          <a:p>
            <a:pPr>
              <a:lnSpc>
                <a:spcPct val="115000"/>
              </a:lnSpc>
              <a:spcAft>
                <a:spcPts val="800"/>
              </a:spcAft>
              <a:buNone/>
            </a:pPr>
            <a:r>
              <a:rPr lang="en-US" sz="1800" kern="100">
                <a:effectLst/>
                <a:latin typeface="Arial" panose="020B0604020202020204" pitchFamily="34" charset="0"/>
                <a:ea typeface="DengXian" panose="02010600030101010101" pitchFamily="2" charset="-122"/>
                <a:cs typeface="Times New Roman" panose="02020603050405020304" pitchFamily="18" charset="0"/>
              </a:rPr>
              <a:t>As you can see from the middle chart, the utilization rate for both </a:t>
            </a:r>
            <a:r>
              <a:rPr lang="en-US" sz="1800" kern="100" err="1">
                <a:effectLst/>
                <a:latin typeface="Arial" panose="020B0604020202020204" pitchFamily="34" charset="0"/>
                <a:ea typeface="DengXian" panose="02010600030101010101" pitchFamily="2" charset="-122"/>
                <a:cs typeface="Times New Roman" panose="02020603050405020304" pitchFamily="18" charset="0"/>
              </a:rPr>
              <a:t>CoS</a:t>
            </a:r>
            <a:r>
              <a:rPr lang="en-US" sz="1800" kern="100">
                <a:effectLst/>
                <a:latin typeface="Arial" panose="020B0604020202020204" pitchFamily="34" charset="0"/>
                <a:ea typeface="DengXian" panose="02010600030101010101" pitchFamily="2" charset="-122"/>
                <a:cs typeface="Times New Roman" panose="02020603050405020304" pitchFamily="18" charset="0"/>
              </a:rPr>
              <a:t> and tetroxide rebounded strongly in March. Besides the production recovery after CNY, the profitability recovery led by the price surge is an essential factor leading to chemical output growth.</a:t>
            </a:r>
            <a:endParaRPr lang="en-GB" sz="1800" kern="100">
              <a:effectLst/>
              <a:latin typeface="Aptos" panose="020B0004020202020204" pitchFamily="34" charset="0"/>
              <a:ea typeface="DengXian" panose="02010600030101010101" pitchFamily="2" charset="-122"/>
              <a:cs typeface="Times New Roman" panose="02020603050405020304" pitchFamily="18" charset="0"/>
            </a:endParaRPr>
          </a:p>
          <a:p>
            <a:pPr>
              <a:lnSpc>
                <a:spcPct val="115000"/>
              </a:lnSpc>
              <a:spcAft>
                <a:spcPts val="800"/>
              </a:spcAft>
            </a:pPr>
            <a:r>
              <a:rPr lang="en-US" sz="1800" kern="100">
                <a:effectLst/>
                <a:latin typeface="Arial" panose="020B0604020202020204" pitchFamily="34" charset="0"/>
                <a:ea typeface="DengXian" panose="02010600030101010101" pitchFamily="2" charset="-122"/>
                <a:cs typeface="Times New Roman" panose="02020603050405020304" pitchFamily="18" charset="0"/>
              </a:rPr>
              <a:t>In contrast, the metal refiner’s utilization rate has decreased by over 10%. The lower integration level of metal than chemicals value chain is the major reason leading to this difference. As the China Co metal market was relatively tight last year, the high margin of metal production has incentivized some refiners to build standalone metal capacity with 3</a:t>
            </a:r>
            <a:r>
              <a:rPr lang="en-US" sz="1800" kern="100" baseline="30000">
                <a:effectLst/>
                <a:latin typeface="Arial" panose="020B0604020202020204" pitchFamily="34" charset="0"/>
                <a:ea typeface="DengXian" panose="02010600030101010101" pitchFamily="2" charset="-122"/>
                <a:cs typeface="Times New Roman" panose="02020603050405020304" pitchFamily="18" charset="0"/>
              </a:rPr>
              <a:t>rd</a:t>
            </a:r>
            <a:r>
              <a:rPr lang="en-US" sz="1800" kern="100">
                <a:effectLst/>
                <a:latin typeface="Arial" panose="020B0604020202020204" pitchFamily="34" charset="0"/>
                <a:ea typeface="DengXian" panose="02010600030101010101" pitchFamily="2" charset="-122"/>
                <a:cs typeface="Times New Roman" panose="02020603050405020304" pitchFamily="18" charset="0"/>
              </a:rPr>
              <a:t> party feedstock. The surging Co hydroxide price brought by the ban has led to a sharp decrease in profitability for these standalone refiners. In addition, lack of feedstock availability has left them no choice but to downgrade or even suspend production.</a:t>
            </a:r>
          </a:p>
          <a:p>
            <a:pPr>
              <a:lnSpc>
                <a:spcPct val="115000"/>
              </a:lnSpc>
              <a:spcAft>
                <a:spcPts val="800"/>
              </a:spcAft>
            </a:pPr>
            <a:r>
              <a:rPr lang="en-US" sz="1800" kern="100">
                <a:effectLst/>
                <a:latin typeface="Arial" panose="020B0604020202020204" pitchFamily="34" charset="0"/>
                <a:ea typeface="DengXian" panose="02010600030101010101" pitchFamily="2" charset="-122"/>
                <a:cs typeface="Times New Roman" panose="02020603050405020304" pitchFamily="18" charset="0"/>
              </a:rPr>
              <a:t>But in terms of the chemical refiners, they have been protected by integration. Besides the upstream investment made by refiners themselves, like </a:t>
            </a:r>
            <a:r>
              <a:rPr lang="en-US" sz="1800" kern="100" err="1">
                <a:effectLst/>
                <a:latin typeface="Arial" panose="020B0604020202020204" pitchFamily="34" charset="0"/>
                <a:ea typeface="DengXian" panose="02010600030101010101" pitchFamily="2" charset="-122"/>
                <a:cs typeface="Times New Roman" panose="02020603050405020304" pitchFamily="18" charset="0"/>
              </a:rPr>
              <a:t>pCAM</a:t>
            </a:r>
            <a:r>
              <a:rPr lang="en-US" sz="1800" kern="100">
                <a:effectLst/>
                <a:latin typeface="Arial" panose="020B0604020202020204" pitchFamily="34" charset="0"/>
                <a:ea typeface="DengXian" panose="02010600030101010101" pitchFamily="2" charset="-122"/>
                <a:cs typeface="Times New Roman" panose="02020603050405020304" pitchFamily="18" charset="0"/>
              </a:rPr>
              <a:t> producers’ MHP in Indonesia. The close relationship between CMOC and CATL has further bring up the integration level of the NMC value chain. As we can see from the right chart, CMOC is now accounting for 40% of the mined Co supply, while CATL accounts for over 50% of the NMC battery production, or in other words NMC demand for Cobalt. And as you may know, CATL is one of the largest shareholders of CMOC. Under this close relationship between the most upstream supplier and downstream consumer, the mid-stream players like refiners, precursor and CAM producers, they</a:t>
            </a:r>
            <a:r>
              <a:rPr lang="en-GB" sz="1800" kern="100">
                <a:effectLst/>
                <a:latin typeface="Arial" panose="020B0604020202020204" pitchFamily="34" charset="0"/>
                <a:ea typeface="DengXian" panose="02010600030101010101" pitchFamily="2" charset="-122"/>
                <a:cs typeface="Times New Roman" panose="02020603050405020304" pitchFamily="18" charset="0"/>
              </a:rPr>
              <a:t> are all increasingly reduced to a tolling role. Although their margins have been set by battery makers, they are also protected during the market shock. and the integrated supply or toiling agreements allow them to maintain or even increase production during the feedstock price surge. This explains why we see a strong growth for chemical production in March.</a:t>
            </a:r>
            <a:endParaRPr lang="en-GB" sz="1800" kern="100">
              <a:effectLst/>
              <a:latin typeface="Aptos" panose="020B0004020202020204" pitchFamily="34" charset="0"/>
              <a:ea typeface="DengXian" panose="02010600030101010101" pitchFamily="2" charset="-122"/>
              <a:cs typeface="Times New Roman" panose="02020603050405020304" pitchFamily="18" charset="0"/>
            </a:endParaRPr>
          </a:p>
        </p:txBody>
      </p:sp>
      <p:sp>
        <p:nvSpPr>
          <p:cNvPr id="4" name="Slide Number Placeholder 3">
            <a:extLst>
              <a:ext uri="{FF2B5EF4-FFF2-40B4-BE49-F238E27FC236}">
                <a16:creationId xmlns:a16="http://schemas.microsoft.com/office/drawing/2014/main" id="{BEEA1ACB-ABDC-2458-CBAA-A084BBF13C60}"/>
              </a:ext>
            </a:extLst>
          </p:cNvPr>
          <p:cNvSpPr>
            <a:spLocks noGrp="1"/>
          </p:cNvSpPr>
          <p:nvPr>
            <p:ph type="sldNum" sz="quarter" idx="5"/>
          </p:nvPr>
        </p:nvSpPr>
        <p:spPr/>
        <p:txBody>
          <a:bodyPr/>
          <a:lstStyle/>
          <a:p>
            <a:fld id="{35090A97-6A15-1B4C-B697-F3B7161AB014}" type="slidenum">
              <a:rPr lang="en-GB" smtClean="0"/>
              <a:t>11</a:t>
            </a:fld>
            <a:endParaRPr lang="en-GB"/>
          </a:p>
        </p:txBody>
      </p:sp>
    </p:spTree>
    <p:extLst>
      <p:ext uri="{BB962C8B-B14F-4D97-AF65-F5344CB8AC3E}">
        <p14:creationId xmlns:p14="http://schemas.microsoft.com/office/powerpoint/2010/main" val="37109848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10.svg"/><Relationship Id="rId7" Type="http://schemas.openxmlformats.org/officeDocument/2006/relationships/image" Target="../media/image14.svg"/><Relationship Id="rId2" Type="http://schemas.openxmlformats.org/officeDocument/2006/relationships/image" Target="../media/image9.png"/><Relationship Id="rId1" Type="http://schemas.openxmlformats.org/officeDocument/2006/relationships/slideMaster" Target="../slideMasters/slideMaster2.xml"/><Relationship Id="rId6" Type="http://schemas.openxmlformats.org/officeDocument/2006/relationships/image" Target="../media/image11.png"/><Relationship Id="rId11" Type="http://schemas.openxmlformats.org/officeDocument/2006/relationships/image" Target="../media/image18.svg"/><Relationship Id="rId5" Type="http://schemas.openxmlformats.org/officeDocument/2006/relationships/image" Target="../media/image12.svg"/><Relationship Id="rId10" Type="http://schemas.openxmlformats.org/officeDocument/2006/relationships/image" Target="../media/image13.png"/><Relationship Id="rId4" Type="http://schemas.openxmlformats.org/officeDocument/2006/relationships/image" Target="../media/image10.png"/><Relationship Id="rId9" Type="http://schemas.openxmlformats.org/officeDocument/2006/relationships/image" Target="../media/image16.sv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10.svg"/><Relationship Id="rId7" Type="http://schemas.openxmlformats.org/officeDocument/2006/relationships/image" Target="../media/image14.svg"/><Relationship Id="rId2" Type="http://schemas.openxmlformats.org/officeDocument/2006/relationships/image" Target="../media/image9.png"/><Relationship Id="rId1" Type="http://schemas.openxmlformats.org/officeDocument/2006/relationships/slideMaster" Target="../slideMasters/slideMaster7.xml"/><Relationship Id="rId6" Type="http://schemas.openxmlformats.org/officeDocument/2006/relationships/image" Target="../media/image11.png"/><Relationship Id="rId11" Type="http://schemas.openxmlformats.org/officeDocument/2006/relationships/image" Target="../media/image18.svg"/><Relationship Id="rId5" Type="http://schemas.openxmlformats.org/officeDocument/2006/relationships/image" Target="../media/image12.svg"/><Relationship Id="rId10" Type="http://schemas.openxmlformats.org/officeDocument/2006/relationships/image" Target="../media/image13.png"/><Relationship Id="rId4" Type="http://schemas.openxmlformats.org/officeDocument/2006/relationships/image" Target="../media/image10.png"/><Relationship Id="rId9" Type="http://schemas.openxmlformats.org/officeDocument/2006/relationships/image" Target="../media/image16.sv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hyperlink" Target="mailto:forename.surname@crugroup.com" TargetMode="External"/><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2.jpeg"/><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3.jpeg"/><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4.jpeg"/><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5.jpeg"/><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6.jpeg"/><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8.jpe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9.jpe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0.jpe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1.jpe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2.jpe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3.jpe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4.jpe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5.jpe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6.jpe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7.jpe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8.jpe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0.jpeg"/><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3.jpeg"/><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4.jpe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5.jpe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6.jpeg"/><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7.jpeg"/><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8.jpeg"/><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9.jpeg"/><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0.jpe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1.jpe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2.jpe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3.jpe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4.jpe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5.jpe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6.jpe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7.jpeg"/><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hyperlink" Target="mailto:forename.surname@crugroup.com" TargetMode="Externa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4.png"/><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10.svg"/><Relationship Id="rId7" Type="http://schemas.openxmlformats.org/officeDocument/2006/relationships/image" Target="../media/image14.svg"/><Relationship Id="rId2" Type="http://schemas.openxmlformats.org/officeDocument/2006/relationships/image" Target="../media/image9.png"/><Relationship Id="rId1" Type="http://schemas.openxmlformats.org/officeDocument/2006/relationships/slideMaster" Target="../slideMasters/slideMaster3.xml"/><Relationship Id="rId6" Type="http://schemas.openxmlformats.org/officeDocument/2006/relationships/image" Target="../media/image11.png"/><Relationship Id="rId11" Type="http://schemas.openxmlformats.org/officeDocument/2006/relationships/image" Target="../media/image18.svg"/><Relationship Id="rId5" Type="http://schemas.openxmlformats.org/officeDocument/2006/relationships/image" Target="../media/image12.svg"/><Relationship Id="rId10" Type="http://schemas.openxmlformats.org/officeDocument/2006/relationships/image" Target="../media/image13.png"/><Relationship Id="rId4" Type="http://schemas.openxmlformats.org/officeDocument/2006/relationships/image" Target="../media/image10.png"/><Relationship Id="rId9" Type="http://schemas.openxmlformats.org/officeDocument/2006/relationships/image" Target="../media/image16.sv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mailto:forename.surname@crugroup.com" TargetMode="External"/><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hyperlink" Target="mailto:forename.surname@crugroup.com" TargetMode="Externa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4.png"/><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10.svg"/><Relationship Id="rId7" Type="http://schemas.openxmlformats.org/officeDocument/2006/relationships/image" Target="../media/image14.svg"/><Relationship Id="rId2" Type="http://schemas.openxmlformats.org/officeDocument/2006/relationships/image" Target="../media/image9.png"/><Relationship Id="rId1" Type="http://schemas.openxmlformats.org/officeDocument/2006/relationships/slideMaster" Target="../slideMasters/slideMaster4.xml"/><Relationship Id="rId6" Type="http://schemas.openxmlformats.org/officeDocument/2006/relationships/image" Target="../media/image11.png"/><Relationship Id="rId11" Type="http://schemas.openxmlformats.org/officeDocument/2006/relationships/image" Target="../media/image18.svg"/><Relationship Id="rId5" Type="http://schemas.openxmlformats.org/officeDocument/2006/relationships/image" Target="../media/image12.svg"/><Relationship Id="rId10" Type="http://schemas.openxmlformats.org/officeDocument/2006/relationships/image" Target="../media/image13.png"/><Relationship Id="rId4" Type="http://schemas.openxmlformats.org/officeDocument/2006/relationships/image" Target="../media/image10.png"/><Relationship Id="rId9" Type="http://schemas.openxmlformats.org/officeDocument/2006/relationships/image" Target="../media/image16.sv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hyperlink" Target="mailto:forename.surname@crugroup.com" TargetMode="Externa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hyperlink" Target="mailto:forename.surname@crugroup.com" TargetMode="Externa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4.png"/><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10.svg"/><Relationship Id="rId7" Type="http://schemas.openxmlformats.org/officeDocument/2006/relationships/image" Target="../media/image14.svg"/><Relationship Id="rId2" Type="http://schemas.openxmlformats.org/officeDocument/2006/relationships/image" Target="../media/image9.png"/><Relationship Id="rId1" Type="http://schemas.openxmlformats.org/officeDocument/2006/relationships/slideMaster" Target="../slideMasters/slideMaster5.xml"/><Relationship Id="rId6" Type="http://schemas.openxmlformats.org/officeDocument/2006/relationships/image" Target="../media/image11.png"/><Relationship Id="rId11" Type="http://schemas.openxmlformats.org/officeDocument/2006/relationships/image" Target="../media/image18.svg"/><Relationship Id="rId5" Type="http://schemas.openxmlformats.org/officeDocument/2006/relationships/image" Target="../media/image12.svg"/><Relationship Id="rId10" Type="http://schemas.openxmlformats.org/officeDocument/2006/relationships/image" Target="../media/image13.png"/><Relationship Id="rId4" Type="http://schemas.openxmlformats.org/officeDocument/2006/relationships/image" Target="../media/image10.png"/><Relationship Id="rId9" Type="http://schemas.openxmlformats.org/officeDocument/2006/relationships/image" Target="../media/image16.sv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hyperlink" Target="mailto:forename.surname@crugroup.com" TargetMode="External"/><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hyperlink" Target="mailto:forename.surname@crugroup.com" TargetMode="Externa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8.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4.png"/><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10.svg"/><Relationship Id="rId7" Type="http://schemas.openxmlformats.org/officeDocument/2006/relationships/image" Target="../media/image14.svg"/><Relationship Id="rId2" Type="http://schemas.openxmlformats.org/officeDocument/2006/relationships/image" Target="../media/image9.png"/><Relationship Id="rId1" Type="http://schemas.openxmlformats.org/officeDocument/2006/relationships/slideMaster" Target="../slideMasters/slideMaster6.xml"/><Relationship Id="rId6" Type="http://schemas.openxmlformats.org/officeDocument/2006/relationships/image" Target="../media/image11.png"/><Relationship Id="rId11" Type="http://schemas.openxmlformats.org/officeDocument/2006/relationships/image" Target="../media/image18.svg"/><Relationship Id="rId5" Type="http://schemas.openxmlformats.org/officeDocument/2006/relationships/image" Target="../media/image12.svg"/><Relationship Id="rId10" Type="http://schemas.openxmlformats.org/officeDocument/2006/relationships/image" Target="../media/image13.png"/><Relationship Id="rId4" Type="http://schemas.openxmlformats.org/officeDocument/2006/relationships/image" Target="../media/image10.png"/><Relationship Id="rId9" Type="http://schemas.openxmlformats.org/officeDocument/2006/relationships/image" Target="../media/image16.sv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hyperlink" Target="mailto:forename.surname@crugroup.com" TargetMode="External"/><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8.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hyperlink" Target="mailto:forename.surname@crugroup.com" TargetMode="Externa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8.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4.png"/><Relationship Id="rId5" Type="http://schemas.openxmlformats.org/officeDocument/2006/relationships/image" Target="../media/image4.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p:spTree>
      <p:nvGrpSpPr>
        <p:cNvPr id="1" name=""/>
        <p:cNvGrpSpPr/>
        <p:nvPr/>
      </p:nvGrpSpPr>
      <p:grpSpPr>
        <a:xfrm>
          <a:off x="0" y="0"/>
          <a:ext cx="0" cy="0"/>
          <a:chOff x="0" y="0"/>
          <a:chExt cx="0" cy="0"/>
        </a:xfrm>
      </p:grpSpPr>
      <p:pic>
        <p:nvPicPr>
          <p:cNvPr id="2" name="Picture 1" descr="A blurry image of a purple and pink background&#10;&#10;Description automatically generated">
            <a:extLst>
              <a:ext uri="{FF2B5EF4-FFF2-40B4-BE49-F238E27FC236}">
                <a16:creationId xmlns:a16="http://schemas.microsoft.com/office/drawing/2014/main" id="{7AF4D9B7-3585-F64B-A557-CEE6DA716515}"/>
              </a:ext>
            </a:extLst>
          </p:cNvPr>
          <p:cNvPicPr>
            <a:picLocks noChangeAspect="1"/>
          </p:cNvPicPr>
          <p:nvPr userDrawn="1"/>
        </p:nvPicPr>
        <p:blipFill>
          <a:blip r:embed="rId4"/>
          <a:stretch>
            <a:fillRect/>
          </a:stretch>
        </p:blipFill>
        <p:spPr>
          <a:xfrm>
            <a:off x="0" y="0"/>
            <a:ext cx="12192000" cy="6858000"/>
          </a:xfrm>
          <a:prstGeom prst="rect">
            <a:avLst/>
          </a:prstGeom>
        </p:spPr>
      </p:pic>
      <p:sp>
        <p:nvSpPr>
          <p:cNvPr id="4" name="TextBox 3">
            <a:extLst>
              <a:ext uri="{FF2B5EF4-FFF2-40B4-BE49-F238E27FC236}">
                <a16:creationId xmlns:a16="http://schemas.microsoft.com/office/drawing/2014/main" id="{F7949AB0-A44C-157D-DEEB-ACFC651CE2E6}"/>
              </a:ext>
            </a:extLst>
          </p:cNvPr>
          <p:cNvSpPr txBox="1"/>
          <p:nvPr userDrawn="1"/>
        </p:nvSpPr>
        <p:spPr bwMode="white">
          <a:xfrm>
            <a:off x="838200" y="5818000"/>
            <a:ext cx="3695699" cy="430887"/>
          </a:xfrm>
          <a:prstGeom prst="rect">
            <a:avLst/>
          </a:prstGeom>
          <a:noFill/>
          <a:ln>
            <a:noFill/>
          </a:ln>
        </p:spPr>
        <p:txBody>
          <a:bodyPr wrap="square">
            <a:spAutoFit/>
          </a:bodyPr>
          <a:lstStyle/>
          <a:p>
            <a:r>
              <a:rPr lang="en-GB" sz="1600" b="0" i="0">
                <a:solidFill>
                  <a:schemeClr val="bg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2200" b="0" i="1">
                <a:solidFill>
                  <a:schemeClr val="bg1"/>
                </a:solidFill>
                <a:latin typeface="Garamond" panose="02020404030301010803" pitchFamily="18" charset="0"/>
                <a:ea typeface="Helvetica Neue UltraLight" panose="02000206000000020004" pitchFamily="2" charset="0"/>
              </a:rPr>
              <a:t>expert</a:t>
            </a:r>
            <a:r>
              <a:rPr lang="en-GB" sz="1600" b="0" i="0">
                <a:solidFill>
                  <a:schemeClr val="bg1"/>
                </a:solidFill>
                <a:latin typeface="Helvetica Neue UltraLight" panose="02000206000000020004" pitchFamily="2" charset="0"/>
                <a:ea typeface="Helvetica Neue UltraLight" panose="02000206000000020004" pitchFamily="2" charset="0"/>
              </a:rPr>
              <a:t> </a:t>
            </a:r>
            <a:r>
              <a:rPr lang="en-GB" sz="1600" b="0" i="0">
                <a:solidFill>
                  <a:schemeClr val="bg1"/>
                </a:solidFill>
                <a:latin typeface="Arial" panose="020B0604020202020204" pitchFamily="34" charset="0"/>
                <a:ea typeface="Helvetica Neue Thin" panose="020B0403020202020204" pitchFamily="34" charset="0"/>
                <a:cs typeface="Arial" panose="020B0604020202020204" pitchFamily="34" charset="0"/>
              </a:rPr>
              <a:t>intelligence</a:t>
            </a:r>
          </a:p>
        </p:txBody>
      </p:sp>
      <p:graphicFrame>
        <p:nvGraphicFramePr>
          <p:cNvPr id="5" name="Object 4" hidden="1">
            <a:extLst>
              <a:ext uri="{FF2B5EF4-FFF2-40B4-BE49-F238E27FC236}">
                <a16:creationId xmlns:a16="http://schemas.microsoft.com/office/drawing/2014/main" id="{E581E154-12C6-B32E-8C4E-90F758005B0D}"/>
              </a:ext>
            </a:extLst>
          </p:cNvPr>
          <p:cNvGraphicFramePr>
            <a:graphicFrameLocks noChangeAspect="1"/>
          </p:cNvGraphicFramePr>
          <p:nvPr userDrawn="1">
            <p:custDataLst>
              <p:tags r:id="rId2"/>
            </p:custDataLst>
            <p:extLst>
              <p:ext uri="{D42A27DB-BD31-4B8C-83A1-F6EECF244321}">
                <p14:modId xmlns:p14="http://schemas.microsoft.com/office/powerpoint/2010/main" val="620071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351" imgH="351" progId="TCLayout.ActiveDocument.1">
                  <p:embed/>
                </p:oleObj>
              </mc:Choice>
              <mc:Fallback>
                <p:oleObj name="think-cell Slide" r:id="rId5" imgW="351" imgH="351" progId="TCLayout.ActiveDocument.1">
                  <p:embed/>
                  <p:pic>
                    <p:nvPicPr>
                      <p:cNvPr id="5" name="Object 4" hidden="1">
                        <a:extLst>
                          <a:ext uri="{FF2B5EF4-FFF2-40B4-BE49-F238E27FC236}">
                            <a16:creationId xmlns:a16="http://schemas.microsoft.com/office/drawing/2014/main" id="{E581E154-12C6-B32E-8C4E-90F758005B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descr="A black and white sign with white text&#10;&#10;Description automatically generated">
            <a:extLst>
              <a:ext uri="{FF2B5EF4-FFF2-40B4-BE49-F238E27FC236}">
                <a16:creationId xmlns:a16="http://schemas.microsoft.com/office/drawing/2014/main" id="{B4DC6135-D78B-F4B7-678D-6A580239BCAF}"/>
              </a:ext>
            </a:extLst>
          </p:cNvPr>
          <p:cNvPicPr>
            <a:picLocks noChangeAspect="1"/>
          </p:cNvPicPr>
          <p:nvPr userDrawn="1"/>
        </p:nvPicPr>
        <p:blipFill>
          <a:blip r:embed="rId7"/>
          <a:stretch>
            <a:fillRect/>
          </a:stretch>
        </p:blipFill>
        <p:spPr>
          <a:xfrm>
            <a:off x="838800" y="698421"/>
            <a:ext cx="2880000" cy="1131736"/>
          </a:xfrm>
          <a:prstGeom prst="rect">
            <a:avLst/>
          </a:prstGeom>
        </p:spPr>
      </p:pic>
      <p:sp>
        <p:nvSpPr>
          <p:cNvPr id="8" name="Content Placeholder 6">
            <a:extLst>
              <a:ext uri="{FF2B5EF4-FFF2-40B4-BE49-F238E27FC236}">
                <a16:creationId xmlns:a16="http://schemas.microsoft.com/office/drawing/2014/main" id="{455AD2CB-B084-8E28-5640-64323D8E9FF4}"/>
              </a:ext>
            </a:extLst>
          </p:cNvPr>
          <p:cNvSpPr>
            <a:spLocks noGrp="1"/>
          </p:cNvSpPr>
          <p:nvPr>
            <p:ph sz="quarter" idx="13" hasCustomPrompt="1"/>
          </p:nvPr>
        </p:nvSpPr>
        <p:spPr>
          <a:xfrm>
            <a:off x="1222513" y="3299282"/>
            <a:ext cx="9293087" cy="2097158"/>
          </a:xfrm>
        </p:spPr>
        <p:txBody>
          <a:bodyPr numCol="1" anchor="ctr">
            <a:noAutofit/>
          </a:bodyPr>
          <a:lstStyle>
            <a:lvl1pPr algn="l">
              <a:defRPr sz="2400"/>
            </a:lvl1pPr>
            <a:lvl2pPr algn="ctr">
              <a:defRPr/>
            </a:lvl2pPr>
            <a:lvl3pPr algn="ctr">
              <a:defRPr/>
            </a:lvl3pPr>
            <a:lvl4pPr algn="ctr">
              <a:defRPr/>
            </a:lvl4pPr>
            <a:lvl5pPr algn="ctr">
              <a:defRPr/>
            </a:lvl5pPr>
          </a:lstStyle>
          <a:p>
            <a:pPr lvl="0"/>
            <a:r>
              <a:rPr lang="en-US"/>
              <a:t>“Teaser text</a:t>
            </a:r>
          </a:p>
        </p:txBody>
      </p:sp>
      <p:sp>
        <p:nvSpPr>
          <p:cNvPr id="9" name="Content Placeholder 6">
            <a:extLst>
              <a:ext uri="{FF2B5EF4-FFF2-40B4-BE49-F238E27FC236}">
                <a16:creationId xmlns:a16="http://schemas.microsoft.com/office/drawing/2014/main" id="{355AE26E-015F-BB7D-99A1-C8C566E38C2C}"/>
              </a:ext>
            </a:extLst>
          </p:cNvPr>
          <p:cNvSpPr>
            <a:spLocks noGrp="1"/>
          </p:cNvSpPr>
          <p:nvPr>
            <p:ph sz="quarter" idx="14" hasCustomPrompt="1"/>
          </p:nvPr>
        </p:nvSpPr>
        <p:spPr>
          <a:xfrm>
            <a:off x="1216417" y="2085261"/>
            <a:ext cx="9293087" cy="1021968"/>
          </a:xfrm>
        </p:spPr>
        <p:txBody>
          <a:bodyPr numCol="1" anchor="ctr">
            <a:noAutofit/>
          </a:bodyPr>
          <a:lstStyle>
            <a:lvl1pPr algn="l">
              <a:defRPr sz="4000" b="0"/>
            </a:lvl1pPr>
            <a:lvl2pPr algn="ctr">
              <a:defRPr/>
            </a:lvl2pPr>
            <a:lvl3pPr algn="ctr">
              <a:defRPr/>
            </a:lvl3pPr>
            <a:lvl4pPr algn="ctr">
              <a:defRPr/>
            </a:lvl4pPr>
            <a:lvl5pPr algn="ctr">
              <a:defRPr/>
            </a:lvl5pPr>
          </a:lstStyle>
          <a:p>
            <a:pPr lvl="0"/>
            <a:r>
              <a:rPr lang="en-US"/>
              <a:t>Title slide</a:t>
            </a:r>
          </a:p>
        </p:txBody>
      </p:sp>
      <p:sp>
        <p:nvSpPr>
          <p:cNvPr id="3" name="Content Placeholder 6">
            <a:extLst>
              <a:ext uri="{FF2B5EF4-FFF2-40B4-BE49-F238E27FC236}">
                <a16:creationId xmlns:a16="http://schemas.microsoft.com/office/drawing/2014/main" id="{E3A81E75-17E8-C0EF-A196-4791F57664E3}"/>
              </a:ext>
            </a:extLst>
          </p:cNvPr>
          <p:cNvSpPr>
            <a:spLocks noGrp="1"/>
          </p:cNvSpPr>
          <p:nvPr>
            <p:ph sz="quarter" idx="15" hasCustomPrompt="1"/>
          </p:nvPr>
        </p:nvSpPr>
        <p:spPr>
          <a:xfrm>
            <a:off x="6978316" y="5811247"/>
            <a:ext cx="4650124" cy="499913"/>
          </a:xfrm>
        </p:spPr>
        <p:txBody>
          <a:bodyPr numCol="1" anchor="ctr">
            <a:noAutofit/>
          </a:bodyPr>
          <a:lstStyle>
            <a:lvl1pPr algn="r">
              <a:defRPr sz="1600" b="0"/>
            </a:lvl1pPr>
            <a:lvl2pPr algn="ctr">
              <a:defRPr/>
            </a:lvl2pPr>
            <a:lvl3pPr algn="ctr">
              <a:defRPr/>
            </a:lvl3pPr>
            <a:lvl4pPr algn="ctr">
              <a:defRPr/>
            </a:lvl4pPr>
            <a:lvl5pPr algn="ctr">
              <a:defRPr/>
            </a:lvl5pPr>
          </a:lstStyle>
          <a:p>
            <a:pPr lvl="0"/>
            <a:r>
              <a:rPr lang="en-US"/>
              <a:t>“Add commodity service here”</a:t>
            </a:r>
          </a:p>
        </p:txBody>
      </p:sp>
    </p:spTree>
    <p:extLst>
      <p:ext uri="{BB962C8B-B14F-4D97-AF65-F5344CB8AC3E}">
        <p14:creationId xmlns:p14="http://schemas.microsoft.com/office/powerpoint/2010/main" val="2591591353"/>
      </p:ext>
    </p:extLst>
  </p:cSld>
  <p:clrMapOvr>
    <a:masterClrMapping/>
  </p:clrMapOvr>
  <p:extLst>
    <p:ext uri="{DCECCB84-F9BA-43D5-87BE-67443E8EF086}">
      <p15:sldGuideLst xmlns:p15="http://schemas.microsoft.com/office/powerpoint/2012/main">
        <p15:guide id="1" pos="642">
          <p15:clr>
            <a:srgbClr val="FBAE40"/>
          </p15:clr>
        </p15:guide>
        <p15:guide id="2" pos="7038">
          <p15:clr>
            <a:srgbClr val="FBAE40"/>
          </p15:clr>
        </p15:guide>
        <p15:guide id="3" orient="horz" pos="1139">
          <p15:clr>
            <a:srgbClr val="F26B43"/>
          </p15:clr>
        </p15:guide>
        <p15:guide id="4" orient="horz" pos="3181">
          <p15:clr>
            <a:srgbClr val="FBAE40"/>
          </p15:clr>
        </p15:guide>
        <p15:guide id="5" orient="horz" pos="2205">
          <p15:clr>
            <a:srgbClr val="F26B43"/>
          </p15:clr>
        </p15:guide>
        <p15:guide id="6" orient="horz" pos="2160">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ummary Storybo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399" y="324000"/>
            <a:ext cx="10726579"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3537" y="1258504"/>
            <a:ext cx="2880000" cy="288000"/>
          </a:xfrm>
          <a:noFill/>
        </p:spPr>
        <p:txBody>
          <a:bodyPr lIns="0">
            <a:noAutofit/>
          </a:bodyPr>
          <a:lstStyle>
            <a:lvl1pPr>
              <a:defRPr sz="1300">
                <a:solidFill>
                  <a:schemeClr val="accent6"/>
                </a:solidFill>
              </a:defRPr>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4000" y="1625704"/>
            <a:ext cx="3780000" cy="2124000"/>
          </a:xfrm>
          <a:noFill/>
        </p:spPr>
        <p:txBody>
          <a:bodyPr/>
          <a:lstStyle>
            <a:lvl1pPr algn="ctr">
              <a:defRPr b="0"/>
            </a:lvl1pPr>
            <a:lvl5pPr>
              <a:defRPr/>
            </a:lvl5pPr>
          </a:lstStyle>
          <a:p>
            <a:pPr lvl="0"/>
            <a:r>
              <a:rPr lang="en-US"/>
              <a:t>Insert Char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11365200" cy="215999"/>
          </a:xfrm>
          <a:noFill/>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5" name="Text Placeholder 5">
            <a:extLst>
              <a:ext uri="{FF2B5EF4-FFF2-40B4-BE49-F238E27FC236}">
                <a16:creationId xmlns:a16="http://schemas.microsoft.com/office/drawing/2014/main" id="{D7616806-7E32-D88B-F740-18B7BC6A1ECE}"/>
              </a:ext>
            </a:extLst>
          </p:cNvPr>
          <p:cNvSpPr>
            <a:spLocks noGrp="1"/>
          </p:cNvSpPr>
          <p:nvPr>
            <p:ph type="body" sz="quarter" idx="16"/>
          </p:nvPr>
        </p:nvSpPr>
        <p:spPr>
          <a:xfrm>
            <a:off x="414000" y="3813276"/>
            <a:ext cx="3780000" cy="2124000"/>
          </a:xfrm>
          <a:noFill/>
          <a:effectLst/>
        </p:spPr>
        <p:txBody>
          <a:bodyPr vert="horz" lIns="72000" tIns="72000" rIns="72000" bIns="108000" rtlCol="0" anchor="t" anchorCtr="0">
            <a:noAutofit/>
          </a:bodyPr>
          <a:lstStyle>
            <a:lvl1pPr>
              <a:defRPr lang="en-US" sz="1300"/>
            </a:lvl1pPr>
            <a:lvl2pPr>
              <a:defRPr lang="en-US" sz="1100"/>
            </a:lvl2pPr>
            <a:lvl3pPr>
              <a:defRPr lang="en-US" sz="1100"/>
            </a:lvl3pPr>
            <a:lvl4pPr>
              <a:defRPr lang="en-US" sz="900"/>
            </a:lvl4pPr>
            <a:lvl5pPr>
              <a:defRPr lang="en-US"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41A38980-B6C7-2C12-669B-DF4E926D0985}"/>
              </a:ext>
            </a:extLst>
          </p:cNvPr>
          <p:cNvSpPr>
            <a:spLocks noGrp="1"/>
          </p:cNvSpPr>
          <p:nvPr>
            <p:ph type="body" sz="quarter" idx="18"/>
          </p:nvPr>
        </p:nvSpPr>
        <p:spPr>
          <a:xfrm>
            <a:off x="4212000" y="3813276"/>
            <a:ext cx="3780000" cy="2124000"/>
          </a:xfrm>
          <a:noFill/>
          <a:effectLst/>
        </p:spPr>
        <p:txBody>
          <a:bodyPr vert="horz" lIns="72000" tIns="72000" rIns="72000" bIns="108000" rtlCol="0" anchor="t" anchorCtr="0">
            <a:noAutofit/>
          </a:bodyPr>
          <a:lstStyle>
            <a:lvl1pPr>
              <a:defRPr lang="en-US" sz="1300"/>
            </a:lvl1pPr>
            <a:lvl2pPr>
              <a:defRPr lang="en-US" sz="1100"/>
            </a:lvl2pPr>
            <a:lvl3pPr>
              <a:defRPr lang="en-US" sz="1100"/>
            </a:lvl3pPr>
            <a:lvl4pPr>
              <a:defRPr lang="en-US" sz="900"/>
            </a:lvl4pPr>
            <a:lvl5pPr>
              <a:defRPr lang="en-US"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0F05E3CC-77D8-00D4-3892-43359D3D440D}"/>
              </a:ext>
            </a:extLst>
          </p:cNvPr>
          <p:cNvSpPr>
            <a:spLocks noGrp="1"/>
          </p:cNvSpPr>
          <p:nvPr>
            <p:ph type="body" sz="quarter" idx="20" hasCustomPrompt="1"/>
          </p:nvPr>
        </p:nvSpPr>
        <p:spPr>
          <a:xfrm>
            <a:off x="4212000" y="1258504"/>
            <a:ext cx="2880000" cy="288000"/>
          </a:xfrm>
          <a:noFill/>
        </p:spPr>
        <p:txBody>
          <a:bodyPr lIns="108000">
            <a:noAutofit/>
          </a:bodyPr>
          <a:lstStyle>
            <a:lvl1pPr>
              <a:defRPr sz="1300">
                <a:solidFill>
                  <a:schemeClr val="accent6"/>
                </a:solidFill>
              </a:defRPr>
            </a:lvl1pPr>
          </a:lstStyle>
          <a:p>
            <a:pPr lvl="0"/>
            <a:r>
              <a:rPr lang="en-US"/>
              <a:t>Chart headline</a:t>
            </a:r>
          </a:p>
        </p:txBody>
      </p:sp>
      <p:sp>
        <p:nvSpPr>
          <p:cNvPr id="14" name="Content Placeholder 7">
            <a:extLst>
              <a:ext uri="{FF2B5EF4-FFF2-40B4-BE49-F238E27FC236}">
                <a16:creationId xmlns:a16="http://schemas.microsoft.com/office/drawing/2014/main" id="{CB8F5FCB-FB91-1CC1-0B13-4616C17F6F8D}"/>
              </a:ext>
            </a:extLst>
          </p:cNvPr>
          <p:cNvSpPr>
            <a:spLocks noGrp="1"/>
          </p:cNvSpPr>
          <p:nvPr>
            <p:ph sz="quarter" idx="21" hasCustomPrompt="1"/>
          </p:nvPr>
        </p:nvSpPr>
        <p:spPr>
          <a:xfrm>
            <a:off x="4212000" y="1625704"/>
            <a:ext cx="3780000" cy="2124000"/>
          </a:xfrm>
          <a:noFill/>
        </p:spPr>
        <p:txBody>
          <a:bodyPr/>
          <a:lstStyle>
            <a:lvl1pPr algn="ctr">
              <a:defRPr b="0"/>
            </a:lvl1pPr>
            <a:lvl5pPr>
              <a:defRPr/>
            </a:lvl5pPr>
          </a:lstStyle>
          <a:p>
            <a:pPr lvl="0"/>
            <a:r>
              <a:rPr lang="en-US"/>
              <a:t>Insert Chart</a:t>
            </a:r>
            <a:endParaRPr lang="en-GB"/>
          </a:p>
        </p:txBody>
      </p:sp>
      <p:sp>
        <p:nvSpPr>
          <p:cNvPr id="15" name="Text Placeholder 5">
            <a:extLst>
              <a:ext uri="{FF2B5EF4-FFF2-40B4-BE49-F238E27FC236}">
                <a16:creationId xmlns:a16="http://schemas.microsoft.com/office/drawing/2014/main" id="{AC5DE7FF-9635-D689-F58B-811576F0D013}"/>
              </a:ext>
            </a:extLst>
          </p:cNvPr>
          <p:cNvSpPr>
            <a:spLocks noGrp="1"/>
          </p:cNvSpPr>
          <p:nvPr>
            <p:ph type="body" sz="quarter" idx="22"/>
          </p:nvPr>
        </p:nvSpPr>
        <p:spPr>
          <a:xfrm>
            <a:off x="8010000" y="3813276"/>
            <a:ext cx="3780000" cy="2124000"/>
          </a:xfrm>
          <a:noFill/>
          <a:effectLst/>
        </p:spPr>
        <p:txBody>
          <a:bodyPr vert="horz" lIns="72000" tIns="72000" rIns="72000" bIns="108000" rtlCol="0" anchor="t" anchorCtr="0">
            <a:noAutofit/>
          </a:bodyPr>
          <a:lstStyle>
            <a:lvl1pPr>
              <a:defRPr lang="en-US" sz="1300"/>
            </a:lvl1pPr>
            <a:lvl2pPr>
              <a:defRPr lang="en-US" sz="1100"/>
            </a:lvl2pPr>
            <a:lvl3pPr>
              <a:defRPr lang="en-US" sz="1100"/>
            </a:lvl3pPr>
            <a:lvl4pPr>
              <a:defRPr lang="en-US" sz="900"/>
            </a:lvl4pPr>
            <a:lvl5pPr>
              <a:defRPr lang="en-US"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5">
            <a:extLst>
              <a:ext uri="{FF2B5EF4-FFF2-40B4-BE49-F238E27FC236}">
                <a16:creationId xmlns:a16="http://schemas.microsoft.com/office/drawing/2014/main" id="{82725930-D425-C749-FEC9-D1707FF63950}"/>
              </a:ext>
            </a:extLst>
          </p:cNvPr>
          <p:cNvSpPr>
            <a:spLocks noGrp="1"/>
          </p:cNvSpPr>
          <p:nvPr>
            <p:ph type="body" sz="quarter" idx="24" hasCustomPrompt="1"/>
          </p:nvPr>
        </p:nvSpPr>
        <p:spPr>
          <a:xfrm>
            <a:off x="8010000" y="1258504"/>
            <a:ext cx="2880000" cy="288000"/>
          </a:xfrm>
          <a:noFill/>
        </p:spPr>
        <p:txBody>
          <a:bodyPr lIns="108000">
            <a:noAutofit/>
          </a:bodyPr>
          <a:lstStyle>
            <a:lvl1pPr>
              <a:defRPr sz="1300">
                <a:solidFill>
                  <a:schemeClr val="accent6"/>
                </a:solidFill>
              </a:defRPr>
            </a:lvl1pPr>
          </a:lstStyle>
          <a:p>
            <a:pPr lvl="0"/>
            <a:r>
              <a:rPr lang="en-US"/>
              <a:t>Chart headline</a:t>
            </a:r>
          </a:p>
        </p:txBody>
      </p:sp>
      <p:sp>
        <p:nvSpPr>
          <p:cNvPr id="18" name="Content Placeholder 7">
            <a:extLst>
              <a:ext uri="{FF2B5EF4-FFF2-40B4-BE49-F238E27FC236}">
                <a16:creationId xmlns:a16="http://schemas.microsoft.com/office/drawing/2014/main" id="{ECAB1B5D-539C-8387-B045-BAF0C5698A72}"/>
              </a:ext>
            </a:extLst>
          </p:cNvPr>
          <p:cNvSpPr>
            <a:spLocks noGrp="1"/>
          </p:cNvSpPr>
          <p:nvPr>
            <p:ph sz="quarter" idx="25" hasCustomPrompt="1"/>
          </p:nvPr>
        </p:nvSpPr>
        <p:spPr>
          <a:xfrm>
            <a:off x="8010000" y="1625704"/>
            <a:ext cx="3780000" cy="2124000"/>
          </a:xfrm>
          <a:noFill/>
        </p:spPr>
        <p:txBody>
          <a:bodyPr/>
          <a:lstStyle>
            <a:lvl1pPr algn="ctr">
              <a:defRPr b="0"/>
            </a:lvl1pPr>
            <a:lvl5pPr>
              <a:defRPr/>
            </a:lvl5pPr>
          </a:lstStyle>
          <a:p>
            <a:pPr lvl="0"/>
            <a:r>
              <a:rPr lang="en-US"/>
              <a:t>Insert Chart</a:t>
            </a:r>
            <a:endParaRPr lang="en-GB"/>
          </a:p>
        </p:txBody>
      </p:sp>
      <p:sp>
        <p:nvSpPr>
          <p:cNvPr id="22" name="Rectangle 21">
            <a:extLst>
              <a:ext uri="{FF2B5EF4-FFF2-40B4-BE49-F238E27FC236}">
                <a16:creationId xmlns:a16="http://schemas.microsoft.com/office/drawing/2014/main" id="{45563B50-D90E-1882-F8FA-7DC74D658E94}"/>
              </a:ext>
            </a:extLst>
          </p:cNvPr>
          <p:cNvSpPr/>
          <p:nvPr userDrawn="1"/>
        </p:nvSpPr>
        <p:spPr>
          <a:xfrm>
            <a:off x="88900" y="-1219200"/>
            <a:ext cx="12103100" cy="1117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F3931C8E-0E03-F172-6826-5C40A4AA1778}"/>
              </a:ext>
            </a:extLst>
          </p:cNvPr>
          <p:cNvSpPr txBox="1"/>
          <p:nvPr userDrawn="1"/>
        </p:nvSpPr>
        <p:spPr>
          <a:xfrm>
            <a:off x="6810500" y="-1066047"/>
            <a:ext cx="2283961" cy="738664"/>
          </a:xfrm>
          <a:prstGeom prst="rect">
            <a:avLst/>
          </a:prstGeom>
          <a:noFill/>
        </p:spPr>
        <p:txBody>
          <a:bodyPr wrap="square" rtlCol="0">
            <a:spAutoFit/>
          </a:bodyPr>
          <a:lstStyle/>
          <a:p>
            <a:r>
              <a:rPr lang="en-GB" sz="1050">
                <a:solidFill>
                  <a:schemeClr val="tx1">
                    <a:lumMod val="50000"/>
                  </a:schemeClr>
                </a:solidFill>
                <a:latin typeface="Arial" panose="020B0604020202020204" pitchFamily="34" charset="0"/>
                <a:cs typeface="Arial" panose="020B0604020202020204" pitchFamily="34" charset="0"/>
              </a:rPr>
              <a:t>Indicator of affect on price </a:t>
            </a:r>
          </a:p>
          <a:p>
            <a:r>
              <a:rPr lang="en-GB" sz="1050">
                <a:solidFill>
                  <a:schemeClr val="tx1">
                    <a:lumMod val="50000"/>
                  </a:schemeClr>
                </a:solidFill>
                <a:latin typeface="Arial" panose="020B0604020202020204" pitchFamily="34" charset="0"/>
                <a:cs typeface="Arial" panose="020B0604020202020204" pitchFamily="34" charset="0"/>
              </a:rPr>
              <a:t>Bull = upwards price pressure</a:t>
            </a:r>
          </a:p>
          <a:p>
            <a:r>
              <a:rPr lang="en-GB" sz="1050">
                <a:solidFill>
                  <a:schemeClr val="tx1">
                    <a:lumMod val="50000"/>
                  </a:schemeClr>
                </a:solidFill>
                <a:latin typeface="Arial" panose="020B0604020202020204" pitchFamily="34" charset="0"/>
                <a:cs typeface="Arial" panose="020B0604020202020204" pitchFamily="34" charset="0"/>
              </a:rPr>
              <a:t>Bear = downwards price pressure</a:t>
            </a:r>
          </a:p>
          <a:p>
            <a:r>
              <a:rPr lang="en-GB" sz="1050">
                <a:solidFill>
                  <a:schemeClr val="tx1">
                    <a:lumMod val="50000"/>
                  </a:schemeClr>
                </a:solidFill>
                <a:latin typeface="Arial" panose="020B0604020202020204" pitchFamily="34" charset="0"/>
                <a:cs typeface="Arial" panose="020B0604020202020204" pitchFamily="34" charset="0"/>
              </a:rPr>
              <a:t>Neutral = no impact</a:t>
            </a:r>
          </a:p>
        </p:txBody>
      </p:sp>
      <p:sp>
        <p:nvSpPr>
          <p:cNvPr id="24" name="TextBox 23">
            <a:extLst>
              <a:ext uri="{FF2B5EF4-FFF2-40B4-BE49-F238E27FC236}">
                <a16:creationId xmlns:a16="http://schemas.microsoft.com/office/drawing/2014/main" id="{AEA4DC3E-B20E-9C10-189C-BC076F996C84}"/>
              </a:ext>
            </a:extLst>
          </p:cNvPr>
          <p:cNvSpPr txBox="1"/>
          <p:nvPr userDrawn="1"/>
        </p:nvSpPr>
        <p:spPr>
          <a:xfrm>
            <a:off x="266700" y="-973225"/>
            <a:ext cx="6794500" cy="353943"/>
          </a:xfrm>
          <a:prstGeom prst="rect">
            <a:avLst/>
          </a:prstGeom>
          <a:noFill/>
        </p:spPr>
        <p:txBody>
          <a:bodyPr wrap="square" rtlCol="0">
            <a:spAutoFit/>
          </a:bodyPr>
          <a:lstStyle/>
          <a:p>
            <a:r>
              <a:rPr lang="en-GB">
                <a:latin typeface="Arial" panose="020B0604020202020204" pitchFamily="34" charset="0"/>
                <a:cs typeface="Arial" panose="020B0604020202020204" pitchFamily="34" charset="0"/>
              </a:rPr>
              <a:t>Storyboard Layout</a:t>
            </a:r>
          </a:p>
        </p:txBody>
      </p:sp>
      <p:sp>
        <p:nvSpPr>
          <p:cNvPr id="38" name="TextBox 37">
            <a:extLst>
              <a:ext uri="{FF2B5EF4-FFF2-40B4-BE49-F238E27FC236}">
                <a16:creationId xmlns:a16="http://schemas.microsoft.com/office/drawing/2014/main" id="{87E90881-766D-DD44-2F07-687FEE2958DB}"/>
              </a:ext>
            </a:extLst>
          </p:cNvPr>
          <p:cNvSpPr txBox="1"/>
          <p:nvPr userDrawn="1"/>
        </p:nvSpPr>
        <p:spPr>
          <a:xfrm>
            <a:off x="2295556" y="-1024164"/>
            <a:ext cx="2283961" cy="577081"/>
          </a:xfrm>
          <a:prstGeom prst="rect">
            <a:avLst/>
          </a:prstGeom>
          <a:noFill/>
        </p:spPr>
        <p:txBody>
          <a:bodyPr wrap="square" rtlCol="0">
            <a:spAutoFit/>
          </a:bodyPr>
          <a:lstStyle/>
          <a:p>
            <a:r>
              <a:rPr lang="en-GB" sz="1050">
                <a:solidFill>
                  <a:schemeClr val="tx1">
                    <a:lumMod val="50000"/>
                  </a:schemeClr>
                </a:solidFill>
                <a:latin typeface="Arial" panose="020B0604020202020204" pitchFamily="34" charset="0"/>
                <a:cs typeface="Arial" panose="020B0604020202020204" pitchFamily="34" charset="0"/>
              </a:rPr>
              <a:t>Every market outlook needs a storyboard containing a minimum of 7 charts and accompanying text</a:t>
            </a:r>
          </a:p>
        </p:txBody>
      </p:sp>
      <p:sp>
        <p:nvSpPr>
          <p:cNvPr id="39" name="TextBox 38">
            <a:extLst>
              <a:ext uri="{FF2B5EF4-FFF2-40B4-BE49-F238E27FC236}">
                <a16:creationId xmlns:a16="http://schemas.microsoft.com/office/drawing/2014/main" id="{DC3003EA-CCC7-CF54-8D1E-915B6001C670}"/>
              </a:ext>
            </a:extLst>
          </p:cNvPr>
          <p:cNvSpPr txBox="1"/>
          <p:nvPr userDrawn="1"/>
        </p:nvSpPr>
        <p:spPr>
          <a:xfrm>
            <a:off x="4492822" y="-1024164"/>
            <a:ext cx="2283961" cy="738664"/>
          </a:xfrm>
          <a:prstGeom prst="rect">
            <a:avLst/>
          </a:prstGeom>
          <a:noFill/>
        </p:spPr>
        <p:txBody>
          <a:bodyPr wrap="square" rtlCol="0">
            <a:spAutoFit/>
          </a:bodyPr>
          <a:lstStyle/>
          <a:p>
            <a:r>
              <a:rPr lang="en-GB" sz="1050">
                <a:solidFill>
                  <a:schemeClr val="tx1">
                    <a:lumMod val="50000"/>
                  </a:schemeClr>
                </a:solidFill>
                <a:latin typeface="Arial" panose="020B0604020202020204" pitchFamily="34" charset="0"/>
                <a:cs typeface="Arial" panose="020B0604020202020204" pitchFamily="34" charset="0"/>
              </a:rPr>
              <a:t>Place the icons in the box to indicate whether the story element is positive, negative or neutral for commodity prices </a:t>
            </a:r>
          </a:p>
        </p:txBody>
      </p:sp>
      <p:cxnSp>
        <p:nvCxnSpPr>
          <p:cNvPr id="7" name="Straight Connector 6">
            <a:extLst>
              <a:ext uri="{FF2B5EF4-FFF2-40B4-BE49-F238E27FC236}">
                <a16:creationId xmlns:a16="http://schemas.microsoft.com/office/drawing/2014/main" id="{975CDD6E-035F-9465-32D7-99297026358F}"/>
              </a:ext>
            </a:extLst>
          </p:cNvPr>
          <p:cNvCxnSpPr>
            <a:cxnSpLocks/>
          </p:cNvCxnSpPr>
          <p:nvPr userDrawn="1"/>
        </p:nvCxnSpPr>
        <p:spPr>
          <a:xfrm>
            <a:off x="4194000" y="4001234"/>
            <a:ext cx="7937" cy="183600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0" name="Straight Connector 9">
            <a:extLst>
              <a:ext uri="{FF2B5EF4-FFF2-40B4-BE49-F238E27FC236}">
                <a16:creationId xmlns:a16="http://schemas.microsoft.com/office/drawing/2014/main" id="{2A904D48-4B83-5BF3-D639-51D8FAB1FCCD}"/>
              </a:ext>
            </a:extLst>
          </p:cNvPr>
          <p:cNvCxnSpPr>
            <a:cxnSpLocks/>
          </p:cNvCxnSpPr>
          <p:nvPr userDrawn="1"/>
        </p:nvCxnSpPr>
        <p:spPr>
          <a:xfrm>
            <a:off x="7995444" y="4001234"/>
            <a:ext cx="7937" cy="183600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1" name="Straight Connector 10">
            <a:extLst>
              <a:ext uri="{FF2B5EF4-FFF2-40B4-BE49-F238E27FC236}">
                <a16:creationId xmlns:a16="http://schemas.microsoft.com/office/drawing/2014/main" id="{03F1CA78-3547-5512-F36A-2F1EEF65A0E0}"/>
              </a:ext>
            </a:extLst>
          </p:cNvPr>
          <p:cNvCxnSpPr>
            <a:cxnSpLocks/>
          </p:cNvCxnSpPr>
          <p:nvPr userDrawn="1"/>
        </p:nvCxnSpPr>
        <p:spPr>
          <a:xfrm>
            <a:off x="4194000" y="1822040"/>
            <a:ext cx="7937" cy="183600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6" name="Straight Connector 15">
            <a:extLst>
              <a:ext uri="{FF2B5EF4-FFF2-40B4-BE49-F238E27FC236}">
                <a16:creationId xmlns:a16="http://schemas.microsoft.com/office/drawing/2014/main" id="{7561E445-AB46-12BB-71E4-C5DB6124E6E7}"/>
              </a:ext>
            </a:extLst>
          </p:cNvPr>
          <p:cNvCxnSpPr>
            <a:cxnSpLocks/>
          </p:cNvCxnSpPr>
          <p:nvPr userDrawn="1"/>
        </p:nvCxnSpPr>
        <p:spPr>
          <a:xfrm>
            <a:off x="7995444" y="1822040"/>
            <a:ext cx="7937" cy="183600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40" name="Straight Connector 39">
            <a:extLst>
              <a:ext uri="{FF2B5EF4-FFF2-40B4-BE49-F238E27FC236}">
                <a16:creationId xmlns:a16="http://schemas.microsoft.com/office/drawing/2014/main" id="{278D58A8-BE28-DE7D-6C5A-A9A83475BCC9}"/>
              </a:ext>
            </a:extLst>
          </p:cNvPr>
          <p:cNvCxnSpPr>
            <a:cxnSpLocks/>
          </p:cNvCxnSpPr>
          <p:nvPr userDrawn="1"/>
        </p:nvCxnSpPr>
        <p:spPr>
          <a:xfrm>
            <a:off x="684000" y="3792781"/>
            <a:ext cx="3251413" cy="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41" name="Straight Connector 40">
            <a:extLst>
              <a:ext uri="{FF2B5EF4-FFF2-40B4-BE49-F238E27FC236}">
                <a16:creationId xmlns:a16="http://schemas.microsoft.com/office/drawing/2014/main" id="{5B27A369-CAEB-07CB-E8C4-BB5EE7BE8F47}"/>
              </a:ext>
            </a:extLst>
          </p:cNvPr>
          <p:cNvCxnSpPr>
            <a:cxnSpLocks/>
          </p:cNvCxnSpPr>
          <p:nvPr userDrawn="1"/>
        </p:nvCxnSpPr>
        <p:spPr>
          <a:xfrm>
            <a:off x="4464843" y="3792781"/>
            <a:ext cx="3251413" cy="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42" name="Straight Connector 41">
            <a:extLst>
              <a:ext uri="{FF2B5EF4-FFF2-40B4-BE49-F238E27FC236}">
                <a16:creationId xmlns:a16="http://schemas.microsoft.com/office/drawing/2014/main" id="{6F2B0CF4-4040-2F53-E5C0-3C48211F50AF}"/>
              </a:ext>
            </a:extLst>
          </p:cNvPr>
          <p:cNvCxnSpPr>
            <a:cxnSpLocks/>
          </p:cNvCxnSpPr>
          <p:nvPr userDrawn="1"/>
        </p:nvCxnSpPr>
        <p:spPr>
          <a:xfrm>
            <a:off x="8245262" y="3792781"/>
            <a:ext cx="3251413" cy="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sp>
        <p:nvSpPr>
          <p:cNvPr id="51" name="Footer Placeholder 4">
            <a:extLst>
              <a:ext uri="{FF2B5EF4-FFF2-40B4-BE49-F238E27FC236}">
                <a16:creationId xmlns:a16="http://schemas.microsoft.com/office/drawing/2014/main" id="{9EED9D5D-61AA-43F0-8E93-270B5258C413}"/>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grpSp>
        <p:nvGrpSpPr>
          <p:cNvPr id="3" name="Group 2">
            <a:extLst>
              <a:ext uri="{FF2B5EF4-FFF2-40B4-BE49-F238E27FC236}">
                <a16:creationId xmlns:a16="http://schemas.microsoft.com/office/drawing/2014/main" id="{D85ED702-2E01-0292-0257-7EB238295F44}"/>
              </a:ext>
            </a:extLst>
          </p:cNvPr>
          <p:cNvGrpSpPr/>
          <p:nvPr userDrawn="1"/>
        </p:nvGrpSpPr>
        <p:grpSpPr>
          <a:xfrm>
            <a:off x="8562465" y="-591805"/>
            <a:ext cx="476662" cy="396518"/>
            <a:chOff x="3669046" y="963053"/>
            <a:chExt cx="476662" cy="396518"/>
          </a:xfrm>
        </p:grpSpPr>
        <p:pic>
          <p:nvPicPr>
            <p:cNvPr id="4" name="Content Placeholder 38" descr="Bull with solid fill">
              <a:extLst>
                <a:ext uri="{FF2B5EF4-FFF2-40B4-BE49-F238E27FC236}">
                  <a16:creationId xmlns:a16="http://schemas.microsoft.com/office/drawing/2014/main" id="{C8A0E015-C714-B8F8-C589-37F6A36219C7}"/>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a:stretch/>
          </p:blipFill>
          <p:spPr>
            <a:xfrm>
              <a:off x="3832454" y="963053"/>
              <a:ext cx="313253" cy="313253"/>
            </a:xfrm>
            <a:prstGeom prst="rect">
              <a:avLst/>
            </a:prstGeom>
          </p:spPr>
        </p:pic>
        <p:sp>
          <p:nvSpPr>
            <p:cNvPr id="25" name="TextBox 24">
              <a:extLst>
                <a:ext uri="{FF2B5EF4-FFF2-40B4-BE49-F238E27FC236}">
                  <a16:creationId xmlns:a16="http://schemas.microsoft.com/office/drawing/2014/main" id="{921C8E5E-4E3A-14C6-0DE7-D0EB4251B05E}"/>
                </a:ext>
              </a:extLst>
            </p:cNvPr>
            <p:cNvSpPr txBox="1"/>
            <p:nvPr/>
          </p:nvSpPr>
          <p:spPr>
            <a:xfrm>
              <a:off x="3746560" y="1197988"/>
              <a:ext cx="399148" cy="161583"/>
            </a:xfrm>
            <a:prstGeom prst="rect">
              <a:avLst/>
            </a:prstGeom>
            <a:noFill/>
          </p:spPr>
          <p:txBody>
            <a:bodyPr wrap="none" lIns="0" tIns="0" rIns="0" bIns="0" rtlCol="0">
              <a:spAutoFit/>
            </a:bodyPr>
            <a:lstStyle/>
            <a:p>
              <a:pPr algn="r"/>
              <a:r>
                <a:rPr lang="en-GB" sz="1050">
                  <a:solidFill>
                    <a:schemeClr val="accent3">
                      <a:lumMod val="50000"/>
                    </a:schemeClr>
                  </a:solidFill>
                  <a:latin typeface="Arial" panose="020B0604020202020204" pitchFamily="34" charset="0"/>
                  <a:cs typeface="Arial" panose="020B0604020202020204" pitchFamily="34" charset="0"/>
                </a:rPr>
                <a:t>Bullish</a:t>
              </a:r>
            </a:p>
          </p:txBody>
        </p:sp>
        <p:pic>
          <p:nvPicPr>
            <p:cNvPr id="26" name="Content Placeholder 38" descr="Arrow Up with solid fill">
              <a:extLst>
                <a:ext uri="{FF2B5EF4-FFF2-40B4-BE49-F238E27FC236}">
                  <a16:creationId xmlns:a16="http://schemas.microsoft.com/office/drawing/2014/main" id="{F58400BE-4DED-E57D-062E-33D0741F5083}"/>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rcRect/>
            <a:stretch/>
          </p:blipFill>
          <p:spPr>
            <a:xfrm>
              <a:off x="3669046" y="1013013"/>
              <a:ext cx="216000" cy="184975"/>
            </a:xfrm>
            <a:prstGeom prst="rect">
              <a:avLst/>
            </a:prstGeom>
          </p:spPr>
        </p:pic>
      </p:grpSp>
      <p:grpSp>
        <p:nvGrpSpPr>
          <p:cNvPr id="27" name="Group 26">
            <a:extLst>
              <a:ext uri="{FF2B5EF4-FFF2-40B4-BE49-F238E27FC236}">
                <a16:creationId xmlns:a16="http://schemas.microsoft.com/office/drawing/2014/main" id="{6F1650D9-5286-575F-B4F1-8057E980F2DC}"/>
              </a:ext>
            </a:extLst>
          </p:cNvPr>
          <p:cNvGrpSpPr/>
          <p:nvPr userDrawn="1"/>
        </p:nvGrpSpPr>
        <p:grpSpPr>
          <a:xfrm>
            <a:off x="9408606" y="-591805"/>
            <a:ext cx="491542" cy="419533"/>
            <a:chOff x="7440115" y="940038"/>
            <a:chExt cx="491542" cy="419533"/>
          </a:xfrm>
        </p:grpSpPr>
        <p:sp>
          <p:nvSpPr>
            <p:cNvPr id="28" name="TextBox 27">
              <a:extLst>
                <a:ext uri="{FF2B5EF4-FFF2-40B4-BE49-F238E27FC236}">
                  <a16:creationId xmlns:a16="http://schemas.microsoft.com/office/drawing/2014/main" id="{C52A125A-97AC-7979-A1BD-D3C7314EFF2B}"/>
                </a:ext>
              </a:extLst>
            </p:cNvPr>
            <p:cNvSpPr txBox="1"/>
            <p:nvPr/>
          </p:nvSpPr>
          <p:spPr>
            <a:xfrm>
              <a:off x="7453712" y="1197988"/>
              <a:ext cx="458460" cy="161583"/>
            </a:xfrm>
            <a:prstGeom prst="rect">
              <a:avLst/>
            </a:prstGeom>
            <a:noFill/>
          </p:spPr>
          <p:txBody>
            <a:bodyPr wrap="none" lIns="0" tIns="0" rIns="0" bIns="0" rtlCol="0">
              <a:spAutoFit/>
            </a:bodyPr>
            <a:lstStyle/>
            <a:p>
              <a:pPr algn="r"/>
              <a:r>
                <a:rPr lang="en-GB" sz="1050">
                  <a:solidFill>
                    <a:schemeClr val="accent3">
                      <a:lumMod val="50000"/>
                    </a:schemeClr>
                  </a:solidFill>
                  <a:latin typeface="Arial" panose="020B0604020202020204" pitchFamily="34" charset="0"/>
                  <a:cs typeface="Arial" panose="020B0604020202020204" pitchFamily="34" charset="0"/>
                </a:rPr>
                <a:t>Bearish</a:t>
              </a:r>
            </a:p>
          </p:txBody>
        </p:sp>
        <p:pic>
          <p:nvPicPr>
            <p:cNvPr id="29" name="Content Placeholder 38" descr="Bear with solid fill">
              <a:extLst>
                <a:ext uri="{FF2B5EF4-FFF2-40B4-BE49-F238E27FC236}">
                  <a16:creationId xmlns:a16="http://schemas.microsoft.com/office/drawing/2014/main" id="{0EABBDE0-EB37-F885-8358-06A13F1782E5}"/>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rcRect/>
            <a:stretch/>
          </p:blipFill>
          <p:spPr>
            <a:xfrm>
              <a:off x="7440115" y="940038"/>
              <a:ext cx="313253" cy="313253"/>
            </a:xfrm>
            <a:prstGeom prst="rect">
              <a:avLst/>
            </a:prstGeom>
          </p:spPr>
        </p:pic>
        <p:pic>
          <p:nvPicPr>
            <p:cNvPr id="30" name="Content Placeholder 38" descr="Arrow Up with solid fill">
              <a:extLst>
                <a:ext uri="{FF2B5EF4-FFF2-40B4-BE49-F238E27FC236}">
                  <a16:creationId xmlns:a16="http://schemas.microsoft.com/office/drawing/2014/main" id="{E7912A7D-82DD-A2B6-6FF9-65D37818D9B9}"/>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rcRect/>
            <a:stretch/>
          </p:blipFill>
          <p:spPr>
            <a:xfrm flipV="1">
              <a:off x="7715657" y="1023855"/>
              <a:ext cx="216000" cy="189806"/>
            </a:xfrm>
            <a:prstGeom prst="rect">
              <a:avLst/>
            </a:prstGeom>
          </p:spPr>
        </p:pic>
      </p:grpSp>
      <p:grpSp>
        <p:nvGrpSpPr>
          <p:cNvPr id="31" name="Group 30">
            <a:extLst>
              <a:ext uri="{FF2B5EF4-FFF2-40B4-BE49-F238E27FC236}">
                <a16:creationId xmlns:a16="http://schemas.microsoft.com/office/drawing/2014/main" id="{21CDC61F-7AE9-0C7C-14DC-F17BDBEB15CE}"/>
              </a:ext>
            </a:extLst>
          </p:cNvPr>
          <p:cNvGrpSpPr/>
          <p:nvPr userDrawn="1"/>
        </p:nvGrpSpPr>
        <p:grpSpPr>
          <a:xfrm>
            <a:off x="10269627" y="-591805"/>
            <a:ext cx="436017" cy="392882"/>
            <a:chOff x="11020076" y="979202"/>
            <a:chExt cx="436017" cy="392882"/>
          </a:xfrm>
        </p:grpSpPr>
        <p:sp>
          <p:nvSpPr>
            <p:cNvPr id="32" name="TextBox 31">
              <a:extLst>
                <a:ext uri="{FF2B5EF4-FFF2-40B4-BE49-F238E27FC236}">
                  <a16:creationId xmlns:a16="http://schemas.microsoft.com/office/drawing/2014/main" id="{61C11229-B5CB-A6E9-193F-950E21BC54E9}"/>
                </a:ext>
              </a:extLst>
            </p:cNvPr>
            <p:cNvSpPr txBox="1"/>
            <p:nvPr/>
          </p:nvSpPr>
          <p:spPr>
            <a:xfrm>
              <a:off x="11020076" y="1210501"/>
              <a:ext cx="436017" cy="161583"/>
            </a:xfrm>
            <a:prstGeom prst="rect">
              <a:avLst/>
            </a:prstGeom>
            <a:noFill/>
          </p:spPr>
          <p:txBody>
            <a:bodyPr wrap="none" lIns="0" tIns="0" rIns="0" bIns="0" rtlCol="0">
              <a:spAutoFit/>
            </a:bodyPr>
            <a:lstStyle/>
            <a:p>
              <a:pPr algn="r"/>
              <a:r>
                <a:rPr lang="en-GB" sz="1050">
                  <a:solidFill>
                    <a:schemeClr val="accent3">
                      <a:lumMod val="50000"/>
                    </a:schemeClr>
                  </a:solidFill>
                  <a:latin typeface="Arial" panose="020B0604020202020204" pitchFamily="34" charset="0"/>
                  <a:cs typeface="Arial" panose="020B0604020202020204" pitchFamily="34" charset="0"/>
                </a:rPr>
                <a:t>Neutral</a:t>
              </a:r>
            </a:p>
          </p:txBody>
        </p:sp>
        <p:grpSp>
          <p:nvGrpSpPr>
            <p:cNvPr id="33" name="Group 32">
              <a:extLst>
                <a:ext uri="{FF2B5EF4-FFF2-40B4-BE49-F238E27FC236}">
                  <a16:creationId xmlns:a16="http://schemas.microsoft.com/office/drawing/2014/main" id="{AF0E90F9-CDF7-CD38-2D1E-8FD10336347F}"/>
                </a:ext>
              </a:extLst>
            </p:cNvPr>
            <p:cNvGrpSpPr>
              <a:grpSpLocks noChangeAspect="1"/>
            </p:cNvGrpSpPr>
            <p:nvPr/>
          </p:nvGrpSpPr>
          <p:grpSpPr>
            <a:xfrm>
              <a:off x="11069401" y="979202"/>
              <a:ext cx="342268" cy="313200"/>
              <a:chOff x="11075627" y="402317"/>
              <a:chExt cx="525527" cy="480895"/>
            </a:xfrm>
          </p:grpSpPr>
          <p:pic>
            <p:nvPicPr>
              <p:cNvPr id="34" name="Graphic 33" descr="Arrow: Straight with solid fill">
                <a:extLst>
                  <a:ext uri="{FF2B5EF4-FFF2-40B4-BE49-F238E27FC236}">
                    <a16:creationId xmlns:a16="http://schemas.microsoft.com/office/drawing/2014/main" id="{4C1244AE-797B-5568-4F9E-5B7E06AA1C67}"/>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rot="10800000">
                <a:off x="11183549" y="402317"/>
                <a:ext cx="417605" cy="410138"/>
              </a:xfrm>
              <a:prstGeom prst="rect">
                <a:avLst/>
              </a:prstGeom>
            </p:spPr>
          </p:pic>
          <p:pic>
            <p:nvPicPr>
              <p:cNvPr id="35" name="Graphic 34" descr="Arrow: Straight with solid fill">
                <a:extLst>
                  <a:ext uri="{FF2B5EF4-FFF2-40B4-BE49-F238E27FC236}">
                    <a16:creationId xmlns:a16="http://schemas.microsoft.com/office/drawing/2014/main" id="{0F45D3BF-B50C-8122-7E35-B1267DF1D2B2}"/>
                  </a:ext>
                </a:extLst>
              </p:cNvPr>
              <p:cNvPicPr>
                <a:picLocks noChangeAspect="1"/>
              </p:cNvPicPr>
              <p:nvPr userDrawn="1"/>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11075627" y="473074"/>
                <a:ext cx="417605" cy="410138"/>
              </a:xfrm>
              <a:prstGeom prst="rect">
                <a:avLst/>
              </a:prstGeom>
            </p:spPr>
          </p:pic>
        </p:grpSp>
      </p:grpSp>
    </p:spTree>
    <p:extLst>
      <p:ext uri="{BB962C8B-B14F-4D97-AF65-F5344CB8AC3E}">
        <p14:creationId xmlns:p14="http://schemas.microsoft.com/office/powerpoint/2010/main" val="3262324916"/>
      </p:ext>
    </p:extLst>
  </p:cSld>
  <p:clrMapOvr>
    <a:masterClrMapping/>
  </p:clrMapOvr>
  <p:extLst>
    <p:ext uri="{DCECCB84-F9BA-43D5-87BE-67443E8EF086}">
      <p15:sldGuideLst xmlns:p15="http://schemas.microsoft.com/office/powerpoint/2012/main">
        <p15:guide id="1" pos="551">
          <p15:clr>
            <a:srgbClr val="5ACBF0"/>
          </p15:clr>
        </p15:guide>
        <p15:guide id="2" pos="2479">
          <p15:clr>
            <a:srgbClr val="5ACBF0"/>
          </p15:clr>
        </p15:guide>
        <p15:guide id="3" pos="2955">
          <p15:clr>
            <a:srgbClr val="5ACBF0"/>
          </p15:clr>
        </p15:guide>
        <p15:guide id="4" pos="4861">
          <p15:clr>
            <a:srgbClr val="5ACBF0"/>
          </p15:clr>
        </p15:guide>
        <p15:guide id="5" pos="7242">
          <p15:clr>
            <a:srgbClr val="5ACBF0"/>
          </p15:clr>
        </p15:guide>
        <p15:guide id="6" pos="5337">
          <p15:clr>
            <a:srgbClr val="5ACBF0"/>
          </p15:clr>
        </p15:guide>
        <p15:guide id="7" orient="horz" pos="1094">
          <p15:clr>
            <a:srgbClr val="5ACBF0"/>
          </p15:clr>
        </p15:guide>
        <p15:guide id="8" orient="horz" pos="1933">
          <p15:clr>
            <a:srgbClr val="5ACBF0"/>
          </p15:clr>
        </p15:guide>
        <p15:guide id="9" orient="horz" pos="799">
          <p15:clr>
            <a:srgbClr val="F26B43"/>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 Content + Text Summ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399" y="324000"/>
            <a:ext cx="10714547"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2750" y="1259992"/>
            <a:ext cx="5683250" cy="288000"/>
          </a:xfrm>
          <a:noFill/>
        </p:spPr>
        <p:txBody>
          <a:bodyPr lIns="0">
            <a:noAutofit/>
          </a:bodyPr>
          <a:lstStyle>
            <a:lvl1pPr>
              <a:defRPr sz="1300">
                <a:solidFill>
                  <a:schemeClr val="accent6"/>
                </a:solidFill>
              </a:defRPr>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2750" y="1624192"/>
            <a:ext cx="5683250" cy="4284000"/>
          </a:xfrm>
          <a:noFill/>
        </p:spPr>
        <p:txBody>
          <a:bodyPr/>
          <a:lstStyle>
            <a:lvl1pPr algn="ctr">
              <a:defRPr b="0"/>
            </a:lvl1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p:nvPr>
        </p:nvSpPr>
        <p:spPr>
          <a:xfrm>
            <a:off x="6223000" y="1258504"/>
            <a:ext cx="5555461" cy="4927600"/>
          </a:xfrm>
          <a:noFill/>
        </p:spPr>
        <p:txBody>
          <a:bodyPr lIns="252000" tIns="252000" rIns="252000" bIns="252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5683250" cy="215999"/>
          </a:xfrm>
          <a:noFill/>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16" name="Footer Placeholder 4">
            <a:extLst>
              <a:ext uri="{FF2B5EF4-FFF2-40B4-BE49-F238E27FC236}">
                <a16:creationId xmlns:a16="http://schemas.microsoft.com/office/drawing/2014/main" id="{7BA15D20-E912-9A43-DF16-3BEC7804E12F}"/>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Battery Value Chain Outlook</a:t>
            </a:r>
            <a:endParaRPr lang="en-GB"/>
          </a:p>
        </p:txBody>
      </p:sp>
    </p:spTree>
    <p:extLst>
      <p:ext uri="{BB962C8B-B14F-4D97-AF65-F5344CB8AC3E}">
        <p14:creationId xmlns:p14="http://schemas.microsoft.com/office/powerpoint/2010/main" val="1851567241"/>
      </p:ext>
    </p:extLst>
  </p:cSld>
  <p:clrMapOvr>
    <a:masterClrMapping/>
  </p:clrMapOvr>
  <p:extLst>
    <p:ext uri="{DCECCB84-F9BA-43D5-87BE-67443E8EF086}">
      <p15:sldGuideLst xmlns:p15="http://schemas.microsoft.com/office/powerpoint/2012/main">
        <p15:guide id="1" orient="horz" pos="1344">
          <p15:clr>
            <a:srgbClr val="5ACBF0"/>
          </p15:clr>
        </p15:guide>
        <p15:guide id="2" orient="horz" pos="3249">
          <p15:clr>
            <a:srgbClr val="5ACBF0"/>
          </p15:clr>
        </p15:guide>
        <p15:guide id="3" pos="3613">
          <p15:clr>
            <a:srgbClr val="5ACBF0"/>
          </p15:clr>
        </p15:guide>
        <p15:guide id="4" pos="710">
          <p15:clr>
            <a:srgbClr val="5ACBF0"/>
          </p15:clr>
        </p15:guide>
        <p15:guide id="5" orient="horz" pos="913">
          <p15:clr>
            <a:srgbClr val="F26B43"/>
          </p15:clr>
        </p15:guide>
        <p15:guide id="6" orient="horz" pos="3702">
          <p15:clr>
            <a:srgbClr val="F26B43"/>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 Content + Text Summ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702516"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3538" y="1258504"/>
            <a:ext cx="5683250" cy="288000"/>
          </a:xfrm>
          <a:noFill/>
        </p:spPr>
        <p:txBody>
          <a:bodyPr lIns="0">
            <a:noAutofit/>
          </a:bodyPr>
          <a:lstStyle>
            <a:lvl1pPr>
              <a:defRPr sz="1300">
                <a:solidFill>
                  <a:schemeClr val="accent6"/>
                </a:solidFill>
              </a:defRPr>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2749" y="1605156"/>
            <a:ext cx="5683250" cy="1980000"/>
          </a:xfrm>
          <a:noFill/>
        </p:spPr>
        <p:txBody>
          <a:bodyPr/>
          <a:lstStyle>
            <a:lvl1pPr algn="ctr">
              <a:defRPr b="0"/>
            </a:lvl1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p:nvPr>
        </p:nvSpPr>
        <p:spPr>
          <a:xfrm>
            <a:off x="6223000" y="1258504"/>
            <a:ext cx="5555461" cy="4928400"/>
          </a:xfrm>
          <a:noFill/>
          <a:effectLst/>
        </p:spPr>
        <p:txBody>
          <a:bodyPr vert="horz" lIns="252000" tIns="252000" rIns="252000" bIns="252000" rtlCol="0" anchor="ctr" anchorCtr="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5683250" cy="215999"/>
          </a:xfrm>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5" name="Text Placeholder 5">
            <a:extLst>
              <a:ext uri="{FF2B5EF4-FFF2-40B4-BE49-F238E27FC236}">
                <a16:creationId xmlns:a16="http://schemas.microsoft.com/office/drawing/2014/main" id="{6F3DB6FA-17D2-4D4B-9C68-7E57F40924D2}"/>
              </a:ext>
            </a:extLst>
          </p:cNvPr>
          <p:cNvSpPr>
            <a:spLocks noGrp="1"/>
          </p:cNvSpPr>
          <p:nvPr>
            <p:ph type="body" sz="quarter" idx="16" hasCustomPrompt="1"/>
          </p:nvPr>
        </p:nvSpPr>
        <p:spPr>
          <a:xfrm>
            <a:off x="412749" y="3645967"/>
            <a:ext cx="5683250" cy="288000"/>
          </a:xfrm>
          <a:noFill/>
        </p:spPr>
        <p:txBody>
          <a:bodyPr lIns="0">
            <a:noAutofit/>
          </a:bodyPr>
          <a:lstStyle>
            <a:lvl1pPr>
              <a:defRPr sz="1300">
                <a:solidFill>
                  <a:schemeClr val="accent6"/>
                </a:solidFill>
              </a:defRPr>
            </a:lvl1pPr>
          </a:lstStyle>
          <a:p>
            <a:pPr lvl="0"/>
            <a:r>
              <a:rPr lang="en-US"/>
              <a:t>Chart headline</a:t>
            </a:r>
          </a:p>
        </p:txBody>
      </p:sp>
      <p:sp>
        <p:nvSpPr>
          <p:cNvPr id="7" name="Content Placeholder 7">
            <a:extLst>
              <a:ext uri="{FF2B5EF4-FFF2-40B4-BE49-F238E27FC236}">
                <a16:creationId xmlns:a16="http://schemas.microsoft.com/office/drawing/2014/main" id="{C08AD70F-27D9-726E-A182-BA90022F5C6A}"/>
              </a:ext>
            </a:extLst>
          </p:cNvPr>
          <p:cNvSpPr>
            <a:spLocks noGrp="1"/>
          </p:cNvSpPr>
          <p:nvPr>
            <p:ph sz="quarter" idx="17" hasCustomPrompt="1"/>
          </p:nvPr>
        </p:nvSpPr>
        <p:spPr>
          <a:xfrm>
            <a:off x="412749" y="3977822"/>
            <a:ext cx="5683250" cy="1980000"/>
          </a:xfrm>
          <a:noFill/>
        </p:spPr>
        <p:txBody>
          <a:bodyPr/>
          <a:lstStyle>
            <a:lvl1pPr algn="ctr">
              <a:defRPr b="0"/>
            </a:lvl1pPr>
          </a:lstStyle>
          <a:p>
            <a:pPr lvl="0"/>
            <a:r>
              <a:rPr lang="en-US"/>
              <a:t>Insert Chart</a:t>
            </a:r>
            <a:endParaRPr lang="en-GB"/>
          </a:p>
        </p:txBody>
      </p:sp>
      <p:cxnSp>
        <p:nvCxnSpPr>
          <p:cNvPr id="14" name="Straight Connector 13">
            <a:extLst>
              <a:ext uri="{FF2B5EF4-FFF2-40B4-BE49-F238E27FC236}">
                <a16:creationId xmlns:a16="http://schemas.microsoft.com/office/drawing/2014/main" id="{99F03CBC-84CD-B420-8B01-8709221EF2D7}"/>
              </a:ext>
            </a:extLst>
          </p:cNvPr>
          <p:cNvCxnSpPr>
            <a:cxnSpLocks/>
          </p:cNvCxnSpPr>
          <p:nvPr userDrawn="1"/>
        </p:nvCxnSpPr>
        <p:spPr>
          <a:xfrm>
            <a:off x="2702950" y="6356350"/>
            <a:ext cx="1274379" cy="0"/>
          </a:xfrm>
          <a:prstGeom prst="line">
            <a:avLst/>
          </a:prstGeom>
          <a:ln w="6350">
            <a:no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F1FF571E-5F0D-6DE5-BAFA-37F40C5DB574}"/>
              </a:ext>
            </a:extLst>
          </p:cNvPr>
          <p:cNvCxnSpPr>
            <a:cxnSpLocks/>
          </p:cNvCxnSpPr>
          <p:nvPr userDrawn="1"/>
        </p:nvCxnSpPr>
        <p:spPr>
          <a:xfrm>
            <a:off x="5488473" y="6356350"/>
            <a:ext cx="1274379" cy="0"/>
          </a:xfrm>
          <a:prstGeom prst="line">
            <a:avLst/>
          </a:prstGeom>
          <a:ln w="6350">
            <a:no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6B2BEF9B-0C61-8243-085B-A71234DBE5AB}"/>
              </a:ext>
            </a:extLst>
          </p:cNvPr>
          <p:cNvCxnSpPr>
            <a:cxnSpLocks/>
          </p:cNvCxnSpPr>
          <p:nvPr userDrawn="1"/>
        </p:nvCxnSpPr>
        <p:spPr>
          <a:xfrm>
            <a:off x="7411982" y="6356350"/>
            <a:ext cx="1274379" cy="0"/>
          </a:xfrm>
          <a:prstGeom prst="line">
            <a:avLst/>
          </a:prstGeom>
          <a:ln w="6350">
            <a:noFill/>
          </a:ln>
        </p:spPr>
        <p:style>
          <a:lnRef idx="2">
            <a:schemeClr val="accent1"/>
          </a:lnRef>
          <a:fillRef idx="0">
            <a:schemeClr val="accent1"/>
          </a:fillRef>
          <a:effectRef idx="1">
            <a:schemeClr val="accent1"/>
          </a:effectRef>
          <a:fontRef idx="minor">
            <a:schemeClr val="tx1"/>
          </a:fontRef>
        </p:style>
      </p:cxnSp>
      <p:sp>
        <p:nvSpPr>
          <p:cNvPr id="18" name="Footer Placeholder 4">
            <a:extLst>
              <a:ext uri="{FF2B5EF4-FFF2-40B4-BE49-F238E27FC236}">
                <a16:creationId xmlns:a16="http://schemas.microsoft.com/office/drawing/2014/main" id="{52E70746-9160-C39A-1872-2ACD9DAB8314}"/>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Battery Value Chain Outlook</a:t>
            </a:r>
            <a:endParaRPr lang="en-GB"/>
          </a:p>
        </p:txBody>
      </p:sp>
    </p:spTree>
    <p:extLst>
      <p:ext uri="{BB962C8B-B14F-4D97-AF65-F5344CB8AC3E}">
        <p14:creationId xmlns:p14="http://schemas.microsoft.com/office/powerpoint/2010/main" val="1937632728"/>
      </p:ext>
    </p:extLst>
  </p:cSld>
  <p:clrMapOvr>
    <a:masterClrMapping/>
  </p:clrMapOvr>
  <p:extLst>
    <p:ext uri="{DCECCB84-F9BA-43D5-87BE-67443E8EF086}">
      <p15:sldGuideLst xmlns:p15="http://schemas.microsoft.com/office/powerpoint/2012/main">
        <p15:guide id="1" pos="665">
          <p15:clr>
            <a:srgbClr val="5ACBF0"/>
          </p15:clr>
        </p15:guide>
        <p15:guide id="2" pos="3613">
          <p15:clr>
            <a:srgbClr val="5ACBF0"/>
          </p15:clr>
        </p15:guide>
        <p15:guide id="3" orient="horz" pos="1094">
          <p15:clr>
            <a:srgbClr val="5ACBF0"/>
          </p15:clr>
        </p15:guide>
        <p15:guide id="4" orient="horz" pos="1933">
          <p15:clr>
            <a:srgbClr val="5ACBF0"/>
          </p15:clr>
        </p15:guide>
        <p15:guide id="5" orient="horz" pos="3543">
          <p15:clr>
            <a:srgbClr val="5ACBF0"/>
          </p15:clr>
        </p15:guide>
        <p15:guide id="6" orient="horz" pos="2659">
          <p15:clr>
            <a:srgbClr val="5ACBF0"/>
          </p15:clr>
        </p15:guide>
        <p15:guide id="7" orient="horz" pos="799">
          <p15:clr>
            <a:srgbClr val="F26B43"/>
          </p15:clr>
        </p15:guide>
        <p15:guide id="8" orient="horz" pos="2387">
          <p15:clr>
            <a:srgbClr val="F26B43"/>
          </p15:clr>
        </p15:guide>
        <p15:guide id="9" orient="horz" pos="3770">
          <p15:clr>
            <a:srgbClr val="F26B43"/>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ummary Storybo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399" y="324000"/>
            <a:ext cx="10726579"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3537" y="1258504"/>
            <a:ext cx="2880000" cy="288000"/>
          </a:xfrm>
          <a:noFill/>
        </p:spPr>
        <p:txBody>
          <a:bodyPr lIns="0">
            <a:noAutofit/>
          </a:bodyPr>
          <a:lstStyle>
            <a:lvl1pPr>
              <a:defRPr sz="1300">
                <a:solidFill>
                  <a:schemeClr val="accent6"/>
                </a:solidFill>
              </a:defRPr>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4000" y="1625704"/>
            <a:ext cx="3780000" cy="2124000"/>
          </a:xfrm>
          <a:noFill/>
        </p:spPr>
        <p:txBody>
          <a:bodyPr/>
          <a:lstStyle>
            <a:lvl1pPr algn="ctr">
              <a:defRPr b="0"/>
            </a:lvl1pPr>
            <a:lvl5pPr>
              <a:defRPr/>
            </a:lvl5pPr>
          </a:lstStyle>
          <a:p>
            <a:pPr lvl="0"/>
            <a:r>
              <a:rPr lang="en-US"/>
              <a:t>Insert Char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11365200" cy="215999"/>
          </a:xfrm>
          <a:noFill/>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5" name="Text Placeholder 5">
            <a:extLst>
              <a:ext uri="{FF2B5EF4-FFF2-40B4-BE49-F238E27FC236}">
                <a16:creationId xmlns:a16="http://schemas.microsoft.com/office/drawing/2014/main" id="{D7616806-7E32-D88B-F740-18B7BC6A1ECE}"/>
              </a:ext>
            </a:extLst>
          </p:cNvPr>
          <p:cNvSpPr>
            <a:spLocks noGrp="1"/>
          </p:cNvSpPr>
          <p:nvPr>
            <p:ph type="body" sz="quarter" idx="16"/>
          </p:nvPr>
        </p:nvSpPr>
        <p:spPr>
          <a:xfrm>
            <a:off x="414000" y="3813276"/>
            <a:ext cx="3780000" cy="2124000"/>
          </a:xfrm>
          <a:noFill/>
          <a:effectLst/>
        </p:spPr>
        <p:txBody>
          <a:bodyPr vert="horz" lIns="72000" tIns="72000" rIns="72000" bIns="108000" rtlCol="0" anchor="t" anchorCtr="0">
            <a:noAutofit/>
          </a:bodyPr>
          <a:lstStyle>
            <a:lvl1pPr>
              <a:defRPr lang="en-US" sz="1300"/>
            </a:lvl1pPr>
            <a:lvl2pPr>
              <a:defRPr lang="en-US" sz="1100"/>
            </a:lvl2pPr>
            <a:lvl3pPr>
              <a:defRPr lang="en-US" sz="1100"/>
            </a:lvl3pPr>
            <a:lvl4pPr>
              <a:defRPr lang="en-US" sz="900"/>
            </a:lvl4pPr>
            <a:lvl5pPr>
              <a:defRPr lang="en-US"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41A38980-B6C7-2C12-669B-DF4E926D0985}"/>
              </a:ext>
            </a:extLst>
          </p:cNvPr>
          <p:cNvSpPr>
            <a:spLocks noGrp="1"/>
          </p:cNvSpPr>
          <p:nvPr>
            <p:ph type="body" sz="quarter" idx="18"/>
          </p:nvPr>
        </p:nvSpPr>
        <p:spPr>
          <a:xfrm>
            <a:off x="4212000" y="3813276"/>
            <a:ext cx="3780000" cy="2124000"/>
          </a:xfrm>
          <a:noFill/>
          <a:effectLst/>
        </p:spPr>
        <p:txBody>
          <a:bodyPr vert="horz" lIns="72000" tIns="72000" rIns="72000" bIns="108000" rtlCol="0" anchor="t" anchorCtr="0">
            <a:noAutofit/>
          </a:bodyPr>
          <a:lstStyle>
            <a:lvl1pPr>
              <a:defRPr lang="en-US" sz="1300"/>
            </a:lvl1pPr>
            <a:lvl2pPr>
              <a:defRPr lang="en-US" sz="1100"/>
            </a:lvl2pPr>
            <a:lvl3pPr>
              <a:defRPr lang="en-US" sz="1100"/>
            </a:lvl3pPr>
            <a:lvl4pPr>
              <a:defRPr lang="en-US" sz="900"/>
            </a:lvl4pPr>
            <a:lvl5pPr>
              <a:defRPr lang="en-US"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0F05E3CC-77D8-00D4-3892-43359D3D440D}"/>
              </a:ext>
            </a:extLst>
          </p:cNvPr>
          <p:cNvSpPr>
            <a:spLocks noGrp="1"/>
          </p:cNvSpPr>
          <p:nvPr>
            <p:ph type="body" sz="quarter" idx="20" hasCustomPrompt="1"/>
          </p:nvPr>
        </p:nvSpPr>
        <p:spPr>
          <a:xfrm>
            <a:off x="4212000" y="1258504"/>
            <a:ext cx="2880000" cy="288000"/>
          </a:xfrm>
          <a:noFill/>
        </p:spPr>
        <p:txBody>
          <a:bodyPr lIns="108000">
            <a:noAutofit/>
          </a:bodyPr>
          <a:lstStyle>
            <a:lvl1pPr>
              <a:defRPr sz="1300">
                <a:solidFill>
                  <a:schemeClr val="accent6"/>
                </a:solidFill>
              </a:defRPr>
            </a:lvl1pPr>
          </a:lstStyle>
          <a:p>
            <a:pPr lvl="0"/>
            <a:r>
              <a:rPr lang="en-US"/>
              <a:t>Chart headline</a:t>
            </a:r>
          </a:p>
        </p:txBody>
      </p:sp>
      <p:sp>
        <p:nvSpPr>
          <p:cNvPr id="14" name="Content Placeholder 7">
            <a:extLst>
              <a:ext uri="{FF2B5EF4-FFF2-40B4-BE49-F238E27FC236}">
                <a16:creationId xmlns:a16="http://schemas.microsoft.com/office/drawing/2014/main" id="{CB8F5FCB-FB91-1CC1-0B13-4616C17F6F8D}"/>
              </a:ext>
            </a:extLst>
          </p:cNvPr>
          <p:cNvSpPr>
            <a:spLocks noGrp="1"/>
          </p:cNvSpPr>
          <p:nvPr>
            <p:ph sz="quarter" idx="21" hasCustomPrompt="1"/>
          </p:nvPr>
        </p:nvSpPr>
        <p:spPr>
          <a:xfrm>
            <a:off x="4212000" y="1625704"/>
            <a:ext cx="3780000" cy="2124000"/>
          </a:xfrm>
          <a:noFill/>
        </p:spPr>
        <p:txBody>
          <a:bodyPr/>
          <a:lstStyle>
            <a:lvl1pPr algn="ctr">
              <a:defRPr b="0"/>
            </a:lvl1pPr>
            <a:lvl5pPr>
              <a:defRPr/>
            </a:lvl5pPr>
          </a:lstStyle>
          <a:p>
            <a:pPr lvl="0"/>
            <a:r>
              <a:rPr lang="en-US"/>
              <a:t>Insert Chart</a:t>
            </a:r>
            <a:endParaRPr lang="en-GB"/>
          </a:p>
        </p:txBody>
      </p:sp>
      <p:sp>
        <p:nvSpPr>
          <p:cNvPr id="15" name="Text Placeholder 5">
            <a:extLst>
              <a:ext uri="{FF2B5EF4-FFF2-40B4-BE49-F238E27FC236}">
                <a16:creationId xmlns:a16="http://schemas.microsoft.com/office/drawing/2014/main" id="{AC5DE7FF-9635-D689-F58B-811576F0D013}"/>
              </a:ext>
            </a:extLst>
          </p:cNvPr>
          <p:cNvSpPr>
            <a:spLocks noGrp="1"/>
          </p:cNvSpPr>
          <p:nvPr>
            <p:ph type="body" sz="quarter" idx="22"/>
          </p:nvPr>
        </p:nvSpPr>
        <p:spPr>
          <a:xfrm>
            <a:off x="8010000" y="3813276"/>
            <a:ext cx="3780000" cy="2124000"/>
          </a:xfrm>
          <a:noFill/>
          <a:effectLst/>
        </p:spPr>
        <p:txBody>
          <a:bodyPr vert="horz" lIns="72000" tIns="72000" rIns="72000" bIns="108000" rtlCol="0" anchor="t" anchorCtr="0">
            <a:noAutofit/>
          </a:bodyPr>
          <a:lstStyle>
            <a:lvl1pPr>
              <a:defRPr lang="en-US" sz="1300"/>
            </a:lvl1pPr>
            <a:lvl2pPr>
              <a:defRPr lang="en-US" sz="1100"/>
            </a:lvl2pPr>
            <a:lvl3pPr>
              <a:defRPr lang="en-US" sz="1100"/>
            </a:lvl3pPr>
            <a:lvl4pPr>
              <a:defRPr lang="en-US" sz="900"/>
            </a:lvl4pPr>
            <a:lvl5pPr>
              <a:defRPr lang="en-US"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5">
            <a:extLst>
              <a:ext uri="{FF2B5EF4-FFF2-40B4-BE49-F238E27FC236}">
                <a16:creationId xmlns:a16="http://schemas.microsoft.com/office/drawing/2014/main" id="{82725930-D425-C749-FEC9-D1707FF63950}"/>
              </a:ext>
            </a:extLst>
          </p:cNvPr>
          <p:cNvSpPr>
            <a:spLocks noGrp="1"/>
          </p:cNvSpPr>
          <p:nvPr>
            <p:ph type="body" sz="quarter" idx="24" hasCustomPrompt="1"/>
          </p:nvPr>
        </p:nvSpPr>
        <p:spPr>
          <a:xfrm>
            <a:off x="8010000" y="1258504"/>
            <a:ext cx="2880000" cy="288000"/>
          </a:xfrm>
          <a:noFill/>
        </p:spPr>
        <p:txBody>
          <a:bodyPr lIns="108000">
            <a:noAutofit/>
          </a:bodyPr>
          <a:lstStyle>
            <a:lvl1pPr>
              <a:defRPr sz="1300">
                <a:solidFill>
                  <a:schemeClr val="accent6"/>
                </a:solidFill>
              </a:defRPr>
            </a:lvl1pPr>
          </a:lstStyle>
          <a:p>
            <a:pPr lvl="0"/>
            <a:r>
              <a:rPr lang="en-US"/>
              <a:t>Chart headline</a:t>
            </a:r>
          </a:p>
        </p:txBody>
      </p:sp>
      <p:sp>
        <p:nvSpPr>
          <p:cNvPr id="18" name="Content Placeholder 7">
            <a:extLst>
              <a:ext uri="{FF2B5EF4-FFF2-40B4-BE49-F238E27FC236}">
                <a16:creationId xmlns:a16="http://schemas.microsoft.com/office/drawing/2014/main" id="{ECAB1B5D-539C-8387-B045-BAF0C5698A72}"/>
              </a:ext>
            </a:extLst>
          </p:cNvPr>
          <p:cNvSpPr>
            <a:spLocks noGrp="1"/>
          </p:cNvSpPr>
          <p:nvPr>
            <p:ph sz="quarter" idx="25" hasCustomPrompt="1"/>
          </p:nvPr>
        </p:nvSpPr>
        <p:spPr>
          <a:xfrm>
            <a:off x="8010000" y="1625704"/>
            <a:ext cx="3780000" cy="2124000"/>
          </a:xfrm>
          <a:noFill/>
        </p:spPr>
        <p:txBody>
          <a:bodyPr/>
          <a:lstStyle>
            <a:lvl1pPr algn="ctr">
              <a:defRPr b="0"/>
            </a:lvl1pPr>
            <a:lvl5pPr>
              <a:defRPr/>
            </a:lvl5pPr>
          </a:lstStyle>
          <a:p>
            <a:pPr lvl="0"/>
            <a:r>
              <a:rPr lang="en-US"/>
              <a:t>Insert Chart</a:t>
            </a:r>
            <a:endParaRPr lang="en-GB"/>
          </a:p>
        </p:txBody>
      </p:sp>
      <p:sp>
        <p:nvSpPr>
          <p:cNvPr id="22" name="Rectangle 21">
            <a:extLst>
              <a:ext uri="{FF2B5EF4-FFF2-40B4-BE49-F238E27FC236}">
                <a16:creationId xmlns:a16="http://schemas.microsoft.com/office/drawing/2014/main" id="{45563B50-D90E-1882-F8FA-7DC74D658E94}"/>
              </a:ext>
            </a:extLst>
          </p:cNvPr>
          <p:cNvSpPr/>
          <p:nvPr userDrawn="1"/>
        </p:nvSpPr>
        <p:spPr>
          <a:xfrm>
            <a:off x="88900" y="-1219200"/>
            <a:ext cx="12103100" cy="1117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F3931C8E-0E03-F172-6826-5C40A4AA1778}"/>
              </a:ext>
            </a:extLst>
          </p:cNvPr>
          <p:cNvSpPr txBox="1"/>
          <p:nvPr userDrawn="1"/>
        </p:nvSpPr>
        <p:spPr>
          <a:xfrm>
            <a:off x="6810500" y="-1066047"/>
            <a:ext cx="2283961" cy="738664"/>
          </a:xfrm>
          <a:prstGeom prst="rect">
            <a:avLst/>
          </a:prstGeom>
          <a:noFill/>
        </p:spPr>
        <p:txBody>
          <a:bodyPr wrap="square" rtlCol="0">
            <a:spAutoFit/>
          </a:bodyPr>
          <a:lstStyle/>
          <a:p>
            <a:r>
              <a:rPr lang="en-GB" sz="1050">
                <a:solidFill>
                  <a:schemeClr val="tx1">
                    <a:lumMod val="50000"/>
                  </a:schemeClr>
                </a:solidFill>
                <a:latin typeface="Arial" panose="020B0604020202020204" pitchFamily="34" charset="0"/>
                <a:cs typeface="Arial" panose="020B0604020202020204" pitchFamily="34" charset="0"/>
              </a:rPr>
              <a:t>Indicator of affect on price </a:t>
            </a:r>
          </a:p>
          <a:p>
            <a:r>
              <a:rPr lang="en-GB" sz="1050">
                <a:solidFill>
                  <a:schemeClr val="tx1">
                    <a:lumMod val="50000"/>
                  </a:schemeClr>
                </a:solidFill>
                <a:latin typeface="Arial" panose="020B0604020202020204" pitchFamily="34" charset="0"/>
                <a:cs typeface="Arial" panose="020B0604020202020204" pitchFamily="34" charset="0"/>
              </a:rPr>
              <a:t>Bull = upwards price pressure</a:t>
            </a:r>
          </a:p>
          <a:p>
            <a:r>
              <a:rPr lang="en-GB" sz="1050">
                <a:solidFill>
                  <a:schemeClr val="tx1">
                    <a:lumMod val="50000"/>
                  </a:schemeClr>
                </a:solidFill>
                <a:latin typeface="Arial" panose="020B0604020202020204" pitchFamily="34" charset="0"/>
                <a:cs typeface="Arial" panose="020B0604020202020204" pitchFamily="34" charset="0"/>
              </a:rPr>
              <a:t>Bear = downwards price pressure</a:t>
            </a:r>
          </a:p>
          <a:p>
            <a:r>
              <a:rPr lang="en-GB" sz="1050">
                <a:solidFill>
                  <a:schemeClr val="tx1">
                    <a:lumMod val="50000"/>
                  </a:schemeClr>
                </a:solidFill>
                <a:latin typeface="Arial" panose="020B0604020202020204" pitchFamily="34" charset="0"/>
                <a:cs typeface="Arial" panose="020B0604020202020204" pitchFamily="34" charset="0"/>
              </a:rPr>
              <a:t>Neutral = no impact</a:t>
            </a:r>
          </a:p>
        </p:txBody>
      </p:sp>
      <p:sp>
        <p:nvSpPr>
          <p:cNvPr id="24" name="TextBox 23">
            <a:extLst>
              <a:ext uri="{FF2B5EF4-FFF2-40B4-BE49-F238E27FC236}">
                <a16:creationId xmlns:a16="http://schemas.microsoft.com/office/drawing/2014/main" id="{AEA4DC3E-B20E-9C10-189C-BC076F996C84}"/>
              </a:ext>
            </a:extLst>
          </p:cNvPr>
          <p:cNvSpPr txBox="1"/>
          <p:nvPr userDrawn="1"/>
        </p:nvSpPr>
        <p:spPr>
          <a:xfrm>
            <a:off x="266700" y="-973225"/>
            <a:ext cx="6794500" cy="353943"/>
          </a:xfrm>
          <a:prstGeom prst="rect">
            <a:avLst/>
          </a:prstGeom>
          <a:noFill/>
        </p:spPr>
        <p:txBody>
          <a:bodyPr wrap="square" rtlCol="0">
            <a:spAutoFit/>
          </a:bodyPr>
          <a:lstStyle/>
          <a:p>
            <a:r>
              <a:rPr lang="en-GB">
                <a:latin typeface="Arial" panose="020B0604020202020204" pitchFamily="34" charset="0"/>
                <a:cs typeface="Arial" panose="020B0604020202020204" pitchFamily="34" charset="0"/>
              </a:rPr>
              <a:t>Storyboard Layout</a:t>
            </a:r>
          </a:p>
        </p:txBody>
      </p:sp>
      <p:sp>
        <p:nvSpPr>
          <p:cNvPr id="38" name="TextBox 37">
            <a:extLst>
              <a:ext uri="{FF2B5EF4-FFF2-40B4-BE49-F238E27FC236}">
                <a16:creationId xmlns:a16="http://schemas.microsoft.com/office/drawing/2014/main" id="{87E90881-766D-DD44-2F07-687FEE2958DB}"/>
              </a:ext>
            </a:extLst>
          </p:cNvPr>
          <p:cNvSpPr txBox="1"/>
          <p:nvPr userDrawn="1"/>
        </p:nvSpPr>
        <p:spPr>
          <a:xfrm>
            <a:off x="2295556" y="-1024164"/>
            <a:ext cx="2283961" cy="577081"/>
          </a:xfrm>
          <a:prstGeom prst="rect">
            <a:avLst/>
          </a:prstGeom>
          <a:noFill/>
        </p:spPr>
        <p:txBody>
          <a:bodyPr wrap="square" rtlCol="0">
            <a:spAutoFit/>
          </a:bodyPr>
          <a:lstStyle/>
          <a:p>
            <a:r>
              <a:rPr lang="en-GB" sz="1050">
                <a:solidFill>
                  <a:schemeClr val="tx1">
                    <a:lumMod val="50000"/>
                  </a:schemeClr>
                </a:solidFill>
                <a:latin typeface="Arial" panose="020B0604020202020204" pitchFamily="34" charset="0"/>
                <a:cs typeface="Arial" panose="020B0604020202020204" pitchFamily="34" charset="0"/>
              </a:rPr>
              <a:t>Every market outlook needs a storyboard containing a minimum of 7 charts and accompanying text</a:t>
            </a:r>
          </a:p>
        </p:txBody>
      </p:sp>
      <p:sp>
        <p:nvSpPr>
          <p:cNvPr id="39" name="TextBox 38">
            <a:extLst>
              <a:ext uri="{FF2B5EF4-FFF2-40B4-BE49-F238E27FC236}">
                <a16:creationId xmlns:a16="http://schemas.microsoft.com/office/drawing/2014/main" id="{DC3003EA-CCC7-CF54-8D1E-915B6001C670}"/>
              </a:ext>
            </a:extLst>
          </p:cNvPr>
          <p:cNvSpPr txBox="1"/>
          <p:nvPr userDrawn="1"/>
        </p:nvSpPr>
        <p:spPr>
          <a:xfrm>
            <a:off x="4492822" y="-1024164"/>
            <a:ext cx="2283961" cy="738664"/>
          </a:xfrm>
          <a:prstGeom prst="rect">
            <a:avLst/>
          </a:prstGeom>
          <a:noFill/>
        </p:spPr>
        <p:txBody>
          <a:bodyPr wrap="square" rtlCol="0">
            <a:spAutoFit/>
          </a:bodyPr>
          <a:lstStyle/>
          <a:p>
            <a:r>
              <a:rPr lang="en-GB" sz="1050">
                <a:solidFill>
                  <a:schemeClr val="tx1">
                    <a:lumMod val="50000"/>
                  </a:schemeClr>
                </a:solidFill>
                <a:latin typeface="Arial" panose="020B0604020202020204" pitchFamily="34" charset="0"/>
                <a:cs typeface="Arial" panose="020B0604020202020204" pitchFamily="34" charset="0"/>
              </a:rPr>
              <a:t>Place the icons in the box to indicate whether the story element is positive, negative or neutral for commodity prices </a:t>
            </a:r>
          </a:p>
        </p:txBody>
      </p:sp>
      <p:cxnSp>
        <p:nvCxnSpPr>
          <p:cNvPr id="7" name="Straight Connector 6">
            <a:extLst>
              <a:ext uri="{FF2B5EF4-FFF2-40B4-BE49-F238E27FC236}">
                <a16:creationId xmlns:a16="http://schemas.microsoft.com/office/drawing/2014/main" id="{975CDD6E-035F-9465-32D7-99297026358F}"/>
              </a:ext>
            </a:extLst>
          </p:cNvPr>
          <p:cNvCxnSpPr>
            <a:cxnSpLocks/>
          </p:cNvCxnSpPr>
          <p:nvPr userDrawn="1"/>
        </p:nvCxnSpPr>
        <p:spPr>
          <a:xfrm>
            <a:off x="4194000" y="4001234"/>
            <a:ext cx="7937" cy="183600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0" name="Straight Connector 9">
            <a:extLst>
              <a:ext uri="{FF2B5EF4-FFF2-40B4-BE49-F238E27FC236}">
                <a16:creationId xmlns:a16="http://schemas.microsoft.com/office/drawing/2014/main" id="{2A904D48-4B83-5BF3-D639-51D8FAB1FCCD}"/>
              </a:ext>
            </a:extLst>
          </p:cNvPr>
          <p:cNvCxnSpPr>
            <a:cxnSpLocks/>
          </p:cNvCxnSpPr>
          <p:nvPr userDrawn="1"/>
        </p:nvCxnSpPr>
        <p:spPr>
          <a:xfrm>
            <a:off x="7995444" y="4001234"/>
            <a:ext cx="7937" cy="183600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1" name="Straight Connector 10">
            <a:extLst>
              <a:ext uri="{FF2B5EF4-FFF2-40B4-BE49-F238E27FC236}">
                <a16:creationId xmlns:a16="http://schemas.microsoft.com/office/drawing/2014/main" id="{03F1CA78-3547-5512-F36A-2F1EEF65A0E0}"/>
              </a:ext>
            </a:extLst>
          </p:cNvPr>
          <p:cNvCxnSpPr>
            <a:cxnSpLocks/>
          </p:cNvCxnSpPr>
          <p:nvPr userDrawn="1"/>
        </p:nvCxnSpPr>
        <p:spPr>
          <a:xfrm>
            <a:off x="4194000" y="1822040"/>
            <a:ext cx="7937" cy="183600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6" name="Straight Connector 15">
            <a:extLst>
              <a:ext uri="{FF2B5EF4-FFF2-40B4-BE49-F238E27FC236}">
                <a16:creationId xmlns:a16="http://schemas.microsoft.com/office/drawing/2014/main" id="{7561E445-AB46-12BB-71E4-C5DB6124E6E7}"/>
              </a:ext>
            </a:extLst>
          </p:cNvPr>
          <p:cNvCxnSpPr>
            <a:cxnSpLocks/>
          </p:cNvCxnSpPr>
          <p:nvPr userDrawn="1"/>
        </p:nvCxnSpPr>
        <p:spPr>
          <a:xfrm>
            <a:off x="7995444" y="1822040"/>
            <a:ext cx="7937" cy="183600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40" name="Straight Connector 39">
            <a:extLst>
              <a:ext uri="{FF2B5EF4-FFF2-40B4-BE49-F238E27FC236}">
                <a16:creationId xmlns:a16="http://schemas.microsoft.com/office/drawing/2014/main" id="{278D58A8-BE28-DE7D-6C5A-A9A83475BCC9}"/>
              </a:ext>
            </a:extLst>
          </p:cNvPr>
          <p:cNvCxnSpPr>
            <a:cxnSpLocks/>
          </p:cNvCxnSpPr>
          <p:nvPr userDrawn="1"/>
        </p:nvCxnSpPr>
        <p:spPr>
          <a:xfrm>
            <a:off x="684000" y="3792781"/>
            <a:ext cx="3251413" cy="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41" name="Straight Connector 40">
            <a:extLst>
              <a:ext uri="{FF2B5EF4-FFF2-40B4-BE49-F238E27FC236}">
                <a16:creationId xmlns:a16="http://schemas.microsoft.com/office/drawing/2014/main" id="{5B27A369-CAEB-07CB-E8C4-BB5EE7BE8F47}"/>
              </a:ext>
            </a:extLst>
          </p:cNvPr>
          <p:cNvCxnSpPr>
            <a:cxnSpLocks/>
          </p:cNvCxnSpPr>
          <p:nvPr userDrawn="1"/>
        </p:nvCxnSpPr>
        <p:spPr>
          <a:xfrm>
            <a:off x="4464843" y="3792781"/>
            <a:ext cx="3251413" cy="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42" name="Straight Connector 41">
            <a:extLst>
              <a:ext uri="{FF2B5EF4-FFF2-40B4-BE49-F238E27FC236}">
                <a16:creationId xmlns:a16="http://schemas.microsoft.com/office/drawing/2014/main" id="{6F2B0CF4-4040-2F53-E5C0-3C48211F50AF}"/>
              </a:ext>
            </a:extLst>
          </p:cNvPr>
          <p:cNvCxnSpPr>
            <a:cxnSpLocks/>
          </p:cNvCxnSpPr>
          <p:nvPr userDrawn="1"/>
        </p:nvCxnSpPr>
        <p:spPr>
          <a:xfrm>
            <a:off x="8245262" y="3792781"/>
            <a:ext cx="3251413" cy="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sp>
        <p:nvSpPr>
          <p:cNvPr id="51" name="Footer Placeholder 4">
            <a:extLst>
              <a:ext uri="{FF2B5EF4-FFF2-40B4-BE49-F238E27FC236}">
                <a16:creationId xmlns:a16="http://schemas.microsoft.com/office/drawing/2014/main" id="{9EED9D5D-61AA-43F0-8E93-270B5258C413}"/>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Battery Value Chain Outlook</a:t>
            </a:r>
            <a:endParaRPr lang="en-GB"/>
          </a:p>
        </p:txBody>
      </p:sp>
      <p:grpSp>
        <p:nvGrpSpPr>
          <p:cNvPr id="3" name="Group 2">
            <a:extLst>
              <a:ext uri="{FF2B5EF4-FFF2-40B4-BE49-F238E27FC236}">
                <a16:creationId xmlns:a16="http://schemas.microsoft.com/office/drawing/2014/main" id="{D85ED702-2E01-0292-0257-7EB238295F44}"/>
              </a:ext>
            </a:extLst>
          </p:cNvPr>
          <p:cNvGrpSpPr/>
          <p:nvPr userDrawn="1"/>
        </p:nvGrpSpPr>
        <p:grpSpPr>
          <a:xfrm>
            <a:off x="8562465" y="-591805"/>
            <a:ext cx="476662" cy="396518"/>
            <a:chOff x="3669046" y="963053"/>
            <a:chExt cx="476662" cy="396518"/>
          </a:xfrm>
        </p:grpSpPr>
        <p:pic>
          <p:nvPicPr>
            <p:cNvPr id="4" name="Content Placeholder 38" descr="Bull with solid fill">
              <a:extLst>
                <a:ext uri="{FF2B5EF4-FFF2-40B4-BE49-F238E27FC236}">
                  <a16:creationId xmlns:a16="http://schemas.microsoft.com/office/drawing/2014/main" id="{C8A0E015-C714-B8F8-C589-37F6A36219C7}"/>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a:stretch/>
          </p:blipFill>
          <p:spPr>
            <a:xfrm>
              <a:off x="3832454" y="963053"/>
              <a:ext cx="313253" cy="313253"/>
            </a:xfrm>
            <a:prstGeom prst="rect">
              <a:avLst/>
            </a:prstGeom>
          </p:spPr>
        </p:pic>
        <p:sp>
          <p:nvSpPr>
            <p:cNvPr id="25" name="TextBox 24">
              <a:extLst>
                <a:ext uri="{FF2B5EF4-FFF2-40B4-BE49-F238E27FC236}">
                  <a16:creationId xmlns:a16="http://schemas.microsoft.com/office/drawing/2014/main" id="{921C8E5E-4E3A-14C6-0DE7-D0EB4251B05E}"/>
                </a:ext>
              </a:extLst>
            </p:cNvPr>
            <p:cNvSpPr txBox="1"/>
            <p:nvPr/>
          </p:nvSpPr>
          <p:spPr>
            <a:xfrm>
              <a:off x="3746560" y="1197988"/>
              <a:ext cx="399148" cy="161583"/>
            </a:xfrm>
            <a:prstGeom prst="rect">
              <a:avLst/>
            </a:prstGeom>
            <a:noFill/>
          </p:spPr>
          <p:txBody>
            <a:bodyPr wrap="none" lIns="0" tIns="0" rIns="0" bIns="0" rtlCol="0">
              <a:spAutoFit/>
            </a:bodyPr>
            <a:lstStyle/>
            <a:p>
              <a:pPr algn="r"/>
              <a:r>
                <a:rPr lang="en-GB" sz="1050">
                  <a:solidFill>
                    <a:schemeClr val="accent3">
                      <a:lumMod val="50000"/>
                    </a:schemeClr>
                  </a:solidFill>
                  <a:latin typeface="Arial" panose="020B0604020202020204" pitchFamily="34" charset="0"/>
                  <a:cs typeface="Arial" panose="020B0604020202020204" pitchFamily="34" charset="0"/>
                </a:rPr>
                <a:t>Bullish</a:t>
              </a:r>
            </a:p>
          </p:txBody>
        </p:sp>
        <p:pic>
          <p:nvPicPr>
            <p:cNvPr id="26" name="Content Placeholder 38" descr="Arrow Up with solid fill">
              <a:extLst>
                <a:ext uri="{FF2B5EF4-FFF2-40B4-BE49-F238E27FC236}">
                  <a16:creationId xmlns:a16="http://schemas.microsoft.com/office/drawing/2014/main" id="{F58400BE-4DED-E57D-062E-33D0741F5083}"/>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rcRect/>
            <a:stretch/>
          </p:blipFill>
          <p:spPr>
            <a:xfrm>
              <a:off x="3669046" y="1013013"/>
              <a:ext cx="216000" cy="184975"/>
            </a:xfrm>
            <a:prstGeom prst="rect">
              <a:avLst/>
            </a:prstGeom>
          </p:spPr>
        </p:pic>
      </p:grpSp>
      <p:grpSp>
        <p:nvGrpSpPr>
          <p:cNvPr id="27" name="Group 26">
            <a:extLst>
              <a:ext uri="{FF2B5EF4-FFF2-40B4-BE49-F238E27FC236}">
                <a16:creationId xmlns:a16="http://schemas.microsoft.com/office/drawing/2014/main" id="{6F1650D9-5286-575F-B4F1-8057E980F2DC}"/>
              </a:ext>
            </a:extLst>
          </p:cNvPr>
          <p:cNvGrpSpPr/>
          <p:nvPr userDrawn="1"/>
        </p:nvGrpSpPr>
        <p:grpSpPr>
          <a:xfrm>
            <a:off x="9408606" y="-591805"/>
            <a:ext cx="491542" cy="419533"/>
            <a:chOff x="7440115" y="940038"/>
            <a:chExt cx="491542" cy="419533"/>
          </a:xfrm>
        </p:grpSpPr>
        <p:sp>
          <p:nvSpPr>
            <p:cNvPr id="28" name="TextBox 27">
              <a:extLst>
                <a:ext uri="{FF2B5EF4-FFF2-40B4-BE49-F238E27FC236}">
                  <a16:creationId xmlns:a16="http://schemas.microsoft.com/office/drawing/2014/main" id="{C52A125A-97AC-7979-A1BD-D3C7314EFF2B}"/>
                </a:ext>
              </a:extLst>
            </p:cNvPr>
            <p:cNvSpPr txBox="1"/>
            <p:nvPr/>
          </p:nvSpPr>
          <p:spPr>
            <a:xfrm>
              <a:off x="7453712" y="1197988"/>
              <a:ext cx="458460" cy="161583"/>
            </a:xfrm>
            <a:prstGeom prst="rect">
              <a:avLst/>
            </a:prstGeom>
            <a:noFill/>
          </p:spPr>
          <p:txBody>
            <a:bodyPr wrap="none" lIns="0" tIns="0" rIns="0" bIns="0" rtlCol="0">
              <a:spAutoFit/>
            </a:bodyPr>
            <a:lstStyle/>
            <a:p>
              <a:pPr algn="r"/>
              <a:r>
                <a:rPr lang="en-GB" sz="1050">
                  <a:solidFill>
                    <a:schemeClr val="accent3">
                      <a:lumMod val="50000"/>
                    </a:schemeClr>
                  </a:solidFill>
                  <a:latin typeface="Arial" panose="020B0604020202020204" pitchFamily="34" charset="0"/>
                  <a:cs typeface="Arial" panose="020B0604020202020204" pitchFamily="34" charset="0"/>
                </a:rPr>
                <a:t>Bearish</a:t>
              </a:r>
            </a:p>
          </p:txBody>
        </p:sp>
        <p:pic>
          <p:nvPicPr>
            <p:cNvPr id="29" name="Content Placeholder 38" descr="Bear with solid fill">
              <a:extLst>
                <a:ext uri="{FF2B5EF4-FFF2-40B4-BE49-F238E27FC236}">
                  <a16:creationId xmlns:a16="http://schemas.microsoft.com/office/drawing/2014/main" id="{0EABBDE0-EB37-F885-8358-06A13F1782E5}"/>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rcRect/>
            <a:stretch/>
          </p:blipFill>
          <p:spPr>
            <a:xfrm>
              <a:off x="7440115" y="940038"/>
              <a:ext cx="313253" cy="313253"/>
            </a:xfrm>
            <a:prstGeom prst="rect">
              <a:avLst/>
            </a:prstGeom>
          </p:spPr>
        </p:pic>
        <p:pic>
          <p:nvPicPr>
            <p:cNvPr id="30" name="Content Placeholder 38" descr="Arrow Up with solid fill">
              <a:extLst>
                <a:ext uri="{FF2B5EF4-FFF2-40B4-BE49-F238E27FC236}">
                  <a16:creationId xmlns:a16="http://schemas.microsoft.com/office/drawing/2014/main" id="{E7912A7D-82DD-A2B6-6FF9-65D37818D9B9}"/>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rcRect/>
            <a:stretch/>
          </p:blipFill>
          <p:spPr>
            <a:xfrm flipV="1">
              <a:off x="7715657" y="1023855"/>
              <a:ext cx="216000" cy="189806"/>
            </a:xfrm>
            <a:prstGeom prst="rect">
              <a:avLst/>
            </a:prstGeom>
          </p:spPr>
        </p:pic>
      </p:grpSp>
      <p:grpSp>
        <p:nvGrpSpPr>
          <p:cNvPr id="31" name="Group 30">
            <a:extLst>
              <a:ext uri="{FF2B5EF4-FFF2-40B4-BE49-F238E27FC236}">
                <a16:creationId xmlns:a16="http://schemas.microsoft.com/office/drawing/2014/main" id="{21CDC61F-7AE9-0C7C-14DC-F17BDBEB15CE}"/>
              </a:ext>
            </a:extLst>
          </p:cNvPr>
          <p:cNvGrpSpPr/>
          <p:nvPr userDrawn="1"/>
        </p:nvGrpSpPr>
        <p:grpSpPr>
          <a:xfrm>
            <a:off x="10269627" y="-591805"/>
            <a:ext cx="436017" cy="392882"/>
            <a:chOff x="11020076" y="979202"/>
            <a:chExt cx="436017" cy="392882"/>
          </a:xfrm>
        </p:grpSpPr>
        <p:sp>
          <p:nvSpPr>
            <p:cNvPr id="32" name="TextBox 31">
              <a:extLst>
                <a:ext uri="{FF2B5EF4-FFF2-40B4-BE49-F238E27FC236}">
                  <a16:creationId xmlns:a16="http://schemas.microsoft.com/office/drawing/2014/main" id="{61C11229-B5CB-A6E9-193F-950E21BC54E9}"/>
                </a:ext>
              </a:extLst>
            </p:cNvPr>
            <p:cNvSpPr txBox="1"/>
            <p:nvPr/>
          </p:nvSpPr>
          <p:spPr>
            <a:xfrm>
              <a:off x="11020076" y="1210501"/>
              <a:ext cx="436017" cy="161583"/>
            </a:xfrm>
            <a:prstGeom prst="rect">
              <a:avLst/>
            </a:prstGeom>
            <a:noFill/>
          </p:spPr>
          <p:txBody>
            <a:bodyPr wrap="none" lIns="0" tIns="0" rIns="0" bIns="0" rtlCol="0">
              <a:spAutoFit/>
            </a:bodyPr>
            <a:lstStyle/>
            <a:p>
              <a:pPr algn="r"/>
              <a:r>
                <a:rPr lang="en-GB" sz="1050">
                  <a:solidFill>
                    <a:schemeClr val="accent3">
                      <a:lumMod val="50000"/>
                    </a:schemeClr>
                  </a:solidFill>
                  <a:latin typeface="Arial" panose="020B0604020202020204" pitchFamily="34" charset="0"/>
                  <a:cs typeface="Arial" panose="020B0604020202020204" pitchFamily="34" charset="0"/>
                </a:rPr>
                <a:t>Neutral</a:t>
              </a:r>
            </a:p>
          </p:txBody>
        </p:sp>
        <p:grpSp>
          <p:nvGrpSpPr>
            <p:cNvPr id="33" name="Group 32">
              <a:extLst>
                <a:ext uri="{FF2B5EF4-FFF2-40B4-BE49-F238E27FC236}">
                  <a16:creationId xmlns:a16="http://schemas.microsoft.com/office/drawing/2014/main" id="{AF0E90F9-CDF7-CD38-2D1E-8FD10336347F}"/>
                </a:ext>
              </a:extLst>
            </p:cNvPr>
            <p:cNvGrpSpPr>
              <a:grpSpLocks noChangeAspect="1"/>
            </p:cNvGrpSpPr>
            <p:nvPr/>
          </p:nvGrpSpPr>
          <p:grpSpPr>
            <a:xfrm>
              <a:off x="11069401" y="979202"/>
              <a:ext cx="342268" cy="313200"/>
              <a:chOff x="11075627" y="402317"/>
              <a:chExt cx="525527" cy="480895"/>
            </a:xfrm>
          </p:grpSpPr>
          <p:pic>
            <p:nvPicPr>
              <p:cNvPr id="34" name="Graphic 33" descr="Arrow: Straight with solid fill">
                <a:extLst>
                  <a:ext uri="{FF2B5EF4-FFF2-40B4-BE49-F238E27FC236}">
                    <a16:creationId xmlns:a16="http://schemas.microsoft.com/office/drawing/2014/main" id="{4C1244AE-797B-5568-4F9E-5B7E06AA1C67}"/>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rot="10800000">
                <a:off x="11183549" y="402317"/>
                <a:ext cx="417605" cy="410138"/>
              </a:xfrm>
              <a:prstGeom prst="rect">
                <a:avLst/>
              </a:prstGeom>
            </p:spPr>
          </p:pic>
          <p:pic>
            <p:nvPicPr>
              <p:cNvPr id="35" name="Graphic 34" descr="Arrow: Straight with solid fill">
                <a:extLst>
                  <a:ext uri="{FF2B5EF4-FFF2-40B4-BE49-F238E27FC236}">
                    <a16:creationId xmlns:a16="http://schemas.microsoft.com/office/drawing/2014/main" id="{0F45D3BF-B50C-8122-7E35-B1267DF1D2B2}"/>
                  </a:ext>
                </a:extLst>
              </p:cNvPr>
              <p:cNvPicPr>
                <a:picLocks noChangeAspect="1"/>
              </p:cNvPicPr>
              <p:nvPr userDrawn="1"/>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11075627" y="473074"/>
                <a:ext cx="417605" cy="410138"/>
              </a:xfrm>
              <a:prstGeom prst="rect">
                <a:avLst/>
              </a:prstGeom>
            </p:spPr>
          </p:pic>
        </p:grpSp>
      </p:grpSp>
    </p:spTree>
    <p:extLst>
      <p:ext uri="{BB962C8B-B14F-4D97-AF65-F5344CB8AC3E}">
        <p14:creationId xmlns:p14="http://schemas.microsoft.com/office/powerpoint/2010/main" val="1361021048"/>
      </p:ext>
    </p:extLst>
  </p:cSld>
  <p:clrMapOvr>
    <a:masterClrMapping/>
  </p:clrMapOvr>
  <p:extLst>
    <p:ext uri="{DCECCB84-F9BA-43D5-87BE-67443E8EF086}">
      <p15:sldGuideLst xmlns:p15="http://schemas.microsoft.com/office/powerpoint/2012/main">
        <p15:guide id="1" pos="551">
          <p15:clr>
            <a:srgbClr val="5ACBF0"/>
          </p15:clr>
        </p15:guide>
        <p15:guide id="2" pos="2479">
          <p15:clr>
            <a:srgbClr val="5ACBF0"/>
          </p15:clr>
        </p15:guide>
        <p15:guide id="3" pos="2955">
          <p15:clr>
            <a:srgbClr val="5ACBF0"/>
          </p15:clr>
        </p15:guide>
        <p15:guide id="4" pos="4861">
          <p15:clr>
            <a:srgbClr val="5ACBF0"/>
          </p15:clr>
        </p15:guide>
        <p15:guide id="5" pos="7242">
          <p15:clr>
            <a:srgbClr val="5ACBF0"/>
          </p15:clr>
        </p15:guide>
        <p15:guide id="6" pos="5337">
          <p15:clr>
            <a:srgbClr val="5ACBF0"/>
          </p15:clr>
        </p15:guide>
        <p15:guide id="7" orient="horz" pos="1094">
          <p15:clr>
            <a:srgbClr val="5ACBF0"/>
          </p15:clr>
        </p15:guide>
        <p15:guide id="8" orient="horz" pos="1933">
          <p15:clr>
            <a:srgbClr val="5ACBF0"/>
          </p15:clr>
        </p15:guide>
        <p15:guide id="9" orient="horz" pos="799">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Key Data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11430000" cy="215999"/>
          </a:xfrm>
          <a:noFill/>
        </p:spPr>
        <p:txBody>
          <a:bodyPr lIns="0">
            <a:noAutofit/>
          </a:bodyPr>
          <a:lstStyle>
            <a:lvl1pPr>
              <a:defRPr sz="1000" b="0">
                <a:solidFill>
                  <a:schemeClr val="bg2">
                    <a:lumMod val="10000"/>
                  </a:schemeClr>
                </a:solidFill>
              </a:defRPr>
            </a:lvl1pPr>
            <a:lvl5pPr>
              <a:defRPr sz="700">
                <a:solidFill>
                  <a:schemeClr val="tx1"/>
                </a:solidFill>
              </a:defRPr>
            </a:lvl5pPr>
          </a:lstStyle>
          <a:p>
            <a:pPr lvl="0"/>
            <a:r>
              <a:rPr lang="en-US"/>
              <a:t>Add your DATA source here</a:t>
            </a:r>
            <a:endParaRPr lang="en-GB"/>
          </a:p>
        </p:txBody>
      </p:sp>
      <p:sp>
        <p:nvSpPr>
          <p:cNvPr id="6" name="Table Placeholder 5">
            <a:extLst>
              <a:ext uri="{FF2B5EF4-FFF2-40B4-BE49-F238E27FC236}">
                <a16:creationId xmlns:a16="http://schemas.microsoft.com/office/drawing/2014/main" id="{846E78D3-677C-7EEB-5DCC-838E09C1BFD1}"/>
              </a:ext>
            </a:extLst>
          </p:cNvPr>
          <p:cNvSpPr>
            <a:spLocks noGrp="1"/>
          </p:cNvSpPr>
          <p:nvPr>
            <p:ph type="tbl" sz="quarter" idx="16"/>
          </p:nvPr>
        </p:nvSpPr>
        <p:spPr>
          <a:xfrm>
            <a:off x="413548" y="1299600"/>
            <a:ext cx="11364913" cy="4613838"/>
          </a:xfrm>
          <a:noFill/>
        </p:spPr>
        <p:txBody>
          <a:bodyPr/>
          <a:lstStyle>
            <a:lvl1pPr algn="ctr">
              <a:defRPr b="0"/>
            </a:lvl1pPr>
          </a:lstStyle>
          <a:p>
            <a:endParaRPr lang="en-GB"/>
          </a:p>
        </p:txBody>
      </p:sp>
      <p:sp>
        <p:nvSpPr>
          <p:cNvPr id="15" name="Footer Placeholder 4">
            <a:extLst>
              <a:ext uri="{FF2B5EF4-FFF2-40B4-BE49-F238E27FC236}">
                <a16:creationId xmlns:a16="http://schemas.microsoft.com/office/drawing/2014/main" id="{51FD0202-2933-261F-FDB3-97C8B4591D9E}"/>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Battery Value Chain Outlook</a:t>
            </a:r>
            <a:endParaRPr lang="en-GB"/>
          </a:p>
        </p:txBody>
      </p:sp>
    </p:spTree>
    <p:extLst>
      <p:ext uri="{BB962C8B-B14F-4D97-AF65-F5344CB8AC3E}">
        <p14:creationId xmlns:p14="http://schemas.microsoft.com/office/powerpoint/2010/main" val="270505707"/>
      </p:ext>
    </p:extLst>
  </p:cSld>
  <p:clrMapOvr>
    <a:masterClrMapping/>
  </p:clrMapOvr>
  <p:extLst>
    <p:ext uri="{DCECCB84-F9BA-43D5-87BE-67443E8EF086}">
      <p15:sldGuideLst xmlns:p15="http://schemas.microsoft.com/office/powerpoint/2012/main">
        <p15:guide id="1" orient="horz" pos="618">
          <p15:clr>
            <a:srgbClr val="F26B43"/>
          </p15:clr>
        </p15:guide>
        <p15:guide id="2" orient="horz" pos="3725">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 Content + Text -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3537" y="1251472"/>
            <a:ext cx="7560000" cy="288000"/>
          </a:xfrm>
          <a:noFill/>
        </p:spPr>
        <p:txBody>
          <a:bodyPr lIns="0">
            <a:noAutofit/>
          </a:bodyPr>
          <a:lstStyle>
            <a:lvl1pPr>
              <a:defRPr sz="1300">
                <a:solidFill>
                  <a:schemeClr val="accent6"/>
                </a:solidFill>
              </a:defRPr>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2749" y="1618672"/>
            <a:ext cx="7560000" cy="4284000"/>
          </a:xfrm>
          <a:noFill/>
        </p:spPr>
        <p:txBody>
          <a:bodyPr/>
          <a:lstStyle>
            <a:lvl1pPr algn="ctr">
              <a:defRPr b="0"/>
            </a:lvl1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hasCustomPrompt="1"/>
          </p:nvPr>
        </p:nvSpPr>
        <p:spPr>
          <a:xfrm>
            <a:off x="7998461" y="1251472"/>
            <a:ext cx="3780000" cy="4928400"/>
          </a:xfrm>
          <a:noFill/>
          <a:effectLst/>
        </p:spPr>
        <p:txBody>
          <a:bodyPr vert="horz" lIns="252000" tIns="252000" rIns="252000" bIns="252000" rtlCol="0" anchor="ctr" anchorCtr="0">
            <a:noAutofit/>
          </a:bodyPr>
          <a:lstStyle>
            <a:lvl1pPr>
              <a:defRPr lang="en-US"/>
            </a:lvl1pPr>
            <a:lvl2pPr>
              <a:defRPr lang="en-US"/>
            </a:lvl2pPr>
            <a:lvl3pPr>
              <a:defRPr lang="en-US"/>
            </a:lvl3pPr>
            <a:lvl4pPr>
              <a:defRPr lang="en-US"/>
            </a:lvl4pPr>
            <a:lvl5pPr>
              <a:defRPr lang="en-GB"/>
            </a:lvl5pPr>
          </a:lstStyle>
          <a:p>
            <a:pPr lvl="0"/>
            <a:r>
              <a:rPr lang="en-US"/>
              <a:t>Active Headline</a:t>
            </a:r>
          </a:p>
          <a:p>
            <a:pPr lvl="1"/>
            <a:r>
              <a:rPr lang="en-US"/>
              <a:t>Body text</a:t>
            </a:r>
          </a:p>
          <a:p>
            <a:pPr lvl="2"/>
            <a:r>
              <a:rPr lang="en-US"/>
              <a:t>Bullets</a:t>
            </a:r>
          </a:p>
          <a:p>
            <a:pPr lvl="3"/>
            <a:r>
              <a:rPr lang="en-US"/>
              <a:t>2nd level bullets</a:t>
            </a:r>
          </a:p>
          <a:p>
            <a:pPr lvl="4"/>
            <a:r>
              <a:rPr lang="en-US"/>
              <a:t>Notes tex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5982936"/>
            <a:ext cx="7585200" cy="215999"/>
          </a:xfrm>
          <a:noFill/>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17" name="Footer Placeholder 4">
            <a:extLst>
              <a:ext uri="{FF2B5EF4-FFF2-40B4-BE49-F238E27FC236}">
                <a16:creationId xmlns:a16="http://schemas.microsoft.com/office/drawing/2014/main" id="{7E01DB59-9B37-F04F-3777-8FF058C3589A}"/>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Battery Value Chain Outlook </a:t>
            </a:r>
            <a:endParaRPr lang="en-GB"/>
          </a:p>
        </p:txBody>
      </p:sp>
    </p:spTree>
    <p:extLst>
      <p:ext uri="{BB962C8B-B14F-4D97-AF65-F5344CB8AC3E}">
        <p14:creationId xmlns:p14="http://schemas.microsoft.com/office/powerpoint/2010/main" val="4036368841"/>
      </p:ext>
    </p:extLst>
  </p:cSld>
  <p:clrMapOvr>
    <a:masterClrMapping/>
  </p:clrMapOvr>
  <p:extLst>
    <p:ext uri="{DCECCB84-F9BA-43D5-87BE-67443E8EF086}">
      <p15:sldGuideLst xmlns:p15="http://schemas.microsoft.com/office/powerpoint/2012/main">
        <p15:guide id="1" pos="665">
          <p15:clr>
            <a:srgbClr val="5ACBF0"/>
          </p15:clr>
        </p15:guide>
        <p15:guide id="2" pos="4747">
          <p15:clr>
            <a:srgbClr val="5ACBF0"/>
          </p15:clr>
        </p15:guide>
        <p15:guide id="3" orient="horz" pos="1457">
          <p15:clr>
            <a:srgbClr val="5ACBF0"/>
          </p15:clr>
        </p15:guide>
        <p15:guide id="4" orient="horz" pos="3294">
          <p15:clr>
            <a:srgbClr val="5ACBF0"/>
          </p15:clr>
        </p15:guide>
        <p15:guide id="5" orient="horz" pos="913">
          <p15:clr>
            <a:srgbClr val="F26B43"/>
          </p15:clr>
        </p15:guide>
        <p15:guide id="6" orient="horz" pos="3702">
          <p15:clr>
            <a:srgbClr val="F26B43"/>
          </p15:clr>
        </p15:guide>
        <p15:guide id="7" pos="5042">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 Content + Text -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3536" y="1251472"/>
            <a:ext cx="7585200" cy="288000"/>
          </a:xfrm>
          <a:noFill/>
        </p:spPr>
        <p:txBody>
          <a:bodyPr lIns="0">
            <a:noAutofit/>
          </a:bodyPr>
          <a:lstStyle>
            <a:lvl1pPr>
              <a:defRPr sz="1300">
                <a:solidFill>
                  <a:schemeClr val="accent6"/>
                </a:solidFill>
              </a:defRPr>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3999" y="1578916"/>
            <a:ext cx="7585200" cy="2016000"/>
          </a:xfrm>
          <a:noFill/>
        </p:spPr>
        <p:txBody>
          <a:bodyPr/>
          <a:lstStyle>
            <a:lvl1pPr algn="ctr">
              <a:defRPr b="0"/>
            </a:lvl1pPr>
            <a:lvl5pPr>
              <a:defRPr/>
            </a:lvl5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hasCustomPrompt="1"/>
          </p:nvPr>
        </p:nvSpPr>
        <p:spPr>
          <a:xfrm>
            <a:off x="7998461" y="1251472"/>
            <a:ext cx="3780000" cy="4928400"/>
          </a:xfrm>
          <a:noFill/>
          <a:effectLst/>
        </p:spPr>
        <p:txBody>
          <a:bodyPr vert="horz" lIns="252000" tIns="252000" rIns="252000" bIns="252000" rtlCol="0" anchor="ctr" anchorCtr="0">
            <a:noAutofit/>
          </a:bodyPr>
          <a:lstStyle>
            <a:lvl1pPr>
              <a:defRPr lang="en-US"/>
            </a:lvl1pPr>
            <a:lvl2pPr>
              <a:defRPr lang="en-US"/>
            </a:lvl2pPr>
            <a:lvl3pPr>
              <a:defRPr lang="en-US"/>
            </a:lvl3pPr>
            <a:lvl4pPr>
              <a:defRPr lang="en-US"/>
            </a:lvl4pPr>
            <a:lvl5pPr>
              <a:defRPr lang="en-GB"/>
            </a:lvl5pPr>
          </a:lstStyle>
          <a:p>
            <a:pPr lvl="0"/>
            <a:r>
              <a:rPr lang="en-US"/>
              <a:t>Active Headline</a:t>
            </a:r>
          </a:p>
          <a:p>
            <a:pPr lvl="1"/>
            <a:r>
              <a:rPr lang="en-US"/>
              <a:t>Body text</a:t>
            </a:r>
          </a:p>
          <a:p>
            <a:pPr lvl="2"/>
            <a:r>
              <a:rPr lang="en-US"/>
              <a:t>Bullets</a:t>
            </a:r>
          </a:p>
          <a:p>
            <a:pPr lvl="3"/>
            <a:r>
              <a:rPr lang="en-US"/>
              <a:t>2nd level bullets</a:t>
            </a:r>
          </a:p>
          <a:p>
            <a:pPr lvl="4"/>
            <a:r>
              <a:rPr lang="en-US"/>
              <a:t>Notes tex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7585200" cy="215999"/>
          </a:xfrm>
          <a:noFill/>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9" name="Text Placeholder 5">
            <a:extLst>
              <a:ext uri="{FF2B5EF4-FFF2-40B4-BE49-F238E27FC236}">
                <a16:creationId xmlns:a16="http://schemas.microsoft.com/office/drawing/2014/main" id="{D49A370F-20C1-AE2C-2D28-B67039D93F62}"/>
              </a:ext>
            </a:extLst>
          </p:cNvPr>
          <p:cNvSpPr>
            <a:spLocks noGrp="1"/>
          </p:cNvSpPr>
          <p:nvPr>
            <p:ph type="body" sz="quarter" idx="16" hasCustomPrompt="1"/>
          </p:nvPr>
        </p:nvSpPr>
        <p:spPr>
          <a:xfrm>
            <a:off x="414000" y="3636899"/>
            <a:ext cx="7585200" cy="288000"/>
          </a:xfrm>
          <a:noFill/>
        </p:spPr>
        <p:txBody>
          <a:bodyPr lIns="0">
            <a:noAutofit/>
          </a:bodyPr>
          <a:lstStyle>
            <a:lvl1pPr>
              <a:defRPr sz="1300">
                <a:solidFill>
                  <a:schemeClr val="accent6"/>
                </a:solidFill>
              </a:defRPr>
            </a:lvl1pPr>
          </a:lstStyle>
          <a:p>
            <a:pPr lvl="0"/>
            <a:r>
              <a:rPr lang="en-US"/>
              <a:t>Chart headline</a:t>
            </a:r>
          </a:p>
        </p:txBody>
      </p:sp>
      <p:sp>
        <p:nvSpPr>
          <p:cNvPr id="11" name="Content Placeholder 7">
            <a:extLst>
              <a:ext uri="{FF2B5EF4-FFF2-40B4-BE49-F238E27FC236}">
                <a16:creationId xmlns:a16="http://schemas.microsoft.com/office/drawing/2014/main" id="{9AE049FE-3B8F-256A-D7E8-577C76D40781}"/>
              </a:ext>
            </a:extLst>
          </p:cNvPr>
          <p:cNvSpPr>
            <a:spLocks noGrp="1"/>
          </p:cNvSpPr>
          <p:nvPr>
            <p:ph sz="quarter" idx="17" hasCustomPrompt="1"/>
          </p:nvPr>
        </p:nvSpPr>
        <p:spPr>
          <a:xfrm>
            <a:off x="413027" y="3966538"/>
            <a:ext cx="7585200" cy="2016000"/>
          </a:xfrm>
          <a:noFill/>
        </p:spPr>
        <p:txBody>
          <a:bodyPr/>
          <a:lstStyle>
            <a:lvl1pPr algn="ctr">
              <a:defRPr b="0"/>
            </a:lvl1pPr>
            <a:lvl5pPr>
              <a:defRPr/>
            </a:lvl5pPr>
          </a:lstStyle>
          <a:p>
            <a:pPr lvl="0"/>
            <a:r>
              <a:rPr lang="en-US"/>
              <a:t>Insert Chart</a:t>
            </a:r>
            <a:endParaRPr lang="en-GB"/>
          </a:p>
        </p:txBody>
      </p:sp>
      <p:sp>
        <p:nvSpPr>
          <p:cNvPr id="19" name="Footer Placeholder 4">
            <a:extLst>
              <a:ext uri="{FF2B5EF4-FFF2-40B4-BE49-F238E27FC236}">
                <a16:creationId xmlns:a16="http://schemas.microsoft.com/office/drawing/2014/main" id="{B0FE7F07-C9DD-79C9-6757-C27B73B8C7A5}"/>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Battery Value Chain Outlook </a:t>
            </a:r>
            <a:endParaRPr lang="en-GB"/>
          </a:p>
        </p:txBody>
      </p:sp>
    </p:spTree>
    <p:extLst>
      <p:ext uri="{BB962C8B-B14F-4D97-AF65-F5344CB8AC3E}">
        <p14:creationId xmlns:p14="http://schemas.microsoft.com/office/powerpoint/2010/main" val="2034864329"/>
      </p:ext>
    </p:extLst>
  </p:cSld>
  <p:clrMapOvr>
    <a:masterClrMapping/>
  </p:clrMapOvr>
  <p:extLst>
    <p:ext uri="{DCECCB84-F9BA-43D5-87BE-67443E8EF086}">
      <p15:sldGuideLst xmlns:p15="http://schemas.microsoft.com/office/powerpoint/2012/main">
        <p15:guide id="1" pos="665">
          <p15:clr>
            <a:srgbClr val="5ACBF0"/>
          </p15:clr>
        </p15:guide>
        <p15:guide id="4" pos="4747">
          <p15:clr>
            <a:srgbClr val="5ACBF0"/>
          </p15:clr>
        </p15:guide>
        <p15:guide id="5" orient="horz" pos="1071">
          <p15:clr>
            <a:srgbClr val="5ACBF0"/>
          </p15:clr>
        </p15:guide>
        <p15:guide id="6" orient="horz" pos="1911">
          <p15:clr>
            <a:srgbClr val="5ACBF0"/>
          </p15:clr>
        </p15:guide>
        <p15:guide id="7" orient="horz" pos="3521">
          <p15:clr>
            <a:srgbClr val="5ACBF0"/>
          </p15:clr>
        </p15:guide>
        <p15:guide id="8" orient="horz" pos="2636">
          <p15:clr>
            <a:srgbClr val="5ACBF0"/>
          </p15:clr>
        </p15:guide>
        <p15:guide id="9" orient="horz" pos="799">
          <p15:clr>
            <a:srgbClr val="F26B43"/>
          </p15:clr>
        </p15:guide>
        <p15:guide id="10" orient="horz" pos="2364">
          <p15:clr>
            <a:srgbClr val="F26B43"/>
          </p15:clr>
        </p15:guide>
        <p15:guide id="11" orient="horz" pos="3725">
          <p15:clr>
            <a:srgbClr val="F26B43"/>
          </p15:clr>
        </p15:guide>
        <p15:guide id="12" pos="5042">
          <p15:clr>
            <a:srgbClr val="F26B43"/>
          </p15:clr>
        </p15:guide>
        <p15:guide id="13" pos="2638">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4 Content + Text -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p:nvPr>
        </p:nvSpPr>
        <p:spPr>
          <a:xfrm>
            <a:off x="413537" y="1251472"/>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4000" y="1618672"/>
            <a:ext cx="3780000" cy="4284000"/>
          </a:xfrm>
          <a:noFill/>
        </p:spPr>
        <p:txBody>
          <a:bodyPr/>
          <a:lstStyle>
            <a:lvl1pPr algn="ctr">
              <a:defRPr b="0"/>
            </a:lvl1pPr>
            <a:lvl5pPr>
              <a:defRPr/>
            </a:lvl5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hasCustomPrompt="1"/>
          </p:nvPr>
        </p:nvSpPr>
        <p:spPr>
          <a:xfrm>
            <a:off x="7998461" y="1251472"/>
            <a:ext cx="3780000" cy="4936100"/>
          </a:xfrm>
          <a:noFill/>
          <a:effectLst/>
        </p:spPr>
        <p:txBody>
          <a:bodyPr vert="horz" lIns="252000" tIns="252000" rIns="252000" bIns="252000" rtlCol="0" anchor="ctr" anchorCtr="0">
            <a:noAutofit/>
          </a:bodyPr>
          <a:lstStyle>
            <a:lvl1pPr>
              <a:defRPr lang="en-US"/>
            </a:lvl1pPr>
            <a:lvl2pPr>
              <a:defRPr lang="en-US"/>
            </a:lvl2pPr>
            <a:lvl3pPr>
              <a:defRPr lang="en-US"/>
            </a:lvl3pPr>
            <a:lvl4pPr>
              <a:defRPr lang="en-US"/>
            </a:lvl4pPr>
            <a:lvl5pPr>
              <a:defRPr lang="en-GB"/>
            </a:lvl5pPr>
          </a:lstStyle>
          <a:p>
            <a:pPr lvl="0"/>
            <a:r>
              <a:rPr lang="en-US"/>
              <a:t>Active Headline</a:t>
            </a:r>
          </a:p>
          <a:p>
            <a:pPr lvl="1"/>
            <a:r>
              <a:rPr lang="en-US"/>
              <a:t>Body text</a:t>
            </a:r>
          </a:p>
          <a:p>
            <a:pPr lvl="2"/>
            <a:r>
              <a:rPr lang="en-US"/>
              <a:t>Bullets</a:t>
            </a:r>
          </a:p>
          <a:p>
            <a:pPr lvl="3"/>
            <a:r>
              <a:rPr lang="en-US"/>
              <a:t>2nd level bullets</a:t>
            </a:r>
          </a:p>
          <a:p>
            <a:pPr lvl="4"/>
            <a:r>
              <a:rPr lang="en-US"/>
              <a:t>Notes tex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7560000" cy="215999"/>
          </a:xfrm>
          <a:noFill/>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13" name="Text Placeholder 5">
            <a:extLst>
              <a:ext uri="{FF2B5EF4-FFF2-40B4-BE49-F238E27FC236}">
                <a16:creationId xmlns:a16="http://schemas.microsoft.com/office/drawing/2014/main" id="{0F05E3CC-77D8-00D4-3892-43359D3D440D}"/>
              </a:ext>
            </a:extLst>
          </p:cNvPr>
          <p:cNvSpPr>
            <a:spLocks noGrp="1"/>
          </p:cNvSpPr>
          <p:nvPr>
            <p:ph type="body" sz="quarter" idx="20"/>
          </p:nvPr>
        </p:nvSpPr>
        <p:spPr>
          <a:xfrm>
            <a:off x="4212000" y="1251472"/>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14" name="Content Placeholder 7">
            <a:extLst>
              <a:ext uri="{FF2B5EF4-FFF2-40B4-BE49-F238E27FC236}">
                <a16:creationId xmlns:a16="http://schemas.microsoft.com/office/drawing/2014/main" id="{CB8F5FCB-FB91-1CC1-0B13-4616C17F6F8D}"/>
              </a:ext>
            </a:extLst>
          </p:cNvPr>
          <p:cNvSpPr>
            <a:spLocks noGrp="1"/>
          </p:cNvSpPr>
          <p:nvPr>
            <p:ph sz="quarter" idx="21" hasCustomPrompt="1"/>
          </p:nvPr>
        </p:nvSpPr>
        <p:spPr>
          <a:xfrm>
            <a:off x="4211999" y="1618672"/>
            <a:ext cx="3780000" cy="4284000"/>
          </a:xfrm>
          <a:noFill/>
        </p:spPr>
        <p:txBody>
          <a:bodyPr/>
          <a:lstStyle>
            <a:lvl1pPr algn="ctr">
              <a:defRPr b="0"/>
            </a:lvl1pPr>
            <a:lvl5pPr>
              <a:defRPr/>
            </a:lvl5pPr>
          </a:lstStyle>
          <a:p>
            <a:pPr lvl="0"/>
            <a:r>
              <a:rPr lang="en-US"/>
              <a:t>Insert Chart</a:t>
            </a:r>
            <a:endParaRPr lang="en-GB"/>
          </a:p>
        </p:txBody>
      </p:sp>
      <p:sp>
        <p:nvSpPr>
          <p:cNvPr id="19" name="Footer Placeholder 4">
            <a:extLst>
              <a:ext uri="{FF2B5EF4-FFF2-40B4-BE49-F238E27FC236}">
                <a16:creationId xmlns:a16="http://schemas.microsoft.com/office/drawing/2014/main" id="{A7EAE299-1F76-73EE-8745-EE23D4D11B09}"/>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Battery Value Chain Outlook </a:t>
            </a:r>
            <a:endParaRPr lang="en-GB"/>
          </a:p>
        </p:txBody>
      </p:sp>
    </p:spTree>
    <p:extLst>
      <p:ext uri="{BB962C8B-B14F-4D97-AF65-F5344CB8AC3E}">
        <p14:creationId xmlns:p14="http://schemas.microsoft.com/office/powerpoint/2010/main" val="1549277593"/>
      </p:ext>
    </p:extLst>
  </p:cSld>
  <p:clrMapOvr>
    <a:masterClrMapping/>
  </p:clrMapOvr>
  <p:extLst>
    <p:ext uri="{DCECCB84-F9BA-43D5-87BE-67443E8EF086}">
      <p15:sldGuideLst xmlns:p15="http://schemas.microsoft.com/office/powerpoint/2012/main">
        <p15:guide id="1" pos="665">
          <p15:clr>
            <a:srgbClr val="5ACBF0"/>
          </p15:clr>
        </p15:guide>
        <p15:guide id="2" pos="2434">
          <p15:clr>
            <a:srgbClr val="5ACBF0"/>
          </p15:clr>
        </p15:guide>
        <p15:guide id="3" pos="3069">
          <p15:clr>
            <a:srgbClr val="5ACBF0"/>
          </p15:clr>
        </p15:guide>
        <p15:guide id="4" pos="4838">
          <p15:clr>
            <a:srgbClr val="5ACBF0"/>
          </p15:clr>
        </p15:guide>
        <p15:guide id="5" orient="horz" pos="1253">
          <p15:clr>
            <a:srgbClr val="5ACBF0"/>
          </p15:clr>
        </p15:guide>
        <p15:guide id="7" orient="horz" pos="3271">
          <p15:clr>
            <a:srgbClr val="5ACBF0"/>
          </p15:clr>
        </p15:guide>
        <p15:guide id="9" orient="horz" pos="799">
          <p15:clr>
            <a:srgbClr val="F26B43"/>
          </p15:clr>
        </p15:guide>
        <p15:guide id="11" orient="horz" pos="3725">
          <p15:clr>
            <a:srgbClr val="F26B43"/>
          </p15:clr>
        </p15:guide>
        <p15:guide id="12" pos="5042">
          <p15:clr>
            <a:srgbClr val="F26B43"/>
          </p15:clr>
        </p15:guide>
        <p15:guide id="13" pos="2638">
          <p15:clr>
            <a:srgbClr val="F26B43"/>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x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p:nvPr>
        </p:nvSpPr>
        <p:spPr>
          <a:xfrm>
            <a:off x="413536" y="1251472"/>
            <a:ext cx="5682463"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3999" y="1618672"/>
            <a:ext cx="5681999" cy="4284000"/>
          </a:xfrm>
          <a:noFill/>
        </p:spPr>
        <p:txBody>
          <a:bodyPr/>
          <a:lstStyle>
            <a:lvl1pPr algn="ctr">
              <a:defRPr b="0"/>
            </a:lvl1pPr>
            <a:lvl5pPr>
              <a:defRPr/>
            </a:lvl5pPr>
          </a:lstStyle>
          <a:p>
            <a:pPr lvl="0"/>
            <a:r>
              <a:rPr lang="en-US"/>
              <a:t>Insert Char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11049650" cy="215999"/>
          </a:xfrm>
          <a:noFill/>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13" name="Text Placeholder 5">
            <a:extLst>
              <a:ext uri="{FF2B5EF4-FFF2-40B4-BE49-F238E27FC236}">
                <a16:creationId xmlns:a16="http://schemas.microsoft.com/office/drawing/2014/main" id="{0F05E3CC-77D8-00D4-3892-43359D3D440D}"/>
              </a:ext>
            </a:extLst>
          </p:cNvPr>
          <p:cNvSpPr>
            <a:spLocks noGrp="1"/>
          </p:cNvSpPr>
          <p:nvPr>
            <p:ph type="body" sz="quarter" idx="20"/>
          </p:nvPr>
        </p:nvSpPr>
        <p:spPr>
          <a:xfrm>
            <a:off x="6096000" y="1251472"/>
            <a:ext cx="53664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14" name="Content Placeholder 7">
            <a:extLst>
              <a:ext uri="{FF2B5EF4-FFF2-40B4-BE49-F238E27FC236}">
                <a16:creationId xmlns:a16="http://schemas.microsoft.com/office/drawing/2014/main" id="{CB8F5FCB-FB91-1CC1-0B13-4616C17F6F8D}"/>
              </a:ext>
            </a:extLst>
          </p:cNvPr>
          <p:cNvSpPr>
            <a:spLocks noGrp="1"/>
          </p:cNvSpPr>
          <p:nvPr>
            <p:ph sz="quarter" idx="21" hasCustomPrompt="1"/>
          </p:nvPr>
        </p:nvSpPr>
        <p:spPr>
          <a:xfrm>
            <a:off x="6096000" y="1618672"/>
            <a:ext cx="5366400" cy="4284000"/>
          </a:xfrm>
          <a:noFill/>
        </p:spPr>
        <p:txBody>
          <a:bodyPr/>
          <a:lstStyle>
            <a:lvl1pPr algn="ctr">
              <a:defRPr b="0"/>
            </a:lvl1pPr>
            <a:lvl5pPr>
              <a:defRPr/>
            </a:lvl5pPr>
          </a:lstStyle>
          <a:p>
            <a:pPr lvl="0"/>
            <a:r>
              <a:rPr lang="en-US"/>
              <a:t>Insert Chart</a:t>
            </a:r>
            <a:endParaRPr lang="en-GB"/>
          </a:p>
        </p:txBody>
      </p:sp>
      <p:sp>
        <p:nvSpPr>
          <p:cNvPr id="19" name="Footer Placeholder 4">
            <a:extLst>
              <a:ext uri="{FF2B5EF4-FFF2-40B4-BE49-F238E27FC236}">
                <a16:creationId xmlns:a16="http://schemas.microsoft.com/office/drawing/2014/main" id="{A7EAE299-1F76-73EE-8745-EE23D4D11B09}"/>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Battery Value Chain Outlook </a:t>
            </a:r>
            <a:endParaRPr lang="en-GB"/>
          </a:p>
        </p:txBody>
      </p:sp>
    </p:spTree>
    <p:extLst>
      <p:ext uri="{BB962C8B-B14F-4D97-AF65-F5344CB8AC3E}">
        <p14:creationId xmlns:p14="http://schemas.microsoft.com/office/powerpoint/2010/main" val="901376876"/>
      </p:ext>
    </p:extLst>
  </p:cSld>
  <p:clrMapOvr>
    <a:masterClrMapping/>
  </p:clrMapOvr>
  <p:extLst>
    <p:ext uri="{DCECCB84-F9BA-43D5-87BE-67443E8EF086}">
      <p15:sldGuideLst xmlns:p15="http://schemas.microsoft.com/office/powerpoint/2012/main">
        <p15:guide id="1" pos="665">
          <p15:clr>
            <a:srgbClr val="5ACBF0"/>
          </p15:clr>
        </p15:guide>
        <p15:guide id="2" pos="2434">
          <p15:clr>
            <a:srgbClr val="5ACBF0"/>
          </p15:clr>
        </p15:guide>
        <p15:guide id="3" pos="3069">
          <p15:clr>
            <a:srgbClr val="5ACBF0"/>
          </p15:clr>
        </p15:guide>
        <p15:guide id="4" pos="4838">
          <p15:clr>
            <a:srgbClr val="5ACBF0"/>
          </p15:clr>
        </p15:guide>
        <p15:guide id="5" orient="horz" pos="1253">
          <p15:clr>
            <a:srgbClr val="5ACBF0"/>
          </p15:clr>
        </p15:guide>
        <p15:guide id="7" orient="horz" pos="3271">
          <p15:clr>
            <a:srgbClr val="5ACBF0"/>
          </p15:clr>
        </p15:guide>
        <p15:guide id="9" orient="horz" pos="799">
          <p15:clr>
            <a:srgbClr val="F26B43"/>
          </p15:clr>
        </p15:guide>
        <p15:guide id="11" orient="horz" pos="3725">
          <p15:clr>
            <a:srgbClr val="F26B43"/>
          </p15:clr>
        </p15:guide>
        <p15:guide id="12" pos="5042">
          <p15:clr>
            <a:srgbClr val="F26B43"/>
          </p15:clr>
        </p15:guide>
        <p15:guide id="13" pos="2638">
          <p15:clr>
            <a:srgbClr val="F26B43"/>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_4 Content + Text -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p:nvPr>
        </p:nvSpPr>
        <p:spPr>
          <a:xfrm>
            <a:off x="413537" y="1251472"/>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4000" y="1618672"/>
            <a:ext cx="3780000" cy="4284000"/>
          </a:xfrm>
          <a:noFill/>
        </p:spPr>
        <p:txBody>
          <a:bodyPr/>
          <a:lstStyle>
            <a:lvl1pPr algn="ctr">
              <a:defRPr b="0"/>
            </a:lvl1pPr>
            <a:lvl5pPr>
              <a:defRPr/>
            </a:lvl5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hasCustomPrompt="1"/>
          </p:nvPr>
        </p:nvSpPr>
        <p:spPr>
          <a:xfrm>
            <a:off x="7998461" y="1251472"/>
            <a:ext cx="3780000" cy="4936100"/>
          </a:xfrm>
          <a:noFill/>
          <a:effectLst/>
        </p:spPr>
        <p:txBody>
          <a:bodyPr vert="horz" lIns="252000" tIns="252000" rIns="252000" bIns="252000" rtlCol="0" anchor="ctr" anchorCtr="0">
            <a:noAutofit/>
          </a:bodyPr>
          <a:lstStyle>
            <a:lvl1pPr>
              <a:defRPr lang="en-US"/>
            </a:lvl1pPr>
            <a:lvl2pPr>
              <a:defRPr lang="en-US"/>
            </a:lvl2pPr>
            <a:lvl3pPr>
              <a:defRPr lang="en-US"/>
            </a:lvl3pPr>
            <a:lvl4pPr>
              <a:defRPr lang="en-US"/>
            </a:lvl4pPr>
            <a:lvl5pPr>
              <a:defRPr lang="en-GB"/>
            </a:lvl5pPr>
          </a:lstStyle>
          <a:p>
            <a:pPr lvl="0"/>
            <a:r>
              <a:rPr lang="en-US"/>
              <a:t>Active Headline</a:t>
            </a:r>
          </a:p>
          <a:p>
            <a:pPr lvl="1"/>
            <a:r>
              <a:rPr lang="en-US"/>
              <a:t>Body text</a:t>
            </a:r>
          </a:p>
          <a:p>
            <a:pPr lvl="2"/>
            <a:r>
              <a:rPr lang="en-US"/>
              <a:t>Bullets</a:t>
            </a:r>
          </a:p>
          <a:p>
            <a:pPr lvl="3"/>
            <a:r>
              <a:rPr lang="en-US"/>
              <a:t>2nd level bullets</a:t>
            </a:r>
          </a:p>
          <a:p>
            <a:pPr lvl="4"/>
            <a:r>
              <a:rPr lang="en-US"/>
              <a:t>Notes tex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7560000" cy="215999"/>
          </a:xfrm>
          <a:noFill/>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13" name="Text Placeholder 5">
            <a:extLst>
              <a:ext uri="{FF2B5EF4-FFF2-40B4-BE49-F238E27FC236}">
                <a16:creationId xmlns:a16="http://schemas.microsoft.com/office/drawing/2014/main" id="{0F05E3CC-77D8-00D4-3892-43359D3D440D}"/>
              </a:ext>
            </a:extLst>
          </p:cNvPr>
          <p:cNvSpPr>
            <a:spLocks noGrp="1"/>
          </p:cNvSpPr>
          <p:nvPr>
            <p:ph type="body" sz="quarter" idx="20"/>
          </p:nvPr>
        </p:nvSpPr>
        <p:spPr>
          <a:xfrm>
            <a:off x="4212000" y="1251472"/>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14" name="Content Placeholder 7">
            <a:extLst>
              <a:ext uri="{FF2B5EF4-FFF2-40B4-BE49-F238E27FC236}">
                <a16:creationId xmlns:a16="http://schemas.microsoft.com/office/drawing/2014/main" id="{CB8F5FCB-FB91-1CC1-0B13-4616C17F6F8D}"/>
              </a:ext>
            </a:extLst>
          </p:cNvPr>
          <p:cNvSpPr>
            <a:spLocks noGrp="1"/>
          </p:cNvSpPr>
          <p:nvPr>
            <p:ph sz="quarter" idx="21" hasCustomPrompt="1"/>
          </p:nvPr>
        </p:nvSpPr>
        <p:spPr>
          <a:xfrm>
            <a:off x="4211999" y="1618672"/>
            <a:ext cx="3780000" cy="1921970"/>
          </a:xfrm>
          <a:noFill/>
        </p:spPr>
        <p:txBody>
          <a:bodyPr/>
          <a:lstStyle>
            <a:lvl1pPr algn="ctr">
              <a:defRPr b="0"/>
            </a:lvl1pPr>
            <a:lvl5pPr>
              <a:defRPr/>
            </a:lvl5pPr>
          </a:lstStyle>
          <a:p>
            <a:pPr lvl="0"/>
            <a:r>
              <a:rPr lang="en-US"/>
              <a:t>Insert Chart</a:t>
            </a:r>
            <a:endParaRPr lang="en-GB"/>
          </a:p>
        </p:txBody>
      </p:sp>
      <p:sp>
        <p:nvSpPr>
          <p:cNvPr id="19" name="Footer Placeholder 4">
            <a:extLst>
              <a:ext uri="{FF2B5EF4-FFF2-40B4-BE49-F238E27FC236}">
                <a16:creationId xmlns:a16="http://schemas.microsoft.com/office/drawing/2014/main" id="{A7EAE299-1F76-73EE-8745-EE23D4D11B09}"/>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Battery Value Chain Outlook </a:t>
            </a:r>
            <a:endParaRPr lang="en-GB"/>
          </a:p>
        </p:txBody>
      </p:sp>
      <p:sp>
        <p:nvSpPr>
          <p:cNvPr id="3" name="Text Placeholder 5">
            <a:extLst>
              <a:ext uri="{FF2B5EF4-FFF2-40B4-BE49-F238E27FC236}">
                <a16:creationId xmlns:a16="http://schemas.microsoft.com/office/drawing/2014/main" id="{3B4901AB-1B19-543F-ECDA-5EDB06FBE945}"/>
              </a:ext>
            </a:extLst>
          </p:cNvPr>
          <p:cNvSpPr>
            <a:spLocks noGrp="1"/>
          </p:cNvSpPr>
          <p:nvPr>
            <p:ph type="body" sz="quarter" idx="22"/>
          </p:nvPr>
        </p:nvSpPr>
        <p:spPr>
          <a:xfrm>
            <a:off x="4194279" y="3615442"/>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4" name="Content Placeholder 7">
            <a:extLst>
              <a:ext uri="{FF2B5EF4-FFF2-40B4-BE49-F238E27FC236}">
                <a16:creationId xmlns:a16="http://schemas.microsoft.com/office/drawing/2014/main" id="{B6F18716-63C2-AE24-B37F-79B81DD9347F}"/>
              </a:ext>
            </a:extLst>
          </p:cNvPr>
          <p:cNvSpPr>
            <a:spLocks noGrp="1"/>
          </p:cNvSpPr>
          <p:nvPr>
            <p:ph sz="quarter" idx="23" hasCustomPrompt="1"/>
          </p:nvPr>
        </p:nvSpPr>
        <p:spPr>
          <a:xfrm>
            <a:off x="4194278" y="3982642"/>
            <a:ext cx="3780000" cy="1921970"/>
          </a:xfrm>
          <a:noFill/>
        </p:spPr>
        <p:txBody>
          <a:bodyPr/>
          <a:lstStyle>
            <a:lvl1pPr algn="ctr">
              <a:defRPr b="0"/>
            </a:lvl1pPr>
            <a:lvl5pPr>
              <a:defRPr/>
            </a:lvl5pPr>
          </a:lstStyle>
          <a:p>
            <a:pPr lvl="0"/>
            <a:r>
              <a:rPr lang="en-US"/>
              <a:t>Insert Chart</a:t>
            </a:r>
            <a:endParaRPr lang="en-GB"/>
          </a:p>
        </p:txBody>
      </p:sp>
    </p:spTree>
    <p:extLst>
      <p:ext uri="{BB962C8B-B14F-4D97-AF65-F5344CB8AC3E}">
        <p14:creationId xmlns:p14="http://schemas.microsoft.com/office/powerpoint/2010/main" val="2716635440"/>
      </p:ext>
    </p:extLst>
  </p:cSld>
  <p:clrMapOvr>
    <a:masterClrMapping/>
  </p:clrMapOvr>
  <p:extLst>
    <p:ext uri="{DCECCB84-F9BA-43D5-87BE-67443E8EF086}">
      <p15:sldGuideLst xmlns:p15="http://schemas.microsoft.com/office/powerpoint/2012/main">
        <p15:guide id="1" pos="665">
          <p15:clr>
            <a:srgbClr val="5ACBF0"/>
          </p15:clr>
        </p15:guide>
        <p15:guide id="2" pos="2434">
          <p15:clr>
            <a:srgbClr val="5ACBF0"/>
          </p15:clr>
        </p15:guide>
        <p15:guide id="3" pos="3069">
          <p15:clr>
            <a:srgbClr val="5ACBF0"/>
          </p15:clr>
        </p15:guide>
        <p15:guide id="4" pos="4838">
          <p15:clr>
            <a:srgbClr val="5ACBF0"/>
          </p15:clr>
        </p15:guide>
        <p15:guide id="5" orient="horz" pos="1253">
          <p15:clr>
            <a:srgbClr val="5ACBF0"/>
          </p15:clr>
        </p15:guide>
        <p15:guide id="7" orient="horz" pos="3271">
          <p15:clr>
            <a:srgbClr val="5ACBF0"/>
          </p15:clr>
        </p15:guide>
        <p15:guide id="9" orient="horz" pos="799">
          <p15:clr>
            <a:srgbClr val="F26B43"/>
          </p15:clr>
        </p15:guide>
        <p15:guide id="11" orient="horz" pos="3725">
          <p15:clr>
            <a:srgbClr val="F26B43"/>
          </p15:clr>
        </p15:guide>
        <p15:guide id="12" pos="5042">
          <p15:clr>
            <a:srgbClr val="F26B43"/>
          </p15:clr>
        </p15:guide>
        <p15:guide id="13" pos="2638">
          <p15:clr>
            <a:srgbClr val="F26B43"/>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3 Content + Text -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3537" y="1251472"/>
            <a:ext cx="7584923" cy="288000"/>
          </a:xfrm>
          <a:noFill/>
        </p:spPr>
        <p:txBody>
          <a:bodyPr lIns="0">
            <a:noAutofit/>
          </a:bodyPr>
          <a:lstStyle>
            <a:lvl1pPr>
              <a:defRPr sz="1300">
                <a:solidFill>
                  <a:schemeClr val="accent6"/>
                </a:solidFill>
              </a:defRPr>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4000" y="1576613"/>
            <a:ext cx="7584923" cy="2016000"/>
          </a:xfrm>
          <a:noFill/>
        </p:spPr>
        <p:txBody>
          <a:bodyPr/>
          <a:lstStyle>
            <a:lvl1pPr algn="ctr">
              <a:defRPr b="0"/>
            </a:lvl1pPr>
            <a:lvl5pPr>
              <a:defRPr/>
            </a:lvl5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hasCustomPrompt="1"/>
          </p:nvPr>
        </p:nvSpPr>
        <p:spPr>
          <a:xfrm>
            <a:off x="7998461" y="1251472"/>
            <a:ext cx="3780000" cy="4928400"/>
          </a:xfrm>
          <a:noFill/>
          <a:effectLst/>
        </p:spPr>
        <p:txBody>
          <a:bodyPr vert="horz" lIns="252000" tIns="252000" rIns="252000" bIns="252000" rtlCol="0" anchor="ctr" anchorCtr="0">
            <a:noAutofit/>
          </a:bodyPr>
          <a:lstStyle>
            <a:lvl1pPr>
              <a:defRPr lang="en-US"/>
            </a:lvl1pPr>
            <a:lvl2pPr>
              <a:defRPr lang="en-US"/>
            </a:lvl2pPr>
            <a:lvl3pPr>
              <a:defRPr lang="en-US"/>
            </a:lvl3pPr>
            <a:lvl4pPr>
              <a:defRPr lang="en-US"/>
            </a:lvl4pPr>
            <a:lvl5pPr>
              <a:defRPr lang="en-GB"/>
            </a:lvl5pPr>
          </a:lstStyle>
          <a:p>
            <a:pPr lvl="0"/>
            <a:r>
              <a:rPr lang="en-US"/>
              <a:t>Active Headline</a:t>
            </a:r>
          </a:p>
          <a:p>
            <a:pPr lvl="1"/>
            <a:r>
              <a:rPr lang="en-US"/>
              <a:t>Body text</a:t>
            </a:r>
          </a:p>
          <a:p>
            <a:pPr lvl="2"/>
            <a:r>
              <a:rPr lang="en-US"/>
              <a:t>Bullets</a:t>
            </a:r>
          </a:p>
          <a:p>
            <a:pPr lvl="3"/>
            <a:r>
              <a:rPr lang="en-US"/>
              <a:t>2nd level bullets</a:t>
            </a:r>
          </a:p>
          <a:p>
            <a:pPr lvl="4"/>
            <a:r>
              <a:rPr lang="en-US"/>
              <a:t>Notes tex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7585200" cy="215999"/>
          </a:xfrm>
          <a:noFill/>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9" name="Text Placeholder 5">
            <a:extLst>
              <a:ext uri="{FF2B5EF4-FFF2-40B4-BE49-F238E27FC236}">
                <a16:creationId xmlns:a16="http://schemas.microsoft.com/office/drawing/2014/main" id="{D49A370F-20C1-AE2C-2D28-B67039D93F62}"/>
              </a:ext>
            </a:extLst>
          </p:cNvPr>
          <p:cNvSpPr>
            <a:spLocks noGrp="1"/>
          </p:cNvSpPr>
          <p:nvPr>
            <p:ph type="body" sz="quarter" idx="16" hasCustomPrompt="1"/>
          </p:nvPr>
        </p:nvSpPr>
        <p:spPr>
          <a:xfrm>
            <a:off x="414000" y="3611386"/>
            <a:ext cx="3780000" cy="288000"/>
          </a:xfrm>
          <a:noFill/>
        </p:spPr>
        <p:txBody>
          <a:bodyPr lIns="0">
            <a:noAutofit/>
          </a:bodyPr>
          <a:lstStyle>
            <a:lvl1pPr>
              <a:defRPr sz="1300">
                <a:solidFill>
                  <a:schemeClr val="accent6"/>
                </a:solidFill>
              </a:defRPr>
            </a:lvl1pPr>
          </a:lstStyle>
          <a:p>
            <a:pPr lvl="0"/>
            <a:r>
              <a:rPr lang="en-US"/>
              <a:t>Chart headline</a:t>
            </a:r>
          </a:p>
        </p:txBody>
      </p:sp>
      <p:sp>
        <p:nvSpPr>
          <p:cNvPr id="11" name="Content Placeholder 7">
            <a:extLst>
              <a:ext uri="{FF2B5EF4-FFF2-40B4-BE49-F238E27FC236}">
                <a16:creationId xmlns:a16="http://schemas.microsoft.com/office/drawing/2014/main" id="{9AE049FE-3B8F-256A-D7E8-577C76D40781}"/>
              </a:ext>
            </a:extLst>
          </p:cNvPr>
          <p:cNvSpPr>
            <a:spLocks noGrp="1"/>
          </p:cNvSpPr>
          <p:nvPr>
            <p:ph sz="quarter" idx="17" hasCustomPrompt="1"/>
          </p:nvPr>
        </p:nvSpPr>
        <p:spPr>
          <a:xfrm>
            <a:off x="413027" y="3933637"/>
            <a:ext cx="3780000" cy="2016000"/>
          </a:xfrm>
          <a:noFill/>
        </p:spPr>
        <p:txBody>
          <a:bodyPr/>
          <a:lstStyle>
            <a:lvl1pPr algn="ctr">
              <a:defRPr b="0"/>
            </a:lvl1pPr>
            <a:lvl5pPr>
              <a:defRPr/>
            </a:lvl5pPr>
          </a:lstStyle>
          <a:p>
            <a:pPr lvl="0"/>
            <a:r>
              <a:rPr lang="en-US"/>
              <a:t>Insert Chart</a:t>
            </a:r>
            <a:endParaRPr lang="en-GB"/>
          </a:p>
        </p:txBody>
      </p:sp>
      <p:sp>
        <p:nvSpPr>
          <p:cNvPr id="13" name="Text Placeholder 5">
            <a:extLst>
              <a:ext uri="{FF2B5EF4-FFF2-40B4-BE49-F238E27FC236}">
                <a16:creationId xmlns:a16="http://schemas.microsoft.com/office/drawing/2014/main" id="{4FBC210F-4D18-EBDF-D1C0-974165764030}"/>
              </a:ext>
            </a:extLst>
          </p:cNvPr>
          <p:cNvSpPr>
            <a:spLocks noGrp="1"/>
          </p:cNvSpPr>
          <p:nvPr>
            <p:ph type="body" sz="quarter" idx="18" hasCustomPrompt="1"/>
          </p:nvPr>
        </p:nvSpPr>
        <p:spPr>
          <a:xfrm>
            <a:off x="4212000" y="3611386"/>
            <a:ext cx="3780000" cy="288000"/>
          </a:xfrm>
          <a:noFill/>
        </p:spPr>
        <p:txBody>
          <a:bodyPr lIns="0">
            <a:noAutofit/>
          </a:bodyPr>
          <a:lstStyle>
            <a:lvl1pPr>
              <a:defRPr sz="1300">
                <a:solidFill>
                  <a:schemeClr val="accent6"/>
                </a:solidFill>
              </a:defRPr>
            </a:lvl1pPr>
          </a:lstStyle>
          <a:p>
            <a:pPr lvl="0"/>
            <a:r>
              <a:rPr lang="en-US"/>
              <a:t>Chart headline</a:t>
            </a:r>
          </a:p>
        </p:txBody>
      </p:sp>
      <p:sp>
        <p:nvSpPr>
          <p:cNvPr id="14" name="Content Placeholder 7">
            <a:extLst>
              <a:ext uri="{FF2B5EF4-FFF2-40B4-BE49-F238E27FC236}">
                <a16:creationId xmlns:a16="http://schemas.microsoft.com/office/drawing/2014/main" id="{ACB90CD1-FFAF-0A5C-32B6-F90923321EA4}"/>
              </a:ext>
            </a:extLst>
          </p:cNvPr>
          <p:cNvSpPr>
            <a:spLocks noGrp="1"/>
          </p:cNvSpPr>
          <p:nvPr>
            <p:ph sz="quarter" idx="19" hasCustomPrompt="1"/>
          </p:nvPr>
        </p:nvSpPr>
        <p:spPr>
          <a:xfrm>
            <a:off x="4212000" y="3933637"/>
            <a:ext cx="3780000" cy="2016000"/>
          </a:xfrm>
          <a:noFill/>
        </p:spPr>
        <p:txBody>
          <a:bodyPr/>
          <a:lstStyle>
            <a:lvl1pPr algn="ctr">
              <a:defRPr b="0"/>
            </a:lvl1pPr>
            <a:lvl5pPr>
              <a:defRPr/>
            </a:lvl5pPr>
          </a:lstStyle>
          <a:p>
            <a:pPr lvl="0"/>
            <a:r>
              <a:rPr lang="en-US"/>
              <a:t>Insert Chart</a:t>
            </a:r>
            <a:endParaRPr lang="en-GB"/>
          </a:p>
        </p:txBody>
      </p:sp>
      <p:sp>
        <p:nvSpPr>
          <p:cNvPr id="21" name="Footer Placeholder 4">
            <a:extLst>
              <a:ext uri="{FF2B5EF4-FFF2-40B4-BE49-F238E27FC236}">
                <a16:creationId xmlns:a16="http://schemas.microsoft.com/office/drawing/2014/main" id="{9E91E95F-0B78-B0DD-44F1-9229CA6FC1F7}"/>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Battery Value Chain Outlook </a:t>
            </a:r>
            <a:endParaRPr lang="en-GB"/>
          </a:p>
        </p:txBody>
      </p:sp>
    </p:spTree>
    <p:extLst>
      <p:ext uri="{BB962C8B-B14F-4D97-AF65-F5344CB8AC3E}">
        <p14:creationId xmlns:p14="http://schemas.microsoft.com/office/powerpoint/2010/main" val="3409812274"/>
      </p:ext>
    </p:extLst>
  </p:cSld>
  <p:clrMapOvr>
    <a:masterClrMapping/>
  </p:clrMapOvr>
  <p:extLst>
    <p:ext uri="{DCECCB84-F9BA-43D5-87BE-67443E8EF086}">
      <p15:sldGuideLst xmlns:p15="http://schemas.microsoft.com/office/powerpoint/2012/main">
        <p15:guide id="1" pos="665">
          <p15:clr>
            <a:srgbClr val="5ACBF0"/>
          </p15:clr>
        </p15:guide>
        <p15:guide id="2" pos="2434">
          <p15:clr>
            <a:srgbClr val="5ACBF0"/>
          </p15:clr>
        </p15:guide>
        <p15:guide id="3" pos="3069">
          <p15:clr>
            <a:srgbClr val="5ACBF0"/>
          </p15:clr>
        </p15:guide>
        <p15:guide id="4" pos="4838">
          <p15:clr>
            <a:srgbClr val="5ACBF0"/>
          </p15:clr>
        </p15:guide>
        <p15:guide id="5" orient="horz" pos="1071">
          <p15:clr>
            <a:srgbClr val="5ACBF0"/>
          </p15:clr>
        </p15:guide>
        <p15:guide id="6" orient="horz" pos="1911">
          <p15:clr>
            <a:srgbClr val="5ACBF0"/>
          </p15:clr>
        </p15:guide>
        <p15:guide id="7" orient="horz" pos="3521">
          <p15:clr>
            <a:srgbClr val="5ACBF0"/>
          </p15:clr>
        </p15:guide>
        <p15:guide id="8" orient="horz" pos="2636">
          <p15:clr>
            <a:srgbClr val="5ACBF0"/>
          </p15:clr>
        </p15:guide>
        <p15:guide id="9" orient="horz" pos="799">
          <p15:clr>
            <a:srgbClr val="F26B43"/>
          </p15:clr>
        </p15:guide>
        <p15:guide id="10" orient="horz" pos="2364">
          <p15:clr>
            <a:srgbClr val="F26B43"/>
          </p15:clr>
        </p15:guide>
        <p15:guide id="11" orient="horz" pos="3725">
          <p15:clr>
            <a:srgbClr val="F26B43"/>
          </p15:clr>
        </p15:guide>
        <p15:guide id="12" pos="5042">
          <p15:clr>
            <a:srgbClr val="F26B43"/>
          </p15:clr>
        </p15:guide>
        <p15:guide id="13" pos="2638">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ey Data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11430000" cy="215999"/>
          </a:xfrm>
          <a:noFill/>
        </p:spPr>
        <p:txBody>
          <a:bodyPr lIns="0">
            <a:noAutofit/>
          </a:bodyPr>
          <a:lstStyle>
            <a:lvl1pPr>
              <a:defRPr sz="1000" b="0">
                <a:solidFill>
                  <a:schemeClr val="bg2">
                    <a:lumMod val="10000"/>
                  </a:schemeClr>
                </a:solidFill>
              </a:defRPr>
            </a:lvl1pPr>
            <a:lvl5pPr>
              <a:defRPr sz="700">
                <a:solidFill>
                  <a:schemeClr val="tx1"/>
                </a:solidFill>
              </a:defRPr>
            </a:lvl5pPr>
          </a:lstStyle>
          <a:p>
            <a:pPr lvl="0"/>
            <a:r>
              <a:rPr lang="en-US"/>
              <a:t>Add your DATA source here</a:t>
            </a:r>
            <a:endParaRPr lang="en-GB"/>
          </a:p>
        </p:txBody>
      </p:sp>
      <p:sp>
        <p:nvSpPr>
          <p:cNvPr id="6" name="Table Placeholder 5">
            <a:extLst>
              <a:ext uri="{FF2B5EF4-FFF2-40B4-BE49-F238E27FC236}">
                <a16:creationId xmlns:a16="http://schemas.microsoft.com/office/drawing/2014/main" id="{846E78D3-677C-7EEB-5DCC-838E09C1BFD1}"/>
              </a:ext>
            </a:extLst>
          </p:cNvPr>
          <p:cNvSpPr>
            <a:spLocks noGrp="1"/>
          </p:cNvSpPr>
          <p:nvPr>
            <p:ph type="tbl" sz="quarter" idx="16"/>
          </p:nvPr>
        </p:nvSpPr>
        <p:spPr>
          <a:xfrm>
            <a:off x="413548" y="1299600"/>
            <a:ext cx="11364913" cy="4613838"/>
          </a:xfrm>
          <a:noFill/>
        </p:spPr>
        <p:txBody>
          <a:bodyPr/>
          <a:lstStyle>
            <a:lvl1pPr algn="ctr">
              <a:defRPr b="0"/>
            </a:lvl1pPr>
          </a:lstStyle>
          <a:p>
            <a:endParaRPr lang="en-GB"/>
          </a:p>
        </p:txBody>
      </p:sp>
      <p:sp>
        <p:nvSpPr>
          <p:cNvPr id="15" name="Footer Placeholder 4">
            <a:extLst>
              <a:ext uri="{FF2B5EF4-FFF2-40B4-BE49-F238E27FC236}">
                <a16:creationId xmlns:a16="http://schemas.microsoft.com/office/drawing/2014/main" id="{51FD0202-2933-261F-FDB3-97C8B4591D9E}"/>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Tree>
    <p:extLst>
      <p:ext uri="{BB962C8B-B14F-4D97-AF65-F5344CB8AC3E}">
        <p14:creationId xmlns:p14="http://schemas.microsoft.com/office/powerpoint/2010/main" val="1430804193"/>
      </p:ext>
    </p:extLst>
  </p:cSld>
  <p:clrMapOvr>
    <a:masterClrMapping/>
  </p:clrMapOvr>
  <p:extLst>
    <p:ext uri="{DCECCB84-F9BA-43D5-87BE-67443E8EF086}">
      <p15:sldGuideLst xmlns:p15="http://schemas.microsoft.com/office/powerpoint/2012/main">
        <p15:guide id="1" orient="horz" pos="618">
          <p15:clr>
            <a:srgbClr val="F26B43"/>
          </p15:clr>
        </p15:guide>
        <p15:guide id="2" orient="horz" pos="3725">
          <p15:clr>
            <a:srgbClr val="F26B43"/>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4 Content + Text -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p:nvPr>
        </p:nvSpPr>
        <p:spPr>
          <a:xfrm>
            <a:off x="413537" y="1251472"/>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4000" y="1594633"/>
            <a:ext cx="3780000" cy="1980000"/>
          </a:xfrm>
          <a:noFill/>
        </p:spPr>
        <p:txBody>
          <a:bodyPr/>
          <a:lstStyle>
            <a:lvl1pPr algn="ctr">
              <a:defRPr sz="1300" b="0"/>
            </a:lvl1pPr>
            <a:lvl5pPr>
              <a:defRPr/>
            </a:lvl5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hasCustomPrompt="1"/>
          </p:nvPr>
        </p:nvSpPr>
        <p:spPr>
          <a:xfrm>
            <a:off x="7998461" y="1251472"/>
            <a:ext cx="3780000" cy="4936100"/>
          </a:xfrm>
          <a:noFill/>
          <a:effectLst/>
        </p:spPr>
        <p:txBody>
          <a:bodyPr vert="horz" lIns="252000" tIns="252000" rIns="252000" bIns="252000" rtlCol="0" anchor="ctr" anchorCtr="0">
            <a:noAutofit/>
          </a:bodyPr>
          <a:lstStyle>
            <a:lvl1pPr>
              <a:defRPr lang="en-US"/>
            </a:lvl1pPr>
            <a:lvl2pPr>
              <a:defRPr lang="en-US"/>
            </a:lvl2pPr>
            <a:lvl3pPr>
              <a:defRPr lang="en-US"/>
            </a:lvl3pPr>
            <a:lvl4pPr>
              <a:defRPr lang="en-US"/>
            </a:lvl4pPr>
            <a:lvl5pPr>
              <a:defRPr lang="en-GB"/>
            </a:lvl5pPr>
          </a:lstStyle>
          <a:p>
            <a:pPr lvl="0"/>
            <a:r>
              <a:rPr lang="en-US"/>
              <a:t>Active Headline</a:t>
            </a:r>
          </a:p>
          <a:p>
            <a:pPr lvl="1"/>
            <a:r>
              <a:rPr lang="en-US"/>
              <a:t>Body text</a:t>
            </a:r>
          </a:p>
          <a:p>
            <a:pPr lvl="2"/>
            <a:r>
              <a:rPr lang="en-US"/>
              <a:t>Bullets</a:t>
            </a:r>
          </a:p>
          <a:p>
            <a:pPr lvl="3"/>
            <a:r>
              <a:rPr lang="en-US"/>
              <a:t>2nd level bullets</a:t>
            </a:r>
          </a:p>
          <a:p>
            <a:pPr lvl="4"/>
            <a:r>
              <a:rPr lang="en-US"/>
              <a:t>Notes tex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7585200" cy="215999"/>
          </a:xfrm>
          <a:noFill/>
        </p:spPr>
        <p:txBody>
          <a:bodyPr lIns="0"/>
          <a:lstStyle>
            <a:lvl1pPr>
              <a:defRPr sz="105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5" name="Text Placeholder 5">
            <a:extLst>
              <a:ext uri="{FF2B5EF4-FFF2-40B4-BE49-F238E27FC236}">
                <a16:creationId xmlns:a16="http://schemas.microsoft.com/office/drawing/2014/main" id="{D7616806-7E32-D88B-F740-18B7BC6A1ECE}"/>
              </a:ext>
            </a:extLst>
          </p:cNvPr>
          <p:cNvSpPr>
            <a:spLocks noGrp="1"/>
          </p:cNvSpPr>
          <p:nvPr>
            <p:ph type="body" sz="quarter" idx="16"/>
          </p:nvPr>
        </p:nvSpPr>
        <p:spPr>
          <a:xfrm>
            <a:off x="414000" y="3662850"/>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7" name="Content Placeholder 7">
            <a:extLst>
              <a:ext uri="{FF2B5EF4-FFF2-40B4-BE49-F238E27FC236}">
                <a16:creationId xmlns:a16="http://schemas.microsoft.com/office/drawing/2014/main" id="{301ACA0B-90BD-21BF-F5A6-4461A144284D}"/>
              </a:ext>
            </a:extLst>
          </p:cNvPr>
          <p:cNvSpPr>
            <a:spLocks noGrp="1"/>
          </p:cNvSpPr>
          <p:nvPr>
            <p:ph sz="quarter" idx="17" hasCustomPrompt="1"/>
          </p:nvPr>
        </p:nvSpPr>
        <p:spPr>
          <a:xfrm>
            <a:off x="413027" y="3988194"/>
            <a:ext cx="3780000" cy="1980000"/>
          </a:xfrm>
          <a:noFill/>
        </p:spPr>
        <p:txBody>
          <a:bodyPr/>
          <a:lstStyle>
            <a:lvl1pPr algn="ctr">
              <a:defRPr b="0"/>
            </a:lvl1pPr>
            <a:lvl5pPr>
              <a:defRPr/>
            </a:lvl5pPr>
          </a:lstStyle>
          <a:p>
            <a:pPr lvl="0"/>
            <a:r>
              <a:rPr lang="en-US"/>
              <a:t>Insert Chart</a:t>
            </a:r>
            <a:endParaRPr lang="en-GB"/>
          </a:p>
        </p:txBody>
      </p:sp>
      <p:sp>
        <p:nvSpPr>
          <p:cNvPr id="9" name="Text Placeholder 5">
            <a:extLst>
              <a:ext uri="{FF2B5EF4-FFF2-40B4-BE49-F238E27FC236}">
                <a16:creationId xmlns:a16="http://schemas.microsoft.com/office/drawing/2014/main" id="{41A38980-B6C7-2C12-669B-DF4E926D0985}"/>
              </a:ext>
            </a:extLst>
          </p:cNvPr>
          <p:cNvSpPr>
            <a:spLocks noGrp="1"/>
          </p:cNvSpPr>
          <p:nvPr>
            <p:ph type="body" sz="quarter" idx="18"/>
          </p:nvPr>
        </p:nvSpPr>
        <p:spPr>
          <a:xfrm>
            <a:off x="4212000" y="3662850"/>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11" name="Content Placeholder 7">
            <a:extLst>
              <a:ext uri="{FF2B5EF4-FFF2-40B4-BE49-F238E27FC236}">
                <a16:creationId xmlns:a16="http://schemas.microsoft.com/office/drawing/2014/main" id="{D63835D9-5A9C-436E-DE0E-681C84B793FD}"/>
              </a:ext>
            </a:extLst>
          </p:cNvPr>
          <p:cNvSpPr>
            <a:spLocks noGrp="1"/>
          </p:cNvSpPr>
          <p:nvPr>
            <p:ph sz="quarter" idx="19" hasCustomPrompt="1"/>
          </p:nvPr>
        </p:nvSpPr>
        <p:spPr>
          <a:xfrm>
            <a:off x="4212000" y="3988194"/>
            <a:ext cx="3780000" cy="1980000"/>
          </a:xfrm>
          <a:noFill/>
        </p:spPr>
        <p:txBody>
          <a:bodyPr/>
          <a:lstStyle>
            <a:lvl1pPr algn="ctr">
              <a:defRPr b="0"/>
            </a:lvl1pPr>
            <a:lvl5pPr>
              <a:defRPr/>
            </a:lvl5pPr>
          </a:lstStyle>
          <a:p>
            <a:pPr lvl="0"/>
            <a:r>
              <a:rPr lang="en-US"/>
              <a:t>Insert Chart</a:t>
            </a:r>
            <a:endParaRPr lang="en-GB"/>
          </a:p>
        </p:txBody>
      </p:sp>
      <p:sp>
        <p:nvSpPr>
          <p:cNvPr id="13" name="Text Placeholder 5">
            <a:extLst>
              <a:ext uri="{FF2B5EF4-FFF2-40B4-BE49-F238E27FC236}">
                <a16:creationId xmlns:a16="http://schemas.microsoft.com/office/drawing/2014/main" id="{0F05E3CC-77D8-00D4-3892-43359D3D440D}"/>
              </a:ext>
            </a:extLst>
          </p:cNvPr>
          <p:cNvSpPr>
            <a:spLocks noGrp="1"/>
          </p:cNvSpPr>
          <p:nvPr>
            <p:ph type="body" sz="quarter" idx="20"/>
          </p:nvPr>
        </p:nvSpPr>
        <p:spPr>
          <a:xfrm>
            <a:off x="4212000" y="1251472"/>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14" name="Content Placeholder 7">
            <a:extLst>
              <a:ext uri="{FF2B5EF4-FFF2-40B4-BE49-F238E27FC236}">
                <a16:creationId xmlns:a16="http://schemas.microsoft.com/office/drawing/2014/main" id="{CB8F5FCB-FB91-1CC1-0B13-4616C17F6F8D}"/>
              </a:ext>
            </a:extLst>
          </p:cNvPr>
          <p:cNvSpPr>
            <a:spLocks noGrp="1"/>
          </p:cNvSpPr>
          <p:nvPr>
            <p:ph sz="quarter" idx="21" hasCustomPrompt="1"/>
          </p:nvPr>
        </p:nvSpPr>
        <p:spPr>
          <a:xfrm>
            <a:off x="4211999" y="1594633"/>
            <a:ext cx="3780000" cy="1980000"/>
          </a:xfrm>
          <a:noFill/>
        </p:spPr>
        <p:txBody>
          <a:bodyPr/>
          <a:lstStyle>
            <a:lvl1pPr algn="ctr">
              <a:defRPr b="0"/>
            </a:lvl1pPr>
            <a:lvl5pPr>
              <a:defRPr/>
            </a:lvl5pPr>
          </a:lstStyle>
          <a:p>
            <a:pPr lvl="0"/>
            <a:r>
              <a:rPr lang="en-US"/>
              <a:t>Insert Chart</a:t>
            </a:r>
            <a:endParaRPr lang="en-GB"/>
          </a:p>
        </p:txBody>
      </p:sp>
      <p:sp>
        <p:nvSpPr>
          <p:cNvPr id="23" name="Footer Placeholder 4">
            <a:extLst>
              <a:ext uri="{FF2B5EF4-FFF2-40B4-BE49-F238E27FC236}">
                <a16:creationId xmlns:a16="http://schemas.microsoft.com/office/drawing/2014/main" id="{26092300-6B2D-E291-F26E-F0EFBCCA1C83}"/>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Battery Value Chain Outlook </a:t>
            </a:r>
            <a:endParaRPr lang="en-GB"/>
          </a:p>
        </p:txBody>
      </p:sp>
    </p:spTree>
    <p:extLst>
      <p:ext uri="{BB962C8B-B14F-4D97-AF65-F5344CB8AC3E}">
        <p14:creationId xmlns:p14="http://schemas.microsoft.com/office/powerpoint/2010/main" val="4073062395"/>
      </p:ext>
    </p:extLst>
  </p:cSld>
  <p:clrMapOvr>
    <a:masterClrMapping/>
  </p:clrMapOvr>
  <p:extLst>
    <p:ext uri="{DCECCB84-F9BA-43D5-87BE-67443E8EF086}">
      <p15:sldGuideLst xmlns:p15="http://schemas.microsoft.com/office/powerpoint/2012/main">
        <p15:guide id="1" pos="665">
          <p15:clr>
            <a:srgbClr val="5ACBF0"/>
          </p15:clr>
        </p15:guide>
        <p15:guide id="2" pos="2434">
          <p15:clr>
            <a:srgbClr val="5ACBF0"/>
          </p15:clr>
        </p15:guide>
        <p15:guide id="3" pos="3069">
          <p15:clr>
            <a:srgbClr val="5ACBF0"/>
          </p15:clr>
        </p15:guide>
        <p15:guide id="4" pos="4838">
          <p15:clr>
            <a:srgbClr val="5ACBF0"/>
          </p15:clr>
        </p15:guide>
        <p15:guide id="5" orient="horz" pos="1071">
          <p15:clr>
            <a:srgbClr val="5ACBF0"/>
          </p15:clr>
        </p15:guide>
        <p15:guide id="6" orient="horz" pos="1911">
          <p15:clr>
            <a:srgbClr val="5ACBF0"/>
          </p15:clr>
        </p15:guide>
        <p15:guide id="7" orient="horz" pos="3521">
          <p15:clr>
            <a:srgbClr val="5ACBF0"/>
          </p15:clr>
        </p15:guide>
        <p15:guide id="8" orient="horz" pos="2636">
          <p15:clr>
            <a:srgbClr val="5ACBF0"/>
          </p15:clr>
        </p15:guide>
        <p15:guide id="9" orient="horz" pos="799">
          <p15:clr>
            <a:srgbClr val="F26B43"/>
          </p15:clr>
        </p15:guide>
        <p15:guide id="10" orient="horz" pos="2364">
          <p15:clr>
            <a:srgbClr val="F26B43"/>
          </p15:clr>
        </p15:guide>
        <p15:guide id="11" orient="horz" pos="3725">
          <p15:clr>
            <a:srgbClr val="F26B43"/>
          </p15:clr>
        </p15:guide>
        <p15:guide id="12" pos="5042">
          <p15:clr>
            <a:srgbClr val="F26B43"/>
          </p15:clr>
        </p15:guide>
        <p15:guide id="13" pos="2638">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Full Page Vis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2750" y="1251472"/>
            <a:ext cx="11365200" cy="4641401"/>
          </a:xfrm>
          <a:noFill/>
        </p:spPr>
        <p:txBody>
          <a:bodyPr anchor="t"/>
          <a:lstStyle>
            <a:lvl1pPr algn="ctr">
              <a:defRPr b="0"/>
            </a:lvl1pPr>
            <a:lvl2pPr algn="ctr">
              <a:defRPr/>
            </a:lvl2pPr>
            <a:lvl3pPr algn="ctr">
              <a:defRPr/>
            </a:lvl3pPr>
            <a:lvl4pPr algn="ctr">
              <a:defRPr/>
            </a:lvl4pPr>
            <a:lvl5pPr algn="ctr">
              <a:defRPr/>
            </a:lvl5pPr>
          </a:lstStyle>
          <a:p>
            <a:pPr lvl="0"/>
            <a:r>
              <a:rPr lang="en-US"/>
              <a:t>Insert Chart or Table</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11430000" cy="215999"/>
          </a:xfrm>
          <a:noFill/>
        </p:spPr>
        <p:txBody>
          <a:bodyPr lIns="0"/>
          <a:lstStyle>
            <a:lvl1pPr>
              <a:defRPr sz="1050" b="0">
                <a:solidFill>
                  <a:schemeClr val="bg2">
                    <a:lumMod val="10000"/>
                  </a:schemeClr>
                </a:solidFill>
              </a:defRPr>
            </a:lvl1pPr>
            <a:lvl5pPr>
              <a:defRPr sz="700">
                <a:solidFill>
                  <a:schemeClr val="tx1"/>
                </a:solidFill>
              </a:defRPr>
            </a:lvl5pPr>
          </a:lstStyle>
          <a:p>
            <a:pPr lvl="0"/>
            <a:r>
              <a:rPr lang="en-US"/>
              <a:t>Add your DATA source here</a:t>
            </a:r>
            <a:endParaRPr lang="en-GB"/>
          </a:p>
        </p:txBody>
      </p:sp>
      <p:sp>
        <p:nvSpPr>
          <p:cNvPr id="6" name="Footer Placeholder 4">
            <a:extLst>
              <a:ext uri="{FF2B5EF4-FFF2-40B4-BE49-F238E27FC236}">
                <a16:creationId xmlns:a16="http://schemas.microsoft.com/office/drawing/2014/main" id="{A400B9E1-C65A-1F67-73D1-8910394C1C83}"/>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Battery Value Chain Outlook </a:t>
            </a:r>
            <a:endParaRPr lang="en-GB"/>
          </a:p>
        </p:txBody>
      </p:sp>
    </p:spTree>
    <p:extLst>
      <p:ext uri="{BB962C8B-B14F-4D97-AF65-F5344CB8AC3E}">
        <p14:creationId xmlns:p14="http://schemas.microsoft.com/office/powerpoint/2010/main" val="1375160027"/>
      </p:ext>
    </p:extLst>
  </p:cSld>
  <p:clrMapOvr>
    <a:masterClrMapping/>
  </p:clrMapOvr>
  <p:extLst>
    <p:ext uri="{DCECCB84-F9BA-43D5-87BE-67443E8EF086}">
      <p15:sldGuideLst xmlns:p15="http://schemas.microsoft.com/office/powerpoint/2012/main">
        <p15:guide id="1" pos="3840">
          <p15:clr>
            <a:srgbClr val="F26B43"/>
          </p15:clr>
        </p15:guide>
        <p15:guide id="2" pos="2366">
          <p15:clr>
            <a:srgbClr val="5ACBF0"/>
          </p15:clr>
        </p15:guide>
        <p15:guide id="3" pos="5314">
          <p15:clr>
            <a:srgbClr val="5ACBF0"/>
          </p15:clr>
        </p15:guide>
        <p15:guide id="4" orient="horz" pos="1253">
          <p15:clr>
            <a:srgbClr val="5ACBF0"/>
          </p15:clr>
        </p15:guide>
        <p15:guide id="5" orient="horz" pos="3090">
          <p15:clr>
            <a:srgbClr val="5ACBF0"/>
          </p15:clr>
        </p15:guide>
        <p15:guide id="6" orient="horz" pos="3725">
          <p15:clr>
            <a:srgbClr val="F26B43"/>
          </p15:clr>
        </p15:guide>
        <p15:guide id="7" orient="horz" pos="618">
          <p15:clr>
            <a:srgbClr val="F26B43"/>
          </p15:clr>
        </p15:guide>
        <p15:guide id="8" pos="914">
          <p15:clr>
            <a:srgbClr val="5ACBF0"/>
          </p15:clr>
        </p15:guide>
        <p15:guide id="9" pos="7015">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0E1236C-1F6A-C310-B3AD-04FE10631AEA}"/>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1" name="Straight Connector 10">
            <a:extLst>
              <a:ext uri="{FF2B5EF4-FFF2-40B4-BE49-F238E27FC236}">
                <a16:creationId xmlns:a16="http://schemas.microsoft.com/office/drawing/2014/main" id="{AB2564B3-A172-D336-E774-6508A518A9A4}"/>
              </a:ext>
            </a:extLst>
          </p:cNvPr>
          <p:cNvCxnSpPr>
            <a:cxnSpLocks/>
          </p:cNvCxnSpPr>
          <p:nvPr userDrawn="1"/>
        </p:nvCxnSpPr>
        <p:spPr>
          <a:xfrm>
            <a:off x="2702950"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1A251F91-00BD-73A5-1690-EA7889C27005}"/>
              </a:ext>
            </a:extLst>
          </p:cNvPr>
          <p:cNvCxnSpPr>
            <a:cxnSpLocks/>
          </p:cNvCxnSpPr>
          <p:nvPr userDrawn="1"/>
        </p:nvCxnSpPr>
        <p:spPr>
          <a:xfrm>
            <a:off x="5488473"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7A48A5AD-122B-445F-8918-5620E751FE74}"/>
              </a:ext>
            </a:extLst>
          </p:cNvPr>
          <p:cNvCxnSpPr>
            <a:cxnSpLocks/>
          </p:cNvCxnSpPr>
          <p:nvPr userDrawn="1"/>
        </p:nvCxnSpPr>
        <p:spPr>
          <a:xfrm>
            <a:off x="7411982"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000DE161-39A1-09A9-5060-B0B52242AFFA}"/>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tx1">
                    <a:lumMod val="50000"/>
                  </a:schemeClr>
                </a:solidFill>
                <a:latin typeface="Garamond" panose="02020404030301010803" pitchFamily="18" charset="0"/>
                <a:ea typeface="Helvetica Neue UltraLight" panose="02000206000000020004" pitchFamily="2" charset="0"/>
              </a:rPr>
              <a:t>expert</a:t>
            </a:r>
            <a:r>
              <a:rPr lang="en-GB" sz="1000" b="0" i="0">
                <a:solidFill>
                  <a:schemeClr val="tx1">
                    <a:lumMod val="50000"/>
                  </a:schemeClr>
                </a:solidFill>
                <a:latin typeface="Helvetica Neue UltraLight" panose="02000206000000020004" pitchFamily="2" charset="0"/>
                <a:ea typeface="Helvetica Neue UltraLight" panose="02000206000000020004" pitchFamily="2" charset="0"/>
              </a:rPr>
              <a:t> </a:t>
            </a:r>
            <a:r>
              <a:rPr lang="en-GB"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3" name="TextBox 2">
            <a:extLst>
              <a:ext uri="{FF2B5EF4-FFF2-40B4-BE49-F238E27FC236}">
                <a16:creationId xmlns:a16="http://schemas.microsoft.com/office/drawing/2014/main" id="{FB636495-F7C7-0C00-108D-E654D2A6EE13}"/>
              </a:ext>
            </a:extLst>
          </p:cNvPr>
          <p:cNvSpPr txBox="1"/>
          <p:nvPr userDrawn="1"/>
        </p:nvSpPr>
        <p:spPr>
          <a:xfrm>
            <a:off x="11682742" y="6458310"/>
            <a:ext cx="409669" cy="276999"/>
          </a:xfrm>
          <a:prstGeom prst="rect">
            <a:avLst/>
          </a:prstGeom>
          <a:noFill/>
        </p:spPr>
        <p:txBody>
          <a:bodyPr wrap="square" anchor="ctr">
            <a:spAutoFit/>
          </a:bodyPr>
          <a:lstStyle/>
          <a:p>
            <a:fld id="{562BA7E0-5F5E-EE41-AE8D-BD30ED9E17AD}" type="slidenum">
              <a:rPr lang="en-GB" sz="1200" smtClean="0">
                <a:solidFill>
                  <a:schemeClr val="tx1"/>
                </a:solidFill>
                <a:latin typeface="Arial" panose="020B0604020202020204" pitchFamily="34" charset="0"/>
                <a:cs typeface="Arial" panose="020B0604020202020204" pitchFamily="34" charset="0"/>
              </a:rPr>
              <a:pPr/>
              <a:t>‹#›</a:t>
            </a:fld>
            <a:endParaRPr lang="en-GB" sz="1200">
              <a:solidFill>
                <a:schemeClr val="tx1"/>
              </a:solidFill>
              <a:latin typeface="Arial" panose="020B0604020202020204" pitchFamily="34" charset="0"/>
              <a:cs typeface="Arial" panose="020B0604020202020204" pitchFamily="34" charset="0"/>
            </a:endParaRPr>
          </a:p>
        </p:txBody>
      </p:sp>
      <p:pic>
        <p:nvPicPr>
          <p:cNvPr id="7" name="Picture 6" descr="A logo on a black background&#10;&#10;Description automatically generated">
            <a:extLst>
              <a:ext uri="{FF2B5EF4-FFF2-40B4-BE49-F238E27FC236}">
                <a16:creationId xmlns:a16="http://schemas.microsoft.com/office/drawing/2014/main" id="{05A14DB0-CEA8-2F77-EF59-84BB507E2FC6}"/>
              </a:ext>
            </a:extLst>
          </p:cNvPr>
          <p:cNvPicPr>
            <a:picLocks noChangeAspect="1"/>
          </p:cNvPicPr>
          <p:nvPr userDrawn="1"/>
        </p:nvPicPr>
        <p:blipFill rotWithShape="1">
          <a:blip r:embed="rId2"/>
          <a:srcRect l="7819" t="33017" r="74362" b="36885"/>
          <a:stretch/>
        </p:blipFill>
        <p:spPr>
          <a:xfrm>
            <a:off x="263816" y="334800"/>
            <a:ext cx="682031" cy="648000"/>
          </a:xfrm>
          <a:prstGeom prst="rect">
            <a:avLst/>
          </a:prstGeom>
        </p:spPr>
      </p:pic>
      <p:sp>
        <p:nvSpPr>
          <p:cNvPr id="4" name="Footer Placeholder 4">
            <a:extLst>
              <a:ext uri="{FF2B5EF4-FFF2-40B4-BE49-F238E27FC236}">
                <a16:creationId xmlns:a16="http://schemas.microsoft.com/office/drawing/2014/main" id="{8938CF6B-AAA5-A040-9E6A-575D26301D55}"/>
              </a:ext>
            </a:extLst>
          </p:cNvPr>
          <p:cNvSpPr>
            <a:spLocks noGrp="1"/>
          </p:cNvSpPr>
          <p:nvPr>
            <p:ph type="ftr" sz="quarter" idx="3"/>
          </p:nvPr>
        </p:nvSpPr>
        <p:spPr>
          <a:xfrm>
            <a:off x="7350369" y="6429964"/>
            <a:ext cx="3176758" cy="309600"/>
          </a:xfrm>
          <a:prstGeom prst="rect">
            <a:avLst/>
          </a:prstGeom>
          <a:ln>
            <a:noFill/>
          </a:ln>
        </p:spPr>
        <p:txBody>
          <a:bodyPr vert="horz" lIns="91440" tIns="45720" rIns="91440" bIns="45720" rtlCol="0" anchor="ctr"/>
          <a:lstStyle>
            <a:lvl1pPr algn="l">
              <a:defRPr sz="1000" b="0" i="0">
                <a:solidFill>
                  <a:schemeClr val="tx1"/>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Battery Value Chain Outlook </a:t>
            </a:r>
            <a:endParaRPr lang="en-GB"/>
          </a:p>
        </p:txBody>
      </p:sp>
      <p:sp>
        <p:nvSpPr>
          <p:cNvPr id="6" name="TextBox 5">
            <a:extLst>
              <a:ext uri="{FF2B5EF4-FFF2-40B4-BE49-F238E27FC236}">
                <a16:creationId xmlns:a16="http://schemas.microsoft.com/office/drawing/2014/main" id="{89AFE2E4-3750-7F12-6F58-EFABEA1B26B7}"/>
              </a:ext>
            </a:extLst>
          </p:cNvPr>
          <p:cNvSpPr txBox="1"/>
          <p:nvPr userDrawn="1"/>
        </p:nvSpPr>
        <p:spPr>
          <a:xfrm>
            <a:off x="5476126" y="6429964"/>
            <a:ext cx="1286726" cy="276999"/>
          </a:xfrm>
          <a:prstGeom prst="rect">
            <a:avLst/>
          </a:prstGeom>
          <a:noFill/>
          <a:ln>
            <a:noFill/>
          </a:ln>
        </p:spPr>
        <p:txBody>
          <a:bodyPr wrap="square">
            <a:spAutoFit/>
          </a:bodyPr>
          <a:lstStyle/>
          <a:p>
            <a:pPr algn="ctr"/>
            <a:r>
              <a:rPr lang="en-GB" sz="1200" b="0" i="1">
                <a:solidFill>
                  <a:schemeClr val="tx1">
                    <a:lumMod val="50000"/>
                  </a:schemeClr>
                </a:solidFill>
                <a:latin typeface="Garamond" panose="02020404030301010803" pitchFamily="18" charset="0"/>
                <a:ea typeface="Helvetica Neue Thin" panose="020B0403020202020204" pitchFamily="34" charset="0"/>
                <a:cs typeface="Arial" panose="020B0604020202020204" pitchFamily="34" charset="0"/>
              </a:rPr>
              <a:t>June 2025</a:t>
            </a:r>
          </a:p>
        </p:txBody>
      </p:sp>
      <p:sp>
        <p:nvSpPr>
          <p:cNvPr id="8" name="Title 1">
            <a:extLst>
              <a:ext uri="{FF2B5EF4-FFF2-40B4-BE49-F238E27FC236}">
                <a16:creationId xmlns:a16="http://schemas.microsoft.com/office/drawing/2014/main" id="{3F37CBC1-6CFA-E518-6D9B-C298DCD2EBAB}"/>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Tree>
    <p:extLst>
      <p:ext uri="{BB962C8B-B14F-4D97-AF65-F5344CB8AC3E}">
        <p14:creationId xmlns:p14="http://schemas.microsoft.com/office/powerpoint/2010/main" val="394590684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Title &amp; Blank_OUTLOOK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089F6B3-B184-CD35-917E-7E6D3B7A8CDE}"/>
              </a:ext>
            </a:extLst>
          </p:cNvPr>
          <p:cNvSpPr>
            <a:spLocks noGrp="1"/>
          </p:cNvSpPr>
          <p:nvPr>
            <p:ph type="ftr" sz="quarter" idx="11"/>
          </p:nvPr>
        </p:nvSpPr>
        <p:spPr>
          <a:xfrm>
            <a:off x="7350369" y="6429965"/>
            <a:ext cx="3176758" cy="307777"/>
          </a:xfrm>
          <a:prstGeom prst="rect">
            <a:avLst/>
          </a:prstGeom>
        </p:spPr>
        <p:txBody>
          <a:bodyPr/>
          <a:lstStyle/>
          <a:p>
            <a:r>
              <a:rPr lang="en-US"/>
              <a:t>Battery Value Chain Outlook </a:t>
            </a:r>
            <a:endParaRPr lang="en-GB"/>
          </a:p>
        </p:txBody>
      </p:sp>
      <p:sp>
        <p:nvSpPr>
          <p:cNvPr id="6" name="Content Placeholder 7">
            <a:extLst>
              <a:ext uri="{FF2B5EF4-FFF2-40B4-BE49-F238E27FC236}">
                <a16:creationId xmlns:a16="http://schemas.microsoft.com/office/drawing/2014/main" id="{4C4CE95A-F585-280E-7C05-6A4582FA0F9C}"/>
              </a:ext>
            </a:extLst>
          </p:cNvPr>
          <p:cNvSpPr>
            <a:spLocks noGrp="1"/>
          </p:cNvSpPr>
          <p:nvPr>
            <p:ph sz="quarter" idx="4294967295"/>
          </p:nvPr>
        </p:nvSpPr>
        <p:spPr>
          <a:xfrm>
            <a:off x="397585" y="1432803"/>
            <a:ext cx="11062225" cy="4712301"/>
          </a:xfrm>
        </p:spPr>
        <p:txBody>
          <a:bodyPr>
            <a:normAutofit/>
          </a:bodyPr>
          <a:lstStyle/>
          <a:p>
            <a:pPr marL="0" lvl="0" indent="0">
              <a:lnSpc>
                <a:spcPct val="120000"/>
              </a:lnSpc>
              <a:buFont typeface="Arial" panose="020B0604020202020204" pitchFamily="34" charset="0"/>
              <a:buNone/>
            </a:pPr>
            <a:r>
              <a:rPr lang="en-US" sz="1600"/>
              <a:t>Click to edit Master text styles</a:t>
            </a:r>
          </a:p>
          <a:p>
            <a:pPr marL="0" lvl="1" indent="0">
              <a:lnSpc>
                <a:spcPct val="120000"/>
              </a:lnSpc>
              <a:buFont typeface="Arial" panose="020B0604020202020204" pitchFamily="34" charset="0"/>
              <a:buNone/>
            </a:pPr>
            <a:r>
              <a:rPr lang="en-US" sz="1600"/>
              <a:t>Second level</a:t>
            </a:r>
          </a:p>
        </p:txBody>
      </p:sp>
      <p:sp>
        <p:nvSpPr>
          <p:cNvPr id="3" name="Title 1">
            <a:extLst>
              <a:ext uri="{FF2B5EF4-FFF2-40B4-BE49-F238E27FC236}">
                <a16:creationId xmlns:a16="http://schemas.microsoft.com/office/drawing/2014/main" id="{983889C3-CEF2-7FEC-83F3-8CE52AD60B5F}"/>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Tree>
    <p:extLst>
      <p:ext uri="{BB962C8B-B14F-4D97-AF65-F5344CB8AC3E}">
        <p14:creationId xmlns:p14="http://schemas.microsoft.com/office/powerpoint/2010/main" val="319627363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userDrawn="1">
  <p:cSld name="Glossar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6A6F3C7-49FD-B21D-A71C-794307806CB1}"/>
              </a:ext>
            </a:extLst>
          </p:cNvPr>
          <p:cNvSpPr>
            <a:spLocks noGrp="1"/>
          </p:cNvSpPr>
          <p:nvPr>
            <p:ph type="sldNum" sz="quarter" idx="10"/>
          </p:nvPr>
        </p:nvSpPr>
        <p:spPr>
          <a:noFill/>
        </p:spPr>
        <p:txBody>
          <a:bodyPr/>
          <a:lstStyle>
            <a:lvl1pPr>
              <a:defRPr sz="1200">
                <a:solidFill>
                  <a:schemeClr val="tx1"/>
                </a:solidFill>
              </a:defRPr>
            </a:lvl1pPr>
          </a:lstStyle>
          <a:p>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p:nvPr>
        </p:nvSpPr>
        <p:spPr>
          <a:xfrm>
            <a:off x="6223000" y="1171074"/>
            <a:ext cx="5555461" cy="5051926"/>
          </a:xfrm>
          <a:noFill/>
        </p:spPr>
        <p:txBody>
          <a:bodyPr lIns="252000" tIns="252000" rIns="252000" bIns="252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9">
            <a:extLst>
              <a:ext uri="{FF2B5EF4-FFF2-40B4-BE49-F238E27FC236}">
                <a16:creationId xmlns:a16="http://schemas.microsoft.com/office/drawing/2014/main" id="{CEDCBED3-3077-3817-F2AC-688CAB5EBC98}"/>
              </a:ext>
            </a:extLst>
          </p:cNvPr>
          <p:cNvSpPr>
            <a:spLocks noGrp="1"/>
          </p:cNvSpPr>
          <p:nvPr>
            <p:ph type="body" sz="quarter" idx="15"/>
          </p:nvPr>
        </p:nvSpPr>
        <p:spPr>
          <a:xfrm>
            <a:off x="413540" y="1171074"/>
            <a:ext cx="5555461" cy="5051926"/>
          </a:xfrm>
          <a:noFill/>
        </p:spPr>
        <p:txBody>
          <a:bodyPr lIns="252000" tIns="252000" rIns="252000" bIns="252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ooter Placeholder 4">
            <a:extLst>
              <a:ext uri="{FF2B5EF4-FFF2-40B4-BE49-F238E27FC236}">
                <a16:creationId xmlns:a16="http://schemas.microsoft.com/office/drawing/2014/main" id="{46079007-DD16-E1A0-0A92-2C3D5307A683}"/>
              </a:ext>
            </a:extLst>
          </p:cNvPr>
          <p:cNvSpPr>
            <a:spLocks noGrp="1"/>
          </p:cNvSpPr>
          <p:nvPr>
            <p:ph type="ftr" sz="quarter" idx="3"/>
          </p:nvPr>
        </p:nvSpPr>
        <p:spPr>
          <a:xfrm>
            <a:off x="7350369" y="6429964"/>
            <a:ext cx="3176758" cy="309600"/>
          </a:xfrm>
          <a:prstGeom prst="rect">
            <a:avLst/>
          </a:prstGeom>
          <a:ln>
            <a:noFill/>
          </a:ln>
        </p:spPr>
        <p:txBody>
          <a:bodyPr vert="horz" lIns="91440" tIns="45720" rIns="91440" bIns="45720" rtlCol="0" anchor="ctr"/>
          <a:lstStyle>
            <a:lvl1pPr algn="l">
              <a:defRPr sz="1000" b="0" i="0">
                <a:solidFill>
                  <a:schemeClr val="tx1"/>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Battery Value Chain Outlook</a:t>
            </a:r>
            <a:endParaRPr lang="en-GB"/>
          </a:p>
        </p:txBody>
      </p:sp>
      <p:sp>
        <p:nvSpPr>
          <p:cNvPr id="9" name="TextBox 8">
            <a:extLst>
              <a:ext uri="{FF2B5EF4-FFF2-40B4-BE49-F238E27FC236}">
                <a16:creationId xmlns:a16="http://schemas.microsoft.com/office/drawing/2014/main" id="{F451A67E-FFD4-1EE3-6B6B-9F0EBEF492C5}"/>
              </a:ext>
            </a:extLst>
          </p:cNvPr>
          <p:cNvSpPr txBox="1"/>
          <p:nvPr userDrawn="1"/>
        </p:nvSpPr>
        <p:spPr>
          <a:xfrm>
            <a:off x="2623437" y="6429964"/>
            <a:ext cx="2455460" cy="309600"/>
          </a:xfrm>
          <a:prstGeom prst="rect">
            <a:avLst/>
          </a:prstGeom>
          <a:noFill/>
          <a:ln>
            <a:noFill/>
          </a:ln>
        </p:spPr>
        <p:txBody>
          <a:bodyPr wrap="square">
            <a:spAutoFit/>
          </a:bodyPr>
          <a:lstStyle/>
          <a:p>
            <a:r>
              <a:rPr lang="en-GB" sz="1000" b="0" i="0">
                <a:solidFill>
                  <a:schemeClr val="tx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tx1"/>
                </a:solidFill>
                <a:latin typeface="Garamond" panose="02020404030301010803" pitchFamily="18" charset="0"/>
                <a:ea typeface="Helvetica Neue UltraLight" panose="02000206000000020004" pitchFamily="2" charset="0"/>
              </a:rPr>
              <a:t>expert</a:t>
            </a:r>
            <a:r>
              <a:rPr lang="en-GB" sz="1000" b="0" i="0">
                <a:solidFill>
                  <a:schemeClr val="tx1"/>
                </a:solidFill>
                <a:latin typeface="Helvetica Neue UltraLight" panose="02000206000000020004" pitchFamily="2" charset="0"/>
                <a:ea typeface="Helvetica Neue UltraLight" panose="02000206000000020004" pitchFamily="2" charset="0"/>
              </a:rPr>
              <a:t> </a:t>
            </a:r>
            <a:r>
              <a:rPr lang="en-GB" sz="1000" b="0" i="0">
                <a:solidFill>
                  <a:schemeClr val="tx1"/>
                </a:solidFill>
                <a:latin typeface="Arial" panose="020B0604020202020204" pitchFamily="34" charset="0"/>
                <a:ea typeface="Helvetica Neue Thin" panose="020B0403020202020204" pitchFamily="34" charset="0"/>
                <a:cs typeface="Arial" panose="020B0604020202020204" pitchFamily="34" charset="0"/>
              </a:rPr>
              <a:t>intelligence</a:t>
            </a:r>
          </a:p>
        </p:txBody>
      </p:sp>
      <p:pic>
        <p:nvPicPr>
          <p:cNvPr id="11" name="Picture 10" descr="A logo on a black background&#10;&#10;Description automatically generated">
            <a:extLst>
              <a:ext uri="{FF2B5EF4-FFF2-40B4-BE49-F238E27FC236}">
                <a16:creationId xmlns:a16="http://schemas.microsoft.com/office/drawing/2014/main" id="{03AF0070-D10F-A04A-2EB8-EA1D12441212}"/>
              </a:ext>
            </a:extLst>
          </p:cNvPr>
          <p:cNvPicPr>
            <a:picLocks noChangeAspect="1"/>
          </p:cNvPicPr>
          <p:nvPr userDrawn="1"/>
        </p:nvPicPr>
        <p:blipFill rotWithShape="1">
          <a:blip r:embed="rId2"/>
          <a:srcRect l="7819" t="33017" r="74362" b="36885"/>
          <a:stretch/>
        </p:blipFill>
        <p:spPr>
          <a:xfrm>
            <a:off x="263816" y="334800"/>
            <a:ext cx="682031" cy="648000"/>
          </a:xfrm>
          <a:prstGeom prst="rect">
            <a:avLst/>
          </a:prstGeom>
        </p:spPr>
      </p:pic>
      <p:cxnSp>
        <p:nvCxnSpPr>
          <p:cNvPr id="12" name="Straight Connector 11">
            <a:extLst>
              <a:ext uri="{FF2B5EF4-FFF2-40B4-BE49-F238E27FC236}">
                <a16:creationId xmlns:a16="http://schemas.microsoft.com/office/drawing/2014/main" id="{2C42624A-C964-D754-74D3-C414D1BDB801}"/>
              </a:ext>
            </a:extLst>
          </p:cNvPr>
          <p:cNvCxnSpPr>
            <a:cxnSpLocks/>
          </p:cNvCxnSpPr>
          <p:nvPr userDrawn="1"/>
        </p:nvCxnSpPr>
        <p:spPr>
          <a:xfrm>
            <a:off x="27036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DD110B84-6B10-3CB8-E391-E7575A488B14}"/>
              </a:ext>
            </a:extLst>
          </p:cNvPr>
          <p:cNvCxnSpPr>
            <a:cxnSpLocks/>
          </p:cNvCxnSpPr>
          <p:nvPr userDrawn="1"/>
        </p:nvCxnSpPr>
        <p:spPr>
          <a:xfrm>
            <a:off x="54900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AADAA4DE-DB2D-5FCD-73F3-3F5AC92EAA80}"/>
              </a:ext>
            </a:extLst>
          </p:cNvPr>
          <p:cNvCxnSpPr>
            <a:cxnSpLocks/>
          </p:cNvCxnSpPr>
          <p:nvPr userDrawn="1"/>
        </p:nvCxnSpPr>
        <p:spPr>
          <a:xfrm>
            <a:off x="74124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05EC0B7B-85A6-B9FD-C196-74CC068BD310}"/>
              </a:ext>
            </a:extLst>
          </p:cNvPr>
          <p:cNvSpPr txBox="1"/>
          <p:nvPr userDrawn="1"/>
        </p:nvSpPr>
        <p:spPr>
          <a:xfrm>
            <a:off x="11682742" y="6458310"/>
            <a:ext cx="409669" cy="276999"/>
          </a:xfrm>
          <a:prstGeom prst="rect">
            <a:avLst/>
          </a:prstGeom>
          <a:noFill/>
        </p:spPr>
        <p:txBody>
          <a:bodyPr wrap="square" anchor="ctr">
            <a:spAutoFit/>
          </a:bodyPr>
          <a:lstStyle/>
          <a:p>
            <a:fld id="{562BA7E0-5F5E-EE41-AE8D-BD30ED9E17AD}" type="slidenum">
              <a:rPr lang="en-GB" sz="1200" smtClean="0">
                <a:solidFill>
                  <a:schemeClr val="tx1"/>
                </a:solidFill>
                <a:latin typeface="Arial" panose="020B0604020202020204" pitchFamily="34" charset="0"/>
                <a:cs typeface="Arial" panose="020B0604020202020204" pitchFamily="34" charset="0"/>
              </a:rPr>
              <a:pPr/>
              <a:t>‹#›</a:t>
            </a:fld>
            <a:endParaRPr lang="en-GB" sz="1200">
              <a:solidFill>
                <a:schemeClr val="tx1"/>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12596397-4B8B-C5D3-6C87-2024D4EBC593}"/>
              </a:ext>
            </a:extLst>
          </p:cNvPr>
          <p:cNvSpPr txBox="1"/>
          <p:nvPr userDrawn="1"/>
        </p:nvSpPr>
        <p:spPr>
          <a:xfrm>
            <a:off x="5476126" y="6461654"/>
            <a:ext cx="1286726" cy="276999"/>
          </a:xfrm>
          <a:prstGeom prst="rect">
            <a:avLst/>
          </a:prstGeom>
          <a:noFill/>
          <a:ln>
            <a:noFill/>
          </a:ln>
        </p:spPr>
        <p:txBody>
          <a:bodyPr wrap="square">
            <a:spAutoFit/>
          </a:bodyPr>
          <a:lstStyle/>
          <a:p>
            <a:pPr algn="ctr"/>
            <a:r>
              <a:rPr lang="en-GB" sz="1200" b="0" i="1">
                <a:solidFill>
                  <a:schemeClr val="tx1">
                    <a:lumMod val="50000"/>
                  </a:schemeClr>
                </a:solidFill>
                <a:latin typeface="Garamond" panose="02020404030301010803" pitchFamily="18" charset="0"/>
                <a:ea typeface="Helvetica Neue Thin" panose="020B0403020202020204" pitchFamily="34" charset="0"/>
                <a:cs typeface="Arial" panose="020B0604020202020204" pitchFamily="34" charset="0"/>
              </a:rPr>
              <a:t>June 2025</a:t>
            </a:r>
          </a:p>
        </p:txBody>
      </p:sp>
      <p:sp>
        <p:nvSpPr>
          <p:cNvPr id="2" name="Rectangle 1">
            <a:extLst>
              <a:ext uri="{FF2B5EF4-FFF2-40B4-BE49-F238E27FC236}">
                <a16:creationId xmlns:a16="http://schemas.microsoft.com/office/drawing/2014/main" id="{0B9C9635-FA90-5C54-570F-EAD9EA6295BB}"/>
              </a:ext>
            </a:extLst>
          </p:cNvPr>
          <p:cNvSpPr/>
          <p:nvPr userDrawn="1"/>
        </p:nvSpPr>
        <p:spPr>
          <a:xfrm>
            <a:off x="10273" y="20548"/>
            <a:ext cx="1335640" cy="19520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itle 1">
            <a:extLst>
              <a:ext uri="{FF2B5EF4-FFF2-40B4-BE49-F238E27FC236}">
                <a16:creationId xmlns:a16="http://schemas.microsoft.com/office/drawing/2014/main" id="{C459A5CD-BFA7-91EF-7D7D-A7C9A5492345}"/>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Tree>
    <p:extLst>
      <p:ext uri="{BB962C8B-B14F-4D97-AF65-F5344CB8AC3E}">
        <p14:creationId xmlns:p14="http://schemas.microsoft.com/office/powerpoint/2010/main" val="2571302093"/>
      </p:ext>
    </p:extLst>
  </p:cSld>
  <p:clrMapOvr>
    <a:masterClrMapping/>
  </p:clrMapOvr>
  <p:extLst>
    <p:ext uri="{DCECCB84-F9BA-43D5-87BE-67443E8EF086}">
      <p15:sldGuideLst xmlns:p15="http://schemas.microsoft.com/office/powerpoint/2012/main">
        <p15:guide id="1" orient="horz" pos="1344">
          <p15:clr>
            <a:srgbClr val="5ACBF0"/>
          </p15:clr>
        </p15:guide>
        <p15:guide id="2" orient="horz" pos="3249">
          <p15:clr>
            <a:srgbClr val="5ACBF0"/>
          </p15:clr>
        </p15:guide>
        <p15:guide id="3" pos="3613">
          <p15:clr>
            <a:srgbClr val="5ACBF0"/>
          </p15:clr>
        </p15:guide>
        <p15:guide id="4" pos="710">
          <p15:clr>
            <a:srgbClr val="5ACBF0"/>
          </p15:clr>
        </p15:guide>
        <p15:guide id="5" orient="horz" pos="913">
          <p15:clr>
            <a:srgbClr val="F26B43"/>
          </p15:clr>
        </p15:guide>
        <p15:guide id="6" orient="horz" pos="3702">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6x6 Summ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noFill/>
        </p:spPr>
        <p:txBody>
          <a:bodyPr lIns="0"/>
          <a:lstStyle/>
          <a:p>
            <a:r>
              <a:rPr lang="en-US"/>
              <a:t>Click to edit Master title style</a:t>
            </a:r>
            <a:endParaRPr lang="en-GB"/>
          </a:p>
        </p:txBody>
      </p:sp>
      <p:sp>
        <p:nvSpPr>
          <p:cNvPr id="3" name="Slide Number Placeholder 2">
            <a:extLst>
              <a:ext uri="{FF2B5EF4-FFF2-40B4-BE49-F238E27FC236}">
                <a16:creationId xmlns:a16="http://schemas.microsoft.com/office/drawing/2014/main" id="{F6A6F3C7-49FD-B21D-A71C-794307806CB1}"/>
              </a:ext>
            </a:extLst>
          </p:cNvPr>
          <p:cNvSpPr>
            <a:spLocks noGrp="1"/>
          </p:cNvSpPr>
          <p:nvPr>
            <p:ph type="sldNum" sz="quarter" idx="10"/>
          </p:nvPr>
        </p:nvSpPr>
        <p:spPr>
          <a:noFill/>
        </p:spPr>
        <p:txBody>
          <a:bodyPr/>
          <a:lstStyle>
            <a:lvl1pPr>
              <a:defRPr sz="1200">
                <a:solidFill>
                  <a:schemeClr val="tx1"/>
                </a:solidFill>
              </a:defRPr>
            </a:lvl1pPr>
          </a:lstStyle>
          <a:p>
            <a:endParaRPr lang="en-GB"/>
          </a:p>
        </p:txBody>
      </p:sp>
      <p:sp>
        <p:nvSpPr>
          <p:cNvPr id="4" name="Footer Placeholder 3">
            <a:extLst>
              <a:ext uri="{FF2B5EF4-FFF2-40B4-BE49-F238E27FC236}">
                <a16:creationId xmlns:a16="http://schemas.microsoft.com/office/drawing/2014/main" id="{5E7FC5AF-5497-9574-95D6-1D004FDD63BA}"/>
              </a:ext>
            </a:extLst>
          </p:cNvPr>
          <p:cNvSpPr>
            <a:spLocks noGrp="1"/>
          </p:cNvSpPr>
          <p:nvPr>
            <p:ph type="ftr" sz="quarter" idx="11"/>
          </p:nvPr>
        </p:nvSpPr>
        <p:spPr>
          <a:xfrm>
            <a:off x="7350369" y="6429965"/>
            <a:ext cx="3176758" cy="307777"/>
          </a:xfrm>
          <a:prstGeom prst="rect">
            <a:avLst/>
          </a:prstGeom>
          <a:noFill/>
        </p:spPr>
        <p:txBody>
          <a:bodyPr/>
          <a:lstStyle/>
          <a:p>
            <a:r>
              <a:rPr lang="en-US"/>
              <a:t>Battery Value Chain Outlook </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3537" y="972000"/>
            <a:ext cx="2880000" cy="288000"/>
          </a:xfrm>
          <a:noFill/>
        </p:spPr>
        <p:txBody>
          <a:bodyPr lIns="0"/>
          <a:lstStyle>
            <a:lvl1pPr>
              <a:defRPr sz="1300"/>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4000" y="1260000"/>
            <a:ext cx="3744000" cy="2169000"/>
          </a:xfrm>
          <a:noFill/>
        </p:spPr>
        <p:txBody>
          <a:bodyPr/>
          <a:lstStyle>
            <a:lvl1pPr algn="ctr">
              <a:defRPr/>
            </a:lvl1pPr>
            <a:lvl5pPr>
              <a:defRPr/>
            </a:lvl5pPr>
          </a:lstStyle>
          <a:p>
            <a:pPr lvl="0"/>
            <a:r>
              <a:rPr lang="en-US"/>
              <a:t>Insert Char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11365200" cy="215999"/>
          </a:xfrm>
          <a:noFill/>
        </p:spPr>
        <p:txBody>
          <a:bodyPr lIns="0"/>
          <a:lstStyle>
            <a:lvl1pPr>
              <a:defRPr sz="1050">
                <a:solidFill>
                  <a:schemeClr val="tx1"/>
                </a:solidFill>
              </a:defRPr>
            </a:lvl1pPr>
            <a:lvl5pPr>
              <a:defRPr sz="1050">
                <a:solidFill>
                  <a:schemeClr val="tx1"/>
                </a:solidFill>
              </a:defRPr>
            </a:lvl5pPr>
          </a:lstStyle>
          <a:p>
            <a:pPr lvl="0"/>
            <a:r>
              <a:rPr lang="en-US"/>
              <a:t>DATA: CRU</a:t>
            </a:r>
            <a:endParaRPr lang="en-GB"/>
          </a:p>
        </p:txBody>
      </p:sp>
      <p:sp>
        <p:nvSpPr>
          <p:cNvPr id="13" name="Text Placeholder 5">
            <a:extLst>
              <a:ext uri="{FF2B5EF4-FFF2-40B4-BE49-F238E27FC236}">
                <a16:creationId xmlns:a16="http://schemas.microsoft.com/office/drawing/2014/main" id="{0F05E3CC-77D8-00D4-3892-43359D3D440D}"/>
              </a:ext>
            </a:extLst>
          </p:cNvPr>
          <p:cNvSpPr>
            <a:spLocks noGrp="1"/>
          </p:cNvSpPr>
          <p:nvPr>
            <p:ph type="body" sz="quarter" idx="20" hasCustomPrompt="1"/>
          </p:nvPr>
        </p:nvSpPr>
        <p:spPr>
          <a:xfrm>
            <a:off x="4233266" y="972000"/>
            <a:ext cx="2880000" cy="288000"/>
          </a:xfrm>
          <a:noFill/>
        </p:spPr>
        <p:txBody>
          <a:bodyPr lIns="108000"/>
          <a:lstStyle>
            <a:lvl1pPr>
              <a:defRPr sz="1300"/>
            </a:lvl1pPr>
          </a:lstStyle>
          <a:p>
            <a:pPr lvl="0"/>
            <a:r>
              <a:rPr lang="en-US"/>
              <a:t>Chart headline</a:t>
            </a:r>
          </a:p>
        </p:txBody>
      </p:sp>
      <p:sp>
        <p:nvSpPr>
          <p:cNvPr id="14" name="Content Placeholder 7">
            <a:extLst>
              <a:ext uri="{FF2B5EF4-FFF2-40B4-BE49-F238E27FC236}">
                <a16:creationId xmlns:a16="http://schemas.microsoft.com/office/drawing/2014/main" id="{CB8F5FCB-FB91-1CC1-0B13-4616C17F6F8D}"/>
              </a:ext>
            </a:extLst>
          </p:cNvPr>
          <p:cNvSpPr>
            <a:spLocks noGrp="1"/>
          </p:cNvSpPr>
          <p:nvPr>
            <p:ph sz="quarter" idx="21" hasCustomPrompt="1"/>
          </p:nvPr>
        </p:nvSpPr>
        <p:spPr>
          <a:xfrm>
            <a:off x="4233266" y="1260000"/>
            <a:ext cx="3744000" cy="2169000"/>
          </a:xfrm>
          <a:noFill/>
        </p:spPr>
        <p:txBody>
          <a:bodyPr/>
          <a:lstStyle>
            <a:lvl1pPr algn="ctr">
              <a:defRPr/>
            </a:lvl1pPr>
            <a:lvl5pPr>
              <a:defRPr/>
            </a:lvl5pPr>
          </a:lstStyle>
          <a:p>
            <a:pPr lvl="0"/>
            <a:r>
              <a:rPr lang="en-US"/>
              <a:t>Insert Chart</a:t>
            </a:r>
            <a:endParaRPr lang="en-GB"/>
          </a:p>
        </p:txBody>
      </p:sp>
      <p:sp>
        <p:nvSpPr>
          <p:cNvPr id="17" name="Text Placeholder 5">
            <a:extLst>
              <a:ext uri="{FF2B5EF4-FFF2-40B4-BE49-F238E27FC236}">
                <a16:creationId xmlns:a16="http://schemas.microsoft.com/office/drawing/2014/main" id="{82725930-D425-C749-FEC9-D1707FF63950}"/>
              </a:ext>
            </a:extLst>
          </p:cNvPr>
          <p:cNvSpPr>
            <a:spLocks noGrp="1"/>
          </p:cNvSpPr>
          <p:nvPr>
            <p:ph type="body" sz="quarter" idx="24" hasCustomPrompt="1"/>
          </p:nvPr>
        </p:nvSpPr>
        <p:spPr>
          <a:xfrm>
            <a:off x="8041899" y="972000"/>
            <a:ext cx="2880000" cy="288000"/>
          </a:xfrm>
          <a:noFill/>
        </p:spPr>
        <p:txBody>
          <a:bodyPr lIns="108000"/>
          <a:lstStyle>
            <a:lvl1pPr>
              <a:defRPr sz="1300"/>
            </a:lvl1pPr>
          </a:lstStyle>
          <a:p>
            <a:pPr lvl="0"/>
            <a:r>
              <a:rPr lang="en-US"/>
              <a:t>Chart headline</a:t>
            </a:r>
          </a:p>
        </p:txBody>
      </p:sp>
      <p:sp>
        <p:nvSpPr>
          <p:cNvPr id="18" name="Content Placeholder 7">
            <a:extLst>
              <a:ext uri="{FF2B5EF4-FFF2-40B4-BE49-F238E27FC236}">
                <a16:creationId xmlns:a16="http://schemas.microsoft.com/office/drawing/2014/main" id="{ECAB1B5D-539C-8387-B045-BAF0C5698A72}"/>
              </a:ext>
            </a:extLst>
          </p:cNvPr>
          <p:cNvSpPr>
            <a:spLocks noGrp="1"/>
          </p:cNvSpPr>
          <p:nvPr>
            <p:ph sz="quarter" idx="25" hasCustomPrompt="1"/>
          </p:nvPr>
        </p:nvSpPr>
        <p:spPr>
          <a:xfrm>
            <a:off x="8041899" y="1260000"/>
            <a:ext cx="3744000" cy="2169000"/>
          </a:xfrm>
          <a:noFill/>
        </p:spPr>
        <p:txBody>
          <a:bodyPr/>
          <a:lstStyle>
            <a:lvl1pPr algn="ctr">
              <a:defRPr/>
            </a:lvl1pPr>
            <a:lvl5pPr>
              <a:defRPr/>
            </a:lvl5pPr>
          </a:lstStyle>
          <a:p>
            <a:pPr lvl="0"/>
            <a:r>
              <a:rPr lang="en-US"/>
              <a:t>Insert Chart</a:t>
            </a:r>
            <a:endParaRPr lang="en-GB"/>
          </a:p>
        </p:txBody>
      </p:sp>
      <p:cxnSp>
        <p:nvCxnSpPr>
          <p:cNvPr id="7" name="Straight Connector 6">
            <a:extLst>
              <a:ext uri="{FF2B5EF4-FFF2-40B4-BE49-F238E27FC236}">
                <a16:creationId xmlns:a16="http://schemas.microsoft.com/office/drawing/2014/main" id="{975CDD6E-035F-9465-32D7-99297026358F}"/>
              </a:ext>
            </a:extLst>
          </p:cNvPr>
          <p:cNvCxnSpPr/>
          <p:nvPr userDrawn="1"/>
        </p:nvCxnSpPr>
        <p:spPr>
          <a:xfrm>
            <a:off x="4190031" y="3779151"/>
            <a:ext cx="7937" cy="1990725"/>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0" name="Straight Connector 9">
            <a:extLst>
              <a:ext uri="{FF2B5EF4-FFF2-40B4-BE49-F238E27FC236}">
                <a16:creationId xmlns:a16="http://schemas.microsoft.com/office/drawing/2014/main" id="{2A904D48-4B83-5BF3-D639-51D8FAB1FCCD}"/>
              </a:ext>
            </a:extLst>
          </p:cNvPr>
          <p:cNvCxnSpPr/>
          <p:nvPr userDrawn="1"/>
        </p:nvCxnSpPr>
        <p:spPr>
          <a:xfrm>
            <a:off x="7991475" y="3779151"/>
            <a:ext cx="7937" cy="1990725"/>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1" name="Straight Connector 10">
            <a:extLst>
              <a:ext uri="{FF2B5EF4-FFF2-40B4-BE49-F238E27FC236}">
                <a16:creationId xmlns:a16="http://schemas.microsoft.com/office/drawing/2014/main" id="{03F1CA78-3547-5512-F36A-2F1EEF65A0E0}"/>
              </a:ext>
            </a:extLst>
          </p:cNvPr>
          <p:cNvCxnSpPr/>
          <p:nvPr userDrawn="1"/>
        </p:nvCxnSpPr>
        <p:spPr>
          <a:xfrm>
            <a:off x="4197968" y="1401902"/>
            <a:ext cx="7937" cy="1990725"/>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6" name="Straight Connector 15">
            <a:extLst>
              <a:ext uri="{FF2B5EF4-FFF2-40B4-BE49-F238E27FC236}">
                <a16:creationId xmlns:a16="http://schemas.microsoft.com/office/drawing/2014/main" id="{7561E445-AB46-12BB-71E4-C5DB6124E6E7}"/>
              </a:ext>
            </a:extLst>
          </p:cNvPr>
          <p:cNvCxnSpPr/>
          <p:nvPr userDrawn="1"/>
        </p:nvCxnSpPr>
        <p:spPr>
          <a:xfrm>
            <a:off x="7999412" y="1401902"/>
            <a:ext cx="7937" cy="1990725"/>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40" name="Straight Connector 39">
            <a:extLst>
              <a:ext uri="{FF2B5EF4-FFF2-40B4-BE49-F238E27FC236}">
                <a16:creationId xmlns:a16="http://schemas.microsoft.com/office/drawing/2014/main" id="{278D58A8-BE28-DE7D-6C5A-A9A83475BCC9}"/>
              </a:ext>
            </a:extLst>
          </p:cNvPr>
          <p:cNvCxnSpPr/>
          <p:nvPr userDrawn="1"/>
        </p:nvCxnSpPr>
        <p:spPr>
          <a:xfrm>
            <a:off x="658600" y="3494879"/>
            <a:ext cx="3251413" cy="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41" name="Straight Connector 40">
            <a:extLst>
              <a:ext uri="{FF2B5EF4-FFF2-40B4-BE49-F238E27FC236}">
                <a16:creationId xmlns:a16="http://schemas.microsoft.com/office/drawing/2014/main" id="{5B27A369-CAEB-07CB-E8C4-BB5EE7BE8F47}"/>
              </a:ext>
            </a:extLst>
          </p:cNvPr>
          <p:cNvCxnSpPr/>
          <p:nvPr userDrawn="1"/>
        </p:nvCxnSpPr>
        <p:spPr>
          <a:xfrm>
            <a:off x="4439443" y="3494879"/>
            <a:ext cx="3251413" cy="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42" name="Straight Connector 41">
            <a:extLst>
              <a:ext uri="{FF2B5EF4-FFF2-40B4-BE49-F238E27FC236}">
                <a16:creationId xmlns:a16="http://schemas.microsoft.com/office/drawing/2014/main" id="{6F2B0CF4-4040-2F53-E5C0-3C48211F50AF}"/>
              </a:ext>
            </a:extLst>
          </p:cNvPr>
          <p:cNvCxnSpPr/>
          <p:nvPr userDrawn="1"/>
        </p:nvCxnSpPr>
        <p:spPr>
          <a:xfrm>
            <a:off x="8221441" y="3494879"/>
            <a:ext cx="3251413" cy="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sp>
        <p:nvSpPr>
          <p:cNvPr id="19" name="Text Placeholder 5">
            <a:extLst>
              <a:ext uri="{FF2B5EF4-FFF2-40B4-BE49-F238E27FC236}">
                <a16:creationId xmlns:a16="http://schemas.microsoft.com/office/drawing/2014/main" id="{E3AE09A3-7ED0-CFEC-F594-84B47BC5ABC8}"/>
              </a:ext>
            </a:extLst>
          </p:cNvPr>
          <p:cNvSpPr>
            <a:spLocks noGrp="1"/>
          </p:cNvSpPr>
          <p:nvPr>
            <p:ph type="body" sz="quarter" idx="26" hasCustomPrompt="1"/>
          </p:nvPr>
        </p:nvSpPr>
        <p:spPr>
          <a:xfrm>
            <a:off x="396061" y="3550000"/>
            <a:ext cx="2880000" cy="288000"/>
          </a:xfrm>
          <a:noFill/>
        </p:spPr>
        <p:txBody>
          <a:bodyPr lIns="0"/>
          <a:lstStyle>
            <a:lvl1pPr>
              <a:defRPr sz="1300"/>
            </a:lvl1pPr>
          </a:lstStyle>
          <a:p>
            <a:pPr lvl="0"/>
            <a:r>
              <a:rPr lang="en-US"/>
              <a:t>Chart headline</a:t>
            </a:r>
          </a:p>
        </p:txBody>
      </p:sp>
      <p:sp>
        <p:nvSpPr>
          <p:cNvPr id="20" name="Content Placeholder 7">
            <a:extLst>
              <a:ext uri="{FF2B5EF4-FFF2-40B4-BE49-F238E27FC236}">
                <a16:creationId xmlns:a16="http://schemas.microsoft.com/office/drawing/2014/main" id="{8068154B-E4C5-D725-B0F4-9FB32C30F8B8}"/>
              </a:ext>
            </a:extLst>
          </p:cNvPr>
          <p:cNvSpPr>
            <a:spLocks noGrp="1"/>
          </p:cNvSpPr>
          <p:nvPr>
            <p:ph sz="quarter" idx="27" hasCustomPrompt="1"/>
          </p:nvPr>
        </p:nvSpPr>
        <p:spPr>
          <a:xfrm>
            <a:off x="396524" y="3838000"/>
            <a:ext cx="3744000" cy="2169000"/>
          </a:xfrm>
          <a:noFill/>
        </p:spPr>
        <p:txBody>
          <a:bodyPr/>
          <a:lstStyle>
            <a:lvl1pPr algn="ctr">
              <a:defRPr/>
            </a:lvl1pPr>
            <a:lvl5pPr>
              <a:defRPr/>
            </a:lvl5pPr>
          </a:lstStyle>
          <a:p>
            <a:pPr lvl="0"/>
            <a:r>
              <a:rPr lang="en-US"/>
              <a:t>Insert Chart</a:t>
            </a:r>
            <a:endParaRPr lang="en-GB"/>
          </a:p>
        </p:txBody>
      </p:sp>
      <p:sp>
        <p:nvSpPr>
          <p:cNvPr id="21" name="Text Placeholder 5">
            <a:extLst>
              <a:ext uri="{FF2B5EF4-FFF2-40B4-BE49-F238E27FC236}">
                <a16:creationId xmlns:a16="http://schemas.microsoft.com/office/drawing/2014/main" id="{609161F2-4E81-2C5A-1355-1578C6966E55}"/>
              </a:ext>
            </a:extLst>
          </p:cNvPr>
          <p:cNvSpPr>
            <a:spLocks noGrp="1"/>
          </p:cNvSpPr>
          <p:nvPr>
            <p:ph type="body" sz="quarter" idx="28" hasCustomPrompt="1"/>
          </p:nvPr>
        </p:nvSpPr>
        <p:spPr>
          <a:xfrm>
            <a:off x="4226803" y="3544789"/>
            <a:ext cx="2880000" cy="288000"/>
          </a:xfrm>
          <a:noFill/>
        </p:spPr>
        <p:txBody>
          <a:bodyPr lIns="0"/>
          <a:lstStyle>
            <a:lvl1pPr>
              <a:defRPr sz="1300"/>
            </a:lvl1pPr>
          </a:lstStyle>
          <a:p>
            <a:pPr lvl="0"/>
            <a:r>
              <a:rPr lang="en-US"/>
              <a:t>Chart headline</a:t>
            </a:r>
          </a:p>
        </p:txBody>
      </p:sp>
      <p:sp>
        <p:nvSpPr>
          <p:cNvPr id="43" name="Content Placeholder 7">
            <a:extLst>
              <a:ext uri="{FF2B5EF4-FFF2-40B4-BE49-F238E27FC236}">
                <a16:creationId xmlns:a16="http://schemas.microsoft.com/office/drawing/2014/main" id="{5DF6CD11-0BA6-BE5F-0CEB-B8C7EB3A63DB}"/>
              </a:ext>
            </a:extLst>
          </p:cNvPr>
          <p:cNvSpPr>
            <a:spLocks noGrp="1"/>
          </p:cNvSpPr>
          <p:nvPr>
            <p:ph sz="quarter" idx="29" hasCustomPrompt="1"/>
          </p:nvPr>
        </p:nvSpPr>
        <p:spPr>
          <a:xfrm>
            <a:off x="4227266" y="3832789"/>
            <a:ext cx="3744000" cy="2169000"/>
          </a:xfrm>
          <a:noFill/>
        </p:spPr>
        <p:txBody>
          <a:bodyPr/>
          <a:lstStyle>
            <a:lvl1pPr algn="ctr">
              <a:defRPr/>
            </a:lvl1pPr>
            <a:lvl5pPr>
              <a:defRPr/>
            </a:lvl5pPr>
          </a:lstStyle>
          <a:p>
            <a:pPr lvl="0"/>
            <a:r>
              <a:rPr lang="en-US"/>
              <a:t>Insert Chart</a:t>
            </a:r>
            <a:endParaRPr lang="en-GB"/>
          </a:p>
        </p:txBody>
      </p:sp>
      <p:sp>
        <p:nvSpPr>
          <p:cNvPr id="44" name="Text Placeholder 5">
            <a:extLst>
              <a:ext uri="{FF2B5EF4-FFF2-40B4-BE49-F238E27FC236}">
                <a16:creationId xmlns:a16="http://schemas.microsoft.com/office/drawing/2014/main" id="{A229D186-3AC0-9035-9DEC-A33E0A69EFCF}"/>
              </a:ext>
            </a:extLst>
          </p:cNvPr>
          <p:cNvSpPr>
            <a:spLocks noGrp="1"/>
          </p:cNvSpPr>
          <p:nvPr>
            <p:ph type="body" sz="quarter" idx="30" hasCustomPrompt="1"/>
          </p:nvPr>
        </p:nvSpPr>
        <p:spPr>
          <a:xfrm>
            <a:off x="8025468" y="3544789"/>
            <a:ext cx="2880000" cy="288000"/>
          </a:xfrm>
          <a:noFill/>
        </p:spPr>
        <p:txBody>
          <a:bodyPr lIns="0"/>
          <a:lstStyle>
            <a:lvl1pPr>
              <a:defRPr sz="1300"/>
            </a:lvl1pPr>
          </a:lstStyle>
          <a:p>
            <a:pPr lvl="0"/>
            <a:r>
              <a:rPr lang="en-US"/>
              <a:t>Chart headline</a:t>
            </a:r>
          </a:p>
        </p:txBody>
      </p:sp>
      <p:sp>
        <p:nvSpPr>
          <p:cNvPr id="45" name="Content Placeholder 7">
            <a:extLst>
              <a:ext uri="{FF2B5EF4-FFF2-40B4-BE49-F238E27FC236}">
                <a16:creationId xmlns:a16="http://schemas.microsoft.com/office/drawing/2014/main" id="{D0AABD0E-4839-EF4E-3ED7-F0E60DAFA138}"/>
              </a:ext>
            </a:extLst>
          </p:cNvPr>
          <p:cNvSpPr>
            <a:spLocks noGrp="1"/>
          </p:cNvSpPr>
          <p:nvPr>
            <p:ph sz="quarter" idx="31" hasCustomPrompt="1"/>
          </p:nvPr>
        </p:nvSpPr>
        <p:spPr>
          <a:xfrm>
            <a:off x="8025931" y="3832789"/>
            <a:ext cx="3744000" cy="2169000"/>
          </a:xfrm>
          <a:noFill/>
        </p:spPr>
        <p:txBody>
          <a:bodyPr/>
          <a:lstStyle>
            <a:lvl1pPr algn="ctr">
              <a:defRPr/>
            </a:lvl1pPr>
            <a:lvl5pPr>
              <a:defRPr/>
            </a:lvl5pPr>
          </a:lstStyle>
          <a:p>
            <a:pPr lvl="0"/>
            <a:r>
              <a:rPr lang="en-US"/>
              <a:t>Insert Chart</a:t>
            </a:r>
            <a:endParaRPr lang="en-GB"/>
          </a:p>
        </p:txBody>
      </p:sp>
      <p:sp>
        <p:nvSpPr>
          <p:cNvPr id="5" name="Rectangle 4">
            <a:extLst>
              <a:ext uri="{FF2B5EF4-FFF2-40B4-BE49-F238E27FC236}">
                <a16:creationId xmlns:a16="http://schemas.microsoft.com/office/drawing/2014/main" id="{518BAD1B-9DC8-E67B-F902-FAD718D6AC78}"/>
              </a:ext>
            </a:extLst>
          </p:cNvPr>
          <p:cNvSpPr/>
          <p:nvPr userDrawn="1"/>
        </p:nvSpPr>
        <p:spPr>
          <a:xfrm>
            <a:off x="10273" y="20548"/>
            <a:ext cx="1335640" cy="19520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004108762"/>
      </p:ext>
    </p:extLst>
  </p:cSld>
  <p:clrMapOvr>
    <a:masterClrMapping/>
  </p:clrMapOvr>
  <p:extLst>
    <p:ext uri="{DCECCB84-F9BA-43D5-87BE-67443E8EF086}">
      <p15:sldGuideLst xmlns:p15="http://schemas.microsoft.com/office/powerpoint/2012/main">
        <p15:guide id="1" pos="551">
          <p15:clr>
            <a:srgbClr val="5ACBF0"/>
          </p15:clr>
        </p15:guide>
        <p15:guide id="2" pos="2479">
          <p15:clr>
            <a:srgbClr val="5ACBF0"/>
          </p15:clr>
        </p15:guide>
        <p15:guide id="3" pos="2955">
          <p15:clr>
            <a:srgbClr val="5ACBF0"/>
          </p15:clr>
        </p15:guide>
        <p15:guide id="4" pos="4861">
          <p15:clr>
            <a:srgbClr val="5ACBF0"/>
          </p15:clr>
        </p15:guide>
        <p15:guide id="5" pos="7242">
          <p15:clr>
            <a:srgbClr val="5ACBF0"/>
          </p15:clr>
        </p15:guide>
        <p15:guide id="6" pos="5337">
          <p15:clr>
            <a:srgbClr val="5ACBF0"/>
          </p15:clr>
        </p15:guide>
        <p15:guide id="7" orient="horz" pos="1094">
          <p15:clr>
            <a:srgbClr val="5ACBF0"/>
          </p15:clr>
        </p15:guide>
        <p15:guide id="8" orient="horz" pos="1933">
          <p15:clr>
            <a:srgbClr val="5ACBF0"/>
          </p15:clr>
        </p15:guide>
        <p15:guide id="9" orient="horz" pos="799">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3x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noFill/>
        </p:spPr>
        <p:txBody>
          <a:bodyPr lIns="0"/>
          <a:lstStyle/>
          <a:p>
            <a:r>
              <a:rPr lang="en-US"/>
              <a:t>Click to edit Master title style</a:t>
            </a:r>
            <a:endParaRPr lang="en-GB"/>
          </a:p>
        </p:txBody>
      </p:sp>
      <p:sp>
        <p:nvSpPr>
          <p:cNvPr id="3" name="Slide Number Placeholder 2">
            <a:extLst>
              <a:ext uri="{FF2B5EF4-FFF2-40B4-BE49-F238E27FC236}">
                <a16:creationId xmlns:a16="http://schemas.microsoft.com/office/drawing/2014/main" id="{F6A6F3C7-49FD-B21D-A71C-794307806CB1}"/>
              </a:ext>
            </a:extLst>
          </p:cNvPr>
          <p:cNvSpPr>
            <a:spLocks noGrp="1"/>
          </p:cNvSpPr>
          <p:nvPr>
            <p:ph type="sldNum" sz="quarter" idx="10"/>
          </p:nvPr>
        </p:nvSpPr>
        <p:spPr>
          <a:noFill/>
        </p:spPr>
        <p:txBody>
          <a:bodyPr/>
          <a:lstStyle>
            <a:lvl1pPr>
              <a:defRPr sz="1200">
                <a:solidFill>
                  <a:schemeClr val="tx1"/>
                </a:solidFill>
              </a:defRPr>
            </a:lvl1pPr>
          </a:lstStyle>
          <a:p>
            <a:endParaRPr lang="en-GB"/>
          </a:p>
        </p:txBody>
      </p:sp>
      <p:sp>
        <p:nvSpPr>
          <p:cNvPr id="4" name="Footer Placeholder 3">
            <a:extLst>
              <a:ext uri="{FF2B5EF4-FFF2-40B4-BE49-F238E27FC236}">
                <a16:creationId xmlns:a16="http://schemas.microsoft.com/office/drawing/2014/main" id="{5E7FC5AF-5497-9574-95D6-1D004FDD63BA}"/>
              </a:ext>
            </a:extLst>
          </p:cNvPr>
          <p:cNvSpPr>
            <a:spLocks noGrp="1"/>
          </p:cNvSpPr>
          <p:nvPr>
            <p:ph type="ftr" sz="quarter" idx="11"/>
          </p:nvPr>
        </p:nvSpPr>
        <p:spPr>
          <a:xfrm>
            <a:off x="7350369" y="6429965"/>
            <a:ext cx="3176758" cy="307777"/>
          </a:xfrm>
          <a:prstGeom prst="rect">
            <a:avLst/>
          </a:prstGeom>
          <a:noFill/>
        </p:spPr>
        <p:txBody>
          <a:bodyPr/>
          <a:lstStyle/>
          <a:p>
            <a:r>
              <a:rPr lang="en-US"/>
              <a:t>Battery Value Chain Outlook</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3536" y="972000"/>
            <a:ext cx="3768557" cy="288000"/>
          </a:xfrm>
          <a:noFill/>
        </p:spPr>
        <p:txBody>
          <a:bodyPr lIns="0"/>
          <a:lstStyle>
            <a:lvl1pPr>
              <a:defRPr sz="1300"/>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35266" y="1260000"/>
            <a:ext cx="3744000" cy="4746998"/>
          </a:xfrm>
          <a:noFill/>
        </p:spPr>
        <p:txBody>
          <a:bodyPr/>
          <a:lstStyle>
            <a:lvl1pPr algn="ctr">
              <a:defRPr/>
            </a:lvl1pPr>
            <a:lvl5pPr>
              <a:defRPr/>
            </a:lvl5pPr>
          </a:lstStyle>
          <a:p>
            <a:pPr lvl="0"/>
            <a:r>
              <a:rPr lang="en-US"/>
              <a:t>Insert Char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11365200" cy="215999"/>
          </a:xfrm>
          <a:noFill/>
        </p:spPr>
        <p:txBody>
          <a:bodyPr lIns="0"/>
          <a:lstStyle>
            <a:lvl1pPr>
              <a:defRPr sz="1050">
                <a:solidFill>
                  <a:schemeClr val="tx1"/>
                </a:solidFill>
              </a:defRPr>
            </a:lvl1pPr>
            <a:lvl5pPr>
              <a:defRPr sz="1050">
                <a:solidFill>
                  <a:schemeClr val="tx1"/>
                </a:solidFill>
              </a:defRPr>
            </a:lvl5pPr>
          </a:lstStyle>
          <a:p>
            <a:pPr lvl="0"/>
            <a:r>
              <a:rPr lang="en-US"/>
              <a:t>DATA: CRU</a:t>
            </a:r>
            <a:endParaRPr lang="en-GB"/>
          </a:p>
        </p:txBody>
      </p:sp>
      <p:sp>
        <p:nvSpPr>
          <p:cNvPr id="13" name="Text Placeholder 5">
            <a:extLst>
              <a:ext uri="{FF2B5EF4-FFF2-40B4-BE49-F238E27FC236}">
                <a16:creationId xmlns:a16="http://schemas.microsoft.com/office/drawing/2014/main" id="{0F05E3CC-77D8-00D4-3892-43359D3D440D}"/>
              </a:ext>
            </a:extLst>
          </p:cNvPr>
          <p:cNvSpPr>
            <a:spLocks noGrp="1"/>
          </p:cNvSpPr>
          <p:nvPr>
            <p:ph type="body" sz="quarter" idx="20" hasCustomPrompt="1"/>
          </p:nvPr>
        </p:nvSpPr>
        <p:spPr>
          <a:xfrm>
            <a:off x="4212000" y="972000"/>
            <a:ext cx="3768556" cy="288000"/>
          </a:xfrm>
          <a:noFill/>
        </p:spPr>
        <p:txBody>
          <a:bodyPr lIns="108000"/>
          <a:lstStyle>
            <a:lvl1pPr>
              <a:defRPr sz="1300"/>
            </a:lvl1pPr>
          </a:lstStyle>
          <a:p>
            <a:pPr lvl="0"/>
            <a:r>
              <a:rPr lang="en-US"/>
              <a:t>Chart headline</a:t>
            </a:r>
          </a:p>
        </p:txBody>
      </p:sp>
      <p:sp>
        <p:nvSpPr>
          <p:cNvPr id="14" name="Content Placeholder 7">
            <a:extLst>
              <a:ext uri="{FF2B5EF4-FFF2-40B4-BE49-F238E27FC236}">
                <a16:creationId xmlns:a16="http://schemas.microsoft.com/office/drawing/2014/main" id="{CB8F5FCB-FB91-1CC1-0B13-4616C17F6F8D}"/>
              </a:ext>
            </a:extLst>
          </p:cNvPr>
          <p:cNvSpPr>
            <a:spLocks noGrp="1"/>
          </p:cNvSpPr>
          <p:nvPr>
            <p:ph sz="quarter" idx="21" hasCustomPrompt="1"/>
          </p:nvPr>
        </p:nvSpPr>
        <p:spPr>
          <a:xfrm>
            <a:off x="4233266" y="1260000"/>
            <a:ext cx="3744000" cy="4747000"/>
          </a:xfrm>
          <a:noFill/>
        </p:spPr>
        <p:txBody>
          <a:bodyPr/>
          <a:lstStyle>
            <a:lvl1pPr algn="ctr">
              <a:defRPr/>
            </a:lvl1pPr>
            <a:lvl5pPr>
              <a:defRPr/>
            </a:lvl5pPr>
          </a:lstStyle>
          <a:p>
            <a:pPr lvl="0"/>
            <a:r>
              <a:rPr lang="en-US"/>
              <a:t>Insert Chart</a:t>
            </a:r>
            <a:endParaRPr lang="en-GB"/>
          </a:p>
        </p:txBody>
      </p:sp>
      <p:sp>
        <p:nvSpPr>
          <p:cNvPr id="17" name="Text Placeholder 5">
            <a:extLst>
              <a:ext uri="{FF2B5EF4-FFF2-40B4-BE49-F238E27FC236}">
                <a16:creationId xmlns:a16="http://schemas.microsoft.com/office/drawing/2014/main" id="{82725930-D425-C749-FEC9-D1707FF63950}"/>
              </a:ext>
            </a:extLst>
          </p:cNvPr>
          <p:cNvSpPr>
            <a:spLocks noGrp="1"/>
          </p:cNvSpPr>
          <p:nvPr>
            <p:ph type="body" sz="quarter" idx="24" hasCustomPrompt="1"/>
          </p:nvPr>
        </p:nvSpPr>
        <p:spPr>
          <a:xfrm>
            <a:off x="8010000" y="972000"/>
            <a:ext cx="3767950" cy="288000"/>
          </a:xfrm>
          <a:noFill/>
        </p:spPr>
        <p:txBody>
          <a:bodyPr lIns="108000"/>
          <a:lstStyle>
            <a:lvl1pPr>
              <a:defRPr sz="1300"/>
            </a:lvl1pPr>
          </a:lstStyle>
          <a:p>
            <a:pPr lvl="0"/>
            <a:r>
              <a:rPr lang="en-US"/>
              <a:t>Chart headline</a:t>
            </a:r>
          </a:p>
        </p:txBody>
      </p:sp>
      <p:sp>
        <p:nvSpPr>
          <p:cNvPr id="18" name="Content Placeholder 7">
            <a:extLst>
              <a:ext uri="{FF2B5EF4-FFF2-40B4-BE49-F238E27FC236}">
                <a16:creationId xmlns:a16="http://schemas.microsoft.com/office/drawing/2014/main" id="{ECAB1B5D-539C-8387-B045-BAF0C5698A72}"/>
              </a:ext>
            </a:extLst>
          </p:cNvPr>
          <p:cNvSpPr>
            <a:spLocks noGrp="1"/>
          </p:cNvSpPr>
          <p:nvPr>
            <p:ph sz="quarter" idx="25" hasCustomPrompt="1"/>
          </p:nvPr>
        </p:nvSpPr>
        <p:spPr>
          <a:xfrm>
            <a:off x="8031266" y="1259999"/>
            <a:ext cx="3744000" cy="4746999"/>
          </a:xfrm>
          <a:noFill/>
        </p:spPr>
        <p:txBody>
          <a:bodyPr/>
          <a:lstStyle>
            <a:lvl1pPr algn="ctr">
              <a:defRPr/>
            </a:lvl1pPr>
            <a:lvl5pPr>
              <a:defRPr/>
            </a:lvl5pPr>
          </a:lstStyle>
          <a:p>
            <a:pPr lvl="0"/>
            <a:r>
              <a:rPr lang="en-US"/>
              <a:t>Insert Chart</a:t>
            </a:r>
            <a:endParaRPr lang="en-GB"/>
          </a:p>
        </p:txBody>
      </p:sp>
      <p:cxnSp>
        <p:nvCxnSpPr>
          <p:cNvPr id="7" name="Straight Connector 6">
            <a:extLst>
              <a:ext uri="{FF2B5EF4-FFF2-40B4-BE49-F238E27FC236}">
                <a16:creationId xmlns:a16="http://schemas.microsoft.com/office/drawing/2014/main" id="{975CDD6E-035F-9465-32D7-99297026358F}"/>
              </a:ext>
            </a:extLst>
          </p:cNvPr>
          <p:cNvCxnSpPr/>
          <p:nvPr userDrawn="1"/>
        </p:nvCxnSpPr>
        <p:spPr>
          <a:xfrm>
            <a:off x="4190031" y="3766451"/>
            <a:ext cx="7937" cy="1990725"/>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0" name="Straight Connector 9">
            <a:extLst>
              <a:ext uri="{FF2B5EF4-FFF2-40B4-BE49-F238E27FC236}">
                <a16:creationId xmlns:a16="http://schemas.microsoft.com/office/drawing/2014/main" id="{2A904D48-4B83-5BF3-D639-51D8FAB1FCCD}"/>
              </a:ext>
            </a:extLst>
          </p:cNvPr>
          <p:cNvCxnSpPr/>
          <p:nvPr userDrawn="1"/>
        </p:nvCxnSpPr>
        <p:spPr>
          <a:xfrm>
            <a:off x="7991475" y="3766451"/>
            <a:ext cx="7937" cy="1990725"/>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1" name="Straight Connector 10">
            <a:extLst>
              <a:ext uri="{FF2B5EF4-FFF2-40B4-BE49-F238E27FC236}">
                <a16:creationId xmlns:a16="http://schemas.microsoft.com/office/drawing/2014/main" id="{03F1CA78-3547-5512-F36A-2F1EEF65A0E0}"/>
              </a:ext>
            </a:extLst>
          </p:cNvPr>
          <p:cNvCxnSpPr/>
          <p:nvPr userDrawn="1"/>
        </p:nvCxnSpPr>
        <p:spPr>
          <a:xfrm>
            <a:off x="4197968" y="1401902"/>
            <a:ext cx="7937" cy="1990725"/>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6" name="Straight Connector 15">
            <a:extLst>
              <a:ext uri="{FF2B5EF4-FFF2-40B4-BE49-F238E27FC236}">
                <a16:creationId xmlns:a16="http://schemas.microsoft.com/office/drawing/2014/main" id="{7561E445-AB46-12BB-71E4-C5DB6124E6E7}"/>
              </a:ext>
            </a:extLst>
          </p:cNvPr>
          <p:cNvCxnSpPr/>
          <p:nvPr userDrawn="1"/>
        </p:nvCxnSpPr>
        <p:spPr>
          <a:xfrm>
            <a:off x="7999412" y="1401902"/>
            <a:ext cx="7937" cy="1990725"/>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sp>
        <p:nvSpPr>
          <p:cNvPr id="5" name="Rectangle 4">
            <a:extLst>
              <a:ext uri="{FF2B5EF4-FFF2-40B4-BE49-F238E27FC236}">
                <a16:creationId xmlns:a16="http://schemas.microsoft.com/office/drawing/2014/main" id="{A8E08B8C-3D67-710F-F333-4E871126F2E1}"/>
              </a:ext>
            </a:extLst>
          </p:cNvPr>
          <p:cNvSpPr/>
          <p:nvPr userDrawn="1"/>
        </p:nvSpPr>
        <p:spPr>
          <a:xfrm>
            <a:off x="10273" y="20548"/>
            <a:ext cx="1335640" cy="19520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452700601"/>
      </p:ext>
    </p:extLst>
  </p:cSld>
  <p:clrMapOvr>
    <a:masterClrMapping/>
  </p:clrMapOvr>
  <p:extLst>
    <p:ext uri="{DCECCB84-F9BA-43D5-87BE-67443E8EF086}">
      <p15:sldGuideLst xmlns:p15="http://schemas.microsoft.com/office/powerpoint/2012/main">
        <p15:guide id="1" pos="551">
          <p15:clr>
            <a:srgbClr val="5ACBF0"/>
          </p15:clr>
        </p15:guide>
        <p15:guide id="2" pos="2479">
          <p15:clr>
            <a:srgbClr val="5ACBF0"/>
          </p15:clr>
        </p15:guide>
        <p15:guide id="3" pos="2955">
          <p15:clr>
            <a:srgbClr val="5ACBF0"/>
          </p15:clr>
        </p15:guide>
        <p15:guide id="4" pos="4861">
          <p15:clr>
            <a:srgbClr val="5ACBF0"/>
          </p15:clr>
        </p15:guide>
        <p15:guide id="5" pos="7242">
          <p15:clr>
            <a:srgbClr val="5ACBF0"/>
          </p15:clr>
        </p15:guide>
        <p15:guide id="6" pos="5337">
          <p15:clr>
            <a:srgbClr val="5ACBF0"/>
          </p15:clr>
        </p15:guide>
        <p15:guide id="7" orient="horz" pos="1094">
          <p15:clr>
            <a:srgbClr val="5ACBF0"/>
          </p15:clr>
        </p15:guide>
        <p15:guide id="8" orient="horz" pos="1933">
          <p15:clr>
            <a:srgbClr val="5ACBF0"/>
          </p15:clr>
        </p15:guide>
        <p15:guide id="9" orient="horz" pos="799">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4 Content -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noFill/>
        </p:spPr>
        <p:txBody>
          <a:bodyPr lIns="0"/>
          <a:lstStyle/>
          <a:p>
            <a:r>
              <a:rPr lang="en-US"/>
              <a:t>Click to edit Master title style</a:t>
            </a:r>
            <a:endParaRPr lang="en-GB"/>
          </a:p>
        </p:txBody>
      </p:sp>
      <p:sp>
        <p:nvSpPr>
          <p:cNvPr id="3" name="Slide Number Placeholder 2">
            <a:extLst>
              <a:ext uri="{FF2B5EF4-FFF2-40B4-BE49-F238E27FC236}">
                <a16:creationId xmlns:a16="http://schemas.microsoft.com/office/drawing/2014/main" id="{F6A6F3C7-49FD-B21D-A71C-794307806CB1}"/>
              </a:ext>
            </a:extLst>
          </p:cNvPr>
          <p:cNvSpPr>
            <a:spLocks noGrp="1"/>
          </p:cNvSpPr>
          <p:nvPr>
            <p:ph type="sldNum" sz="quarter" idx="10"/>
          </p:nvPr>
        </p:nvSpPr>
        <p:spPr>
          <a:noFill/>
        </p:spPr>
        <p:txBody>
          <a:bodyPr/>
          <a:lstStyle>
            <a:lvl1pPr>
              <a:defRPr sz="1200">
                <a:solidFill>
                  <a:schemeClr val="tx1"/>
                </a:solidFill>
              </a:defRPr>
            </a:lvl1pPr>
          </a:lstStyle>
          <a:p>
            <a:endParaRPr lang="en-GB"/>
          </a:p>
        </p:txBody>
      </p:sp>
      <p:sp>
        <p:nvSpPr>
          <p:cNvPr id="4" name="Footer Placeholder 3">
            <a:extLst>
              <a:ext uri="{FF2B5EF4-FFF2-40B4-BE49-F238E27FC236}">
                <a16:creationId xmlns:a16="http://schemas.microsoft.com/office/drawing/2014/main" id="{5E7FC5AF-5497-9574-95D6-1D004FDD63BA}"/>
              </a:ext>
            </a:extLst>
          </p:cNvPr>
          <p:cNvSpPr>
            <a:spLocks noGrp="1"/>
          </p:cNvSpPr>
          <p:nvPr>
            <p:ph type="ftr" sz="quarter" idx="11"/>
          </p:nvPr>
        </p:nvSpPr>
        <p:spPr>
          <a:xfrm>
            <a:off x="7350369" y="6429965"/>
            <a:ext cx="3176758" cy="307777"/>
          </a:xfrm>
          <a:prstGeom prst="rect">
            <a:avLst/>
          </a:prstGeom>
          <a:noFill/>
        </p:spPr>
        <p:txBody>
          <a:bodyPr/>
          <a:lstStyle/>
          <a:p>
            <a:r>
              <a:rPr lang="en-US"/>
              <a:t>Battery Value Chain Outlook</a:t>
            </a:r>
            <a:endParaRPr lang="en-GB"/>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3998" y="1148985"/>
            <a:ext cx="5626800" cy="2340000"/>
          </a:xfrm>
          <a:noFill/>
        </p:spPr>
        <p:txBody>
          <a:bodyPr/>
          <a:lstStyle>
            <a:lvl1pPr algn="ctr">
              <a:defRPr/>
            </a:lvl1pPr>
            <a:lvl5pPr>
              <a:defRPr/>
            </a:lvl5pPr>
          </a:lstStyle>
          <a:p>
            <a:pPr lvl="0"/>
            <a:r>
              <a:rPr lang="en-US"/>
              <a:t>Insert Char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11377250" cy="215999"/>
          </a:xfrm>
          <a:noFill/>
        </p:spPr>
        <p:txBody>
          <a:bodyPr lIns="0"/>
          <a:lstStyle>
            <a:lvl1pPr>
              <a:defRPr sz="1050">
                <a:solidFill>
                  <a:schemeClr val="tx1"/>
                </a:solidFill>
              </a:defRPr>
            </a:lvl1pPr>
            <a:lvl5pPr>
              <a:defRPr sz="1050">
                <a:solidFill>
                  <a:schemeClr val="tx1"/>
                </a:solidFill>
              </a:defRPr>
            </a:lvl5pPr>
          </a:lstStyle>
          <a:p>
            <a:pPr lvl="0"/>
            <a:r>
              <a:rPr lang="en-US"/>
              <a:t>DATA: CRU</a:t>
            </a:r>
            <a:endParaRPr lang="en-GB"/>
          </a:p>
        </p:txBody>
      </p:sp>
      <p:sp>
        <p:nvSpPr>
          <p:cNvPr id="7" name="Content Placeholder 7">
            <a:extLst>
              <a:ext uri="{FF2B5EF4-FFF2-40B4-BE49-F238E27FC236}">
                <a16:creationId xmlns:a16="http://schemas.microsoft.com/office/drawing/2014/main" id="{301ACA0B-90BD-21BF-F5A6-4461A144284D}"/>
              </a:ext>
            </a:extLst>
          </p:cNvPr>
          <p:cNvSpPr>
            <a:spLocks noGrp="1"/>
          </p:cNvSpPr>
          <p:nvPr>
            <p:ph sz="quarter" idx="17" hasCustomPrompt="1"/>
          </p:nvPr>
        </p:nvSpPr>
        <p:spPr>
          <a:xfrm>
            <a:off x="413025" y="3592476"/>
            <a:ext cx="5626800" cy="2340000"/>
          </a:xfrm>
          <a:noFill/>
        </p:spPr>
        <p:txBody>
          <a:bodyPr/>
          <a:lstStyle>
            <a:lvl1pPr algn="ctr">
              <a:defRPr/>
            </a:lvl1pPr>
            <a:lvl5pPr>
              <a:defRPr/>
            </a:lvl5pPr>
          </a:lstStyle>
          <a:p>
            <a:pPr lvl="0"/>
            <a:r>
              <a:rPr lang="en-US"/>
              <a:t>Insert Chart</a:t>
            </a:r>
            <a:endParaRPr lang="en-GB"/>
          </a:p>
        </p:txBody>
      </p:sp>
      <p:sp>
        <p:nvSpPr>
          <p:cNvPr id="11" name="Content Placeholder 7">
            <a:extLst>
              <a:ext uri="{FF2B5EF4-FFF2-40B4-BE49-F238E27FC236}">
                <a16:creationId xmlns:a16="http://schemas.microsoft.com/office/drawing/2014/main" id="{D63835D9-5A9C-436E-DE0E-681C84B793FD}"/>
              </a:ext>
            </a:extLst>
          </p:cNvPr>
          <p:cNvSpPr>
            <a:spLocks noGrp="1"/>
          </p:cNvSpPr>
          <p:nvPr>
            <p:ph sz="quarter" idx="19" hasCustomPrompt="1"/>
          </p:nvPr>
        </p:nvSpPr>
        <p:spPr>
          <a:xfrm>
            <a:off x="6156689" y="3592476"/>
            <a:ext cx="5626800" cy="2340000"/>
          </a:xfrm>
          <a:noFill/>
        </p:spPr>
        <p:txBody>
          <a:bodyPr/>
          <a:lstStyle>
            <a:lvl1pPr algn="ctr">
              <a:defRPr/>
            </a:lvl1pPr>
            <a:lvl5pPr>
              <a:defRPr/>
            </a:lvl5pPr>
          </a:lstStyle>
          <a:p>
            <a:pPr lvl="0"/>
            <a:r>
              <a:rPr lang="en-US"/>
              <a:t>Insert Chart</a:t>
            </a:r>
            <a:endParaRPr lang="en-GB"/>
          </a:p>
        </p:txBody>
      </p:sp>
      <p:sp>
        <p:nvSpPr>
          <p:cNvPr id="14" name="Content Placeholder 7">
            <a:extLst>
              <a:ext uri="{FF2B5EF4-FFF2-40B4-BE49-F238E27FC236}">
                <a16:creationId xmlns:a16="http://schemas.microsoft.com/office/drawing/2014/main" id="{CB8F5FCB-FB91-1CC1-0B13-4616C17F6F8D}"/>
              </a:ext>
            </a:extLst>
          </p:cNvPr>
          <p:cNvSpPr>
            <a:spLocks noGrp="1"/>
          </p:cNvSpPr>
          <p:nvPr>
            <p:ph sz="quarter" idx="21" hasCustomPrompt="1"/>
          </p:nvPr>
        </p:nvSpPr>
        <p:spPr>
          <a:xfrm>
            <a:off x="6156688" y="1148985"/>
            <a:ext cx="5626800" cy="2340000"/>
          </a:xfrm>
          <a:noFill/>
        </p:spPr>
        <p:txBody>
          <a:bodyPr/>
          <a:lstStyle>
            <a:lvl1pPr algn="ctr">
              <a:defRPr/>
            </a:lvl1pPr>
            <a:lvl5pPr>
              <a:defRPr/>
            </a:lvl5pPr>
          </a:lstStyle>
          <a:p>
            <a:pPr lvl="0"/>
            <a:r>
              <a:rPr lang="en-US"/>
              <a:t>Insert Chart</a:t>
            </a:r>
            <a:endParaRPr lang="en-GB"/>
          </a:p>
        </p:txBody>
      </p:sp>
      <p:sp>
        <p:nvSpPr>
          <p:cNvPr id="5" name="Rectangle 4">
            <a:extLst>
              <a:ext uri="{FF2B5EF4-FFF2-40B4-BE49-F238E27FC236}">
                <a16:creationId xmlns:a16="http://schemas.microsoft.com/office/drawing/2014/main" id="{0A260A3E-E86E-35EF-6902-4C45EE681BCD}"/>
              </a:ext>
            </a:extLst>
          </p:cNvPr>
          <p:cNvSpPr/>
          <p:nvPr userDrawn="1"/>
        </p:nvSpPr>
        <p:spPr>
          <a:xfrm>
            <a:off x="10273" y="20548"/>
            <a:ext cx="1335640" cy="19520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034947602"/>
      </p:ext>
    </p:extLst>
  </p:cSld>
  <p:clrMapOvr>
    <a:masterClrMapping/>
  </p:clrMapOvr>
  <p:extLst>
    <p:ext uri="{DCECCB84-F9BA-43D5-87BE-67443E8EF086}">
      <p15:sldGuideLst xmlns:p15="http://schemas.microsoft.com/office/powerpoint/2012/main">
        <p15:guide id="1" pos="665">
          <p15:clr>
            <a:srgbClr val="5ACBF0"/>
          </p15:clr>
        </p15:guide>
        <p15:guide id="2" pos="2434">
          <p15:clr>
            <a:srgbClr val="5ACBF0"/>
          </p15:clr>
        </p15:guide>
        <p15:guide id="3" pos="3069">
          <p15:clr>
            <a:srgbClr val="5ACBF0"/>
          </p15:clr>
        </p15:guide>
        <p15:guide id="4" pos="4838">
          <p15:clr>
            <a:srgbClr val="5ACBF0"/>
          </p15:clr>
        </p15:guide>
        <p15:guide id="5" orient="horz" pos="1071">
          <p15:clr>
            <a:srgbClr val="5ACBF0"/>
          </p15:clr>
        </p15:guide>
        <p15:guide id="6" orient="horz" pos="1911">
          <p15:clr>
            <a:srgbClr val="5ACBF0"/>
          </p15:clr>
        </p15:guide>
        <p15:guide id="7" orient="horz" pos="3521">
          <p15:clr>
            <a:srgbClr val="5ACBF0"/>
          </p15:clr>
        </p15:guide>
        <p15:guide id="8" orient="horz" pos="2636">
          <p15:clr>
            <a:srgbClr val="5ACBF0"/>
          </p15:clr>
        </p15:guide>
        <p15:guide id="9" orient="horz" pos="799">
          <p15:clr>
            <a:srgbClr val="F26B43"/>
          </p15:clr>
        </p15:guide>
        <p15:guide id="10" orient="horz" pos="2364">
          <p15:clr>
            <a:srgbClr val="F26B43"/>
          </p15:clr>
        </p15:guide>
        <p15:guide id="11" orient="horz" pos="3725">
          <p15:clr>
            <a:srgbClr val="F26B43"/>
          </p15:clr>
        </p15:guide>
        <p15:guide id="12" pos="5042">
          <p15:clr>
            <a:srgbClr val="F26B43"/>
          </p15:clr>
        </p15:guide>
        <p15:guide id="13" pos="2638">
          <p15:clr>
            <a:srgbClr val="F26B43"/>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E7B26-88FC-3260-D8DB-AE16A1862260}"/>
              </a:ext>
            </a:extLst>
          </p:cNvPr>
          <p:cNvSpPr>
            <a:spLocks noGrp="1"/>
          </p:cNvSpPr>
          <p:nvPr>
            <p:ph type="title"/>
          </p:nvPr>
        </p:nvSpPr>
        <p:spPr>
          <a:xfrm>
            <a:off x="1504800" y="252000"/>
            <a:ext cx="9954000" cy="741600"/>
          </a:xfrm>
          <a:prstGeom prst="rect">
            <a:avLst/>
          </a:prstGeom>
        </p:spPr>
        <p:txBody>
          <a:bodyPr anchor="ctr"/>
          <a:lstStyle/>
          <a:p>
            <a:r>
              <a:rPr lang="en-US"/>
              <a:t>Click to edit Master title style</a:t>
            </a:r>
            <a:endParaRPr lang="en-GB"/>
          </a:p>
        </p:txBody>
      </p:sp>
      <p:sp>
        <p:nvSpPr>
          <p:cNvPr id="3" name="Footer Placeholder 2">
            <a:extLst>
              <a:ext uri="{FF2B5EF4-FFF2-40B4-BE49-F238E27FC236}">
                <a16:creationId xmlns:a16="http://schemas.microsoft.com/office/drawing/2014/main" id="{2FC67B72-A3A4-B10F-C99A-20DF6C229A86}"/>
              </a:ext>
            </a:extLst>
          </p:cNvPr>
          <p:cNvSpPr>
            <a:spLocks noGrp="1"/>
          </p:cNvSpPr>
          <p:nvPr>
            <p:ph type="ftr" sz="quarter" idx="10"/>
          </p:nvPr>
        </p:nvSpPr>
        <p:spPr>
          <a:xfrm>
            <a:off x="7350369" y="6429965"/>
            <a:ext cx="3176758" cy="307777"/>
          </a:xfrm>
          <a:prstGeom prst="rect">
            <a:avLst/>
          </a:prstGeom>
        </p:spPr>
        <p:txBody>
          <a:bodyPr/>
          <a:lstStyle/>
          <a:p>
            <a:r>
              <a:rPr lang="en-US"/>
              <a:t>Battery Value Chain Outlook</a:t>
            </a:r>
            <a:endParaRPr lang="en-GB"/>
          </a:p>
        </p:txBody>
      </p:sp>
      <p:sp>
        <p:nvSpPr>
          <p:cNvPr id="4" name="Rectangle: Rounded Corners 3">
            <a:extLst>
              <a:ext uri="{FF2B5EF4-FFF2-40B4-BE49-F238E27FC236}">
                <a16:creationId xmlns:a16="http://schemas.microsoft.com/office/drawing/2014/main" id="{A40665E9-5DFF-F339-AD81-E2EA1ED76D58}"/>
              </a:ext>
            </a:extLst>
          </p:cNvPr>
          <p:cNvSpPr/>
          <p:nvPr userDrawn="1"/>
        </p:nvSpPr>
        <p:spPr>
          <a:xfrm>
            <a:off x="367800" y="1282192"/>
            <a:ext cx="2876811" cy="1488767"/>
          </a:xfrm>
          <a:prstGeom prst="roundRect">
            <a:avLst/>
          </a:prstGeom>
          <a:ln>
            <a:solidFill>
              <a:srgbClr val="00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sp>
        <p:nvSpPr>
          <p:cNvPr id="5" name="Picture Placeholder 35">
            <a:extLst>
              <a:ext uri="{FF2B5EF4-FFF2-40B4-BE49-F238E27FC236}">
                <a16:creationId xmlns:a16="http://schemas.microsoft.com/office/drawing/2014/main" id="{3232AE05-2F4F-928C-3DE7-8CE37B0D8E78}"/>
              </a:ext>
            </a:extLst>
          </p:cNvPr>
          <p:cNvSpPr>
            <a:spLocks noGrp="1"/>
          </p:cNvSpPr>
          <p:nvPr>
            <p:ph type="pic" sz="quarter" idx="22" hasCustomPrompt="1"/>
          </p:nvPr>
        </p:nvSpPr>
        <p:spPr>
          <a:xfrm>
            <a:off x="473059" y="1373234"/>
            <a:ext cx="709809" cy="636319"/>
          </a:xfrm>
          <a:prstGeom prst="roundRect">
            <a:avLst/>
          </a:prstGeom>
        </p:spPr>
        <p:txBody>
          <a:bodyPr/>
          <a:lstStyle>
            <a:lvl1pPr algn="ctr">
              <a:defRPr/>
            </a:lvl1pPr>
          </a:lstStyle>
          <a:p>
            <a:r>
              <a:rPr lang="en-US"/>
              <a:t>Add photo</a:t>
            </a:r>
            <a:endParaRPr lang="en-GB"/>
          </a:p>
        </p:txBody>
      </p:sp>
      <p:sp>
        <p:nvSpPr>
          <p:cNvPr id="6" name="Content Placeholder 16">
            <a:extLst>
              <a:ext uri="{FF2B5EF4-FFF2-40B4-BE49-F238E27FC236}">
                <a16:creationId xmlns:a16="http://schemas.microsoft.com/office/drawing/2014/main" id="{25A42ECA-6EDB-8210-C488-8B501A21BAF5}"/>
              </a:ext>
            </a:extLst>
          </p:cNvPr>
          <p:cNvSpPr>
            <a:spLocks noGrp="1"/>
          </p:cNvSpPr>
          <p:nvPr>
            <p:ph sz="quarter" idx="36" hasCustomPrompt="1"/>
          </p:nvPr>
        </p:nvSpPr>
        <p:spPr>
          <a:xfrm>
            <a:off x="1298853" y="1373234"/>
            <a:ext cx="1828799" cy="636319"/>
          </a:xfrm>
          <a:prstGeom prst="rect">
            <a:avLst/>
          </a:prstGeom>
          <a:solidFill>
            <a:schemeClr val="bg1"/>
          </a:solidFill>
        </p:spPr>
        <p:txBody>
          <a:bodyPr anchor="ctr"/>
          <a:lstStyle>
            <a:lvl1pPr>
              <a:defRPr sz="1600" i="0">
                <a:solidFill>
                  <a:schemeClr val="tx1"/>
                </a:solidFill>
              </a:defRPr>
            </a:lvl1pPr>
            <a:lvl2pPr>
              <a:defRPr/>
            </a:lvl2pPr>
          </a:lstStyle>
          <a:p>
            <a:r>
              <a:rPr lang="en-GB" b="1"/>
              <a:t>Forename Surname</a:t>
            </a:r>
          </a:p>
        </p:txBody>
      </p:sp>
      <p:sp>
        <p:nvSpPr>
          <p:cNvPr id="7" name="Content Placeholder 16">
            <a:extLst>
              <a:ext uri="{FF2B5EF4-FFF2-40B4-BE49-F238E27FC236}">
                <a16:creationId xmlns:a16="http://schemas.microsoft.com/office/drawing/2014/main" id="{4B6D69B0-642E-6126-8A4C-7F69FBE4C25B}"/>
              </a:ext>
            </a:extLst>
          </p:cNvPr>
          <p:cNvSpPr>
            <a:spLocks noGrp="1"/>
          </p:cNvSpPr>
          <p:nvPr>
            <p:ph sz="quarter" idx="37" hasCustomPrompt="1"/>
          </p:nvPr>
        </p:nvSpPr>
        <p:spPr>
          <a:xfrm>
            <a:off x="473059" y="2137143"/>
            <a:ext cx="2633329" cy="531629"/>
          </a:xfrm>
          <a:prstGeom prst="rect">
            <a:avLst/>
          </a:prstGeom>
          <a:solidFill>
            <a:schemeClr val="bg1"/>
          </a:solidFill>
        </p:spPr>
        <p:txBody>
          <a:bodyPr/>
          <a:lstStyle>
            <a:lvl1pPr>
              <a:spcBef>
                <a:spcPts val="0"/>
              </a:spcBef>
              <a:defRPr sz="1000">
                <a:solidFill>
                  <a:schemeClr val="tx1"/>
                </a:solidFill>
              </a:defRPr>
            </a:lvl1pPr>
            <a:lvl2pPr>
              <a:defRPr/>
            </a:lvl2pPr>
          </a:lstStyle>
          <a:p>
            <a:pPr marL="0" marR="0" lvl="0" indent="0" algn="l" defTabSz="919569" rtl="0" eaLnBrk="1" fontAlgn="auto" latinLnBrk="0" hangingPunct="1">
              <a:lnSpc>
                <a:spcPct val="100000"/>
              </a:lnSpc>
              <a:spcBef>
                <a:spcPts val="800"/>
              </a:spcBef>
              <a:spcAft>
                <a:spcPts val="0"/>
              </a:spcAft>
              <a:buClrTx/>
              <a:buSzTx/>
              <a:buFont typeface="Arial" panose="020B0604020202020204" pitchFamily="34" charset="0"/>
              <a:buNone/>
              <a:tabLst/>
              <a:defRPr/>
            </a:pPr>
            <a:r>
              <a:rPr lang="en-GB" sz="1050"/>
              <a:t>Title</a:t>
            </a:r>
            <a:br>
              <a:rPr lang="en-GB" sz="1050"/>
            </a:br>
            <a:r>
              <a:rPr lang="en-GB" sz="1050"/>
              <a:t>+44 20 7903 ####</a:t>
            </a:r>
            <a:br>
              <a:rPr lang="en-GB" sz="1050"/>
            </a:br>
            <a:r>
              <a:rPr lang="en-GB" sz="1050">
                <a:hlinkClick r:id="rId2">
                  <a:extLst>
                    <a:ext uri="{A12FA001-AC4F-418D-AE19-62706E023703}">
                      <ahyp:hlinkClr xmlns:ahyp="http://schemas.microsoft.com/office/drawing/2018/hyperlinkcolor" xmlns="" val="tx"/>
                    </a:ext>
                  </a:extLst>
                </a:hlinkClick>
              </a:rPr>
              <a:t>forename.surname@crugroup.com</a:t>
            </a:r>
            <a:endParaRPr lang="en-GB" sz="1050"/>
          </a:p>
        </p:txBody>
      </p:sp>
      <p:sp>
        <p:nvSpPr>
          <p:cNvPr id="8" name="Rectangle: Rounded Corners 7">
            <a:extLst>
              <a:ext uri="{FF2B5EF4-FFF2-40B4-BE49-F238E27FC236}">
                <a16:creationId xmlns:a16="http://schemas.microsoft.com/office/drawing/2014/main" id="{E6F89DBE-1ADD-21F4-B987-DA15BA74CC15}"/>
              </a:ext>
            </a:extLst>
          </p:cNvPr>
          <p:cNvSpPr/>
          <p:nvPr userDrawn="1"/>
        </p:nvSpPr>
        <p:spPr>
          <a:xfrm>
            <a:off x="3310222" y="1282192"/>
            <a:ext cx="2876811" cy="1488767"/>
          </a:xfrm>
          <a:prstGeom prst="roundRect">
            <a:avLst/>
          </a:prstGeom>
          <a:ln>
            <a:solidFill>
              <a:srgbClr val="00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sp>
        <p:nvSpPr>
          <p:cNvPr id="9" name="Picture Placeholder 35">
            <a:extLst>
              <a:ext uri="{FF2B5EF4-FFF2-40B4-BE49-F238E27FC236}">
                <a16:creationId xmlns:a16="http://schemas.microsoft.com/office/drawing/2014/main" id="{B30B5D47-4D00-98E8-1434-30844FADE493}"/>
              </a:ext>
            </a:extLst>
          </p:cNvPr>
          <p:cNvSpPr>
            <a:spLocks noGrp="1"/>
          </p:cNvSpPr>
          <p:nvPr>
            <p:ph type="pic" sz="quarter" idx="38" hasCustomPrompt="1"/>
          </p:nvPr>
        </p:nvSpPr>
        <p:spPr>
          <a:xfrm>
            <a:off x="3415481" y="1373234"/>
            <a:ext cx="709809" cy="636319"/>
          </a:xfrm>
          <a:prstGeom prst="roundRect">
            <a:avLst/>
          </a:prstGeom>
        </p:spPr>
        <p:txBody>
          <a:bodyPr/>
          <a:lstStyle>
            <a:lvl1pPr algn="ctr">
              <a:defRPr/>
            </a:lvl1pPr>
          </a:lstStyle>
          <a:p>
            <a:r>
              <a:rPr lang="en-US"/>
              <a:t>Add photo</a:t>
            </a:r>
            <a:endParaRPr lang="en-GB"/>
          </a:p>
        </p:txBody>
      </p:sp>
      <p:sp>
        <p:nvSpPr>
          <p:cNvPr id="10" name="Content Placeholder 16">
            <a:extLst>
              <a:ext uri="{FF2B5EF4-FFF2-40B4-BE49-F238E27FC236}">
                <a16:creationId xmlns:a16="http://schemas.microsoft.com/office/drawing/2014/main" id="{AC9AA341-AC60-0744-CF74-816C43CC9BA2}"/>
              </a:ext>
            </a:extLst>
          </p:cNvPr>
          <p:cNvSpPr>
            <a:spLocks noGrp="1"/>
          </p:cNvSpPr>
          <p:nvPr>
            <p:ph sz="quarter" idx="39" hasCustomPrompt="1"/>
          </p:nvPr>
        </p:nvSpPr>
        <p:spPr>
          <a:xfrm>
            <a:off x="4241275" y="1373234"/>
            <a:ext cx="1828799" cy="636319"/>
          </a:xfrm>
          <a:prstGeom prst="rect">
            <a:avLst/>
          </a:prstGeom>
          <a:solidFill>
            <a:schemeClr val="bg1"/>
          </a:solidFill>
        </p:spPr>
        <p:txBody>
          <a:bodyPr anchor="ctr"/>
          <a:lstStyle>
            <a:lvl1pPr>
              <a:defRPr sz="1600" i="0">
                <a:solidFill>
                  <a:schemeClr val="tx1"/>
                </a:solidFill>
              </a:defRPr>
            </a:lvl1pPr>
            <a:lvl2pPr>
              <a:defRPr/>
            </a:lvl2pPr>
          </a:lstStyle>
          <a:p>
            <a:r>
              <a:rPr lang="en-GB" b="1"/>
              <a:t>Forename Surname</a:t>
            </a:r>
          </a:p>
        </p:txBody>
      </p:sp>
      <p:sp>
        <p:nvSpPr>
          <p:cNvPr id="11" name="Content Placeholder 16">
            <a:extLst>
              <a:ext uri="{FF2B5EF4-FFF2-40B4-BE49-F238E27FC236}">
                <a16:creationId xmlns:a16="http://schemas.microsoft.com/office/drawing/2014/main" id="{E5689BC6-F55D-02F3-66B2-7C7C112207D1}"/>
              </a:ext>
            </a:extLst>
          </p:cNvPr>
          <p:cNvSpPr>
            <a:spLocks noGrp="1"/>
          </p:cNvSpPr>
          <p:nvPr>
            <p:ph sz="quarter" idx="40" hasCustomPrompt="1"/>
          </p:nvPr>
        </p:nvSpPr>
        <p:spPr>
          <a:xfrm>
            <a:off x="3415481" y="2137143"/>
            <a:ext cx="2633329" cy="531629"/>
          </a:xfrm>
          <a:prstGeom prst="rect">
            <a:avLst/>
          </a:prstGeom>
          <a:solidFill>
            <a:schemeClr val="bg1"/>
          </a:solidFill>
        </p:spPr>
        <p:txBody>
          <a:bodyPr/>
          <a:lstStyle>
            <a:lvl1pPr>
              <a:spcBef>
                <a:spcPts val="0"/>
              </a:spcBef>
              <a:defRPr sz="1000">
                <a:solidFill>
                  <a:schemeClr val="tx1"/>
                </a:solidFill>
              </a:defRPr>
            </a:lvl1pPr>
            <a:lvl2pPr>
              <a:defRPr/>
            </a:lvl2pPr>
          </a:lstStyle>
          <a:p>
            <a:pPr marL="0" marR="0" lvl="0" indent="0" algn="l" defTabSz="919569" rtl="0" eaLnBrk="1" fontAlgn="auto" latinLnBrk="0" hangingPunct="1">
              <a:lnSpc>
                <a:spcPct val="100000"/>
              </a:lnSpc>
              <a:spcBef>
                <a:spcPts val="800"/>
              </a:spcBef>
              <a:spcAft>
                <a:spcPts val="0"/>
              </a:spcAft>
              <a:buClrTx/>
              <a:buSzTx/>
              <a:buFont typeface="Arial" panose="020B0604020202020204" pitchFamily="34" charset="0"/>
              <a:buNone/>
              <a:tabLst/>
              <a:defRPr/>
            </a:pPr>
            <a:r>
              <a:rPr lang="en-GB" sz="1050"/>
              <a:t>Title</a:t>
            </a:r>
            <a:br>
              <a:rPr lang="en-GB" sz="1050"/>
            </a:br>
            <a:r>
              <a:rPr lang="en-GB" sz="1050"/>
              <a:t>+44 20 7903 ####</a:t>
            </a:r>
            <a:br>
              <a:rPr lang="en-GB" sz="1050"/>
            </a:br>
            <a:r>
              <a:rPr lang="en-GB" sz="1050">
                <a:hlinkClick r:id="rId2">
                  <a:extLst>
                    <a:ext uri="{A12FA001-AC4F-418D-AE19-62706E023703}">
                      <ahyp:hlinkClr xmlns:ahyp="http://schemas.microsoft.com/office/drawing/2018/hyperlinkcolor" xmlns="" val="tx"/>
                    </a:ext>
                  </a:extLst>
                </a:hlinkClick>
              </a:rPr>
              <a:t>forename.surname@crugroup.com</a:t>
            </a:r>
            <a:endParaRPr lang="en-GB" sz="1050"/>
          </a:p>
        </p:txBody>
      </p:sp>
      <p:sp>
        <p:nvSpPr>
          <p:cNvPr id="12" name="Rectangle: Rounded Corners 11">
            <a:extLst>
              <a:ext uri="{FF2B5EF4-FFF2-40B4-BE49-F238E27FC236}">
                <a16:creationId xmlns:a16="http://schemas.microsoft.com/office/drawing/2014/main" id="{F50F336C-B351-73CD-F405-5E624D0815CD}"/>
              </a:ext>
            </a:extLst>
          </p:cNvPr>
          <p:cNvSpPr/>
          <p:nvPr userDrawn="1"/>
        </p:nvSpPr>
        <p:spPr>
          <a:xfrm>
            <a:off x="6252829" y="1282192"/>
            <a:ext cx="2876811" cy="1488767"/>
          </a:xfrm>
          <a:prstGeom prst="roundRect">
            <a:avLst/>
          </a:prstGeom>
          <a:ln>
            <a:solidFill>
              <a:srgbClr val="00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sp>
        <p:nvSpPr>
          <p:cNvPr id="13" name="Picture Placeholder 35">
            <a:extLst>
              <a:ext uri="{FF2B5EF4-FFF2-40B4-BE49-F238E27FC236}">
                <a16:creationId xmlns:a16="http://schemas.microsoft.com/office/drawing/2014/main" id="{28D7B3D0-001A-6102-3848-0D26C870B01C}"/>
              </a:ext>
            </a:extLst>
          </p:cNvPr>
          <p:cNvSpPr>
            <a:spLocks noGrp="1"/>
          </p:cNvSpPr>
          <p:nvPr>
            <p:ph type="pic" sz="quarter" idx="41" hasCustomPrompt="1"/>
          </p:nvPr>
        </p:nvSpPr>
        <p:spPr>
          <a:xfrm>
            <a:off x="6358088" y="1373234"/>
            <a:ext cx="709809" cy="636319"/>
          </a:xfrm>
          <a:prstGeom prst="roundRect">
            <a:avLst/>
          </a:prstGeom>
        </p:spPr>
        <p:txBody>
          <a:bodyPr/>
          <a:lstStyle>
            <a:lvl1pPr algn="ctr">
              <a:defRPr/>
            </a:lvl1pPr>
          </a:lstStyle>
          <a:p>
            <a:r>
              <a:rPr lang="en-US"/>
              <a:t>Add photo</a:t>
            </a:r>
            <a:endParaRPr lang="en-GB"/>
          </a:p>
        </p:txBody>
      </p:sp>
      <p:sp>
        <p:nvSpPr>
          <p:cNvPr id="14" name="Content Placeholder 16">
            <a:extLst>
              <a:ext uri="{FF2B5EF4-FFF2-40B4-BE49-F238E27FC236}">
                <a16:creationId xmlns:a16="http://schemas.microsoft.com/office/drawing/2014/main" id="{8038A79D-887F-41EB-4F1F-50A84B261443}"/>
              </a:ext>
            </a:extLst>
          </p:cNvPr>
          <p:cNvSpPr>
            <a:spLocks noGrp="1"/>
          </p:cNvSpPr>
          <p:nvPr>
            <p:ph sz="quarter" idx="42" hasCustomPrompt="1"/>
          </p:nvPr>
        </p:nvSpPr>
        <p:spPr>
          <a:xfrm>
            <a:off x="7183882" y="1373234"/>
            <a:ext cx="1828799" cy="636319"/>
          </a:xfrm>
          <a:prstGeom prst="rect">
            <a:avLst/>
          </a:prstGeom>
          <a:solidFill>
            <a:schemeClr val="bg1"/>
          </a:solidFill>
        </p:spPr>
        <p:txBody>
          <a:bodyPr anchor="ctr"/>
          <a:lstStyle>
            <a:lvl1pPr>
              <a:defRPr sz="1600" i="0">
                <a:solidFill>
                  <a:schemeClr val="tx1"/>
                </a:solidFill>
              </a:defRPr>
            </a:lvl1pPr>
            <a:lvl2pPr>
              <a:defRPr/>
            </a:lvl2pPr>
          </a:lstStyle>
          <a:p>
            <a:r>
              <a:rPr lang="en-GB" b="1"/>
              <a:t>Forename Surname</a:t>
            </a:r>
          </a:p>
        </p:txBody>
      </p:sp>
      <p:sp>
        <p:nvSpPr>
          <p:cNvPr id="15" name="Content Placeholder 16">
            <a:extLst>
              <a:ext uri="{FF2B5EF4-FFF2-40B4-BE49-F238E27FC236}">
                <a16:creationId xmlns:a16="http://schemas.microsoft.com/office/drawing/2014/main" id="{73D29D24-277F-FEA6-BEC5-AD652C19DD03}"/>
              </a:ext>
            </a:extLst>
          </p:cNvPr>
          <p:cNvSpPr>
            <a:spLocks noGrp="1"/>
          </p:cNvSpPr>
          <p:nvPr>
            <p:ph sz="quarter" idx="43" hasCustomPrompt="1"/>
          </p:nvPr>
        </p:nvSpPr>
        <p:spPr>
          <a:xfrm>
            <a:off x="6358088" y="2137143"/>
            <a:ext cx="2633329" cy="531629"/>
          </a:xfrm>
          <a:prstGeom prst="rect">
            <a:avLst/>
          </a:prstGeom>
          <a:solidFill>
            <a:schemeClr val="bg1"/>
          </a:solidFill>
        </p:spPr>
        <p:txBody>
          <a:bodyPr/>
          <a:lstStyle>
            <a:lvl1pPr>
              <a:spcBef>
                <a:spcPts val="0"/>
              </a:spcBef>
              <a:defRPr sz="1000">
                <a:solidFill>
                  <a:schemeClr val="tx1"/>
                </a:solidFill>
              </a:defRPr>
            </a:lvl1pPr>
            <a:lvl2pPr>
              <a:defRPr/>
            </a:lvl2pPr>
          </a:lstStyle>
          <a:p>
            <a:pPr marL="0" marR="0" lvl="0" indent="0" algn="l" defTabSz="919569" rtl="0" eaLnBrk="1" fontAlgn="auto" latinLnBrk="0" hangingPunct="1">
              <a:lnSpc>
                <a:spcPct val="100000"/>
              </a:lnSpc>
              <a:spcBef>
                <a:spcPts val="800"/>
              </a:spcBef>
              <a:spcAft>
                <a:spcPts val="0"/>
              </a:spcAft>
              <a:buClrTx/>
              <a:buSzTx/>
              <a:buFont typeface="Arial" panose="020B0604020202020204" pitchFamily="34" charset="0"/>
              <a:buNone/>
              <a:tabLst/>
              <a:defRPr/>
            </a:pPr>
            <a:r>
              <a:rPr lang="en-GB" sz="1050"/>
              <a:t>Title</a:t>
            </a:r>
            <a:br>
              <a:rPr lang="en-GB" sz="1050"/>
            </a:br>
            <a:r>
              <a:rPr lang="en-GB" sz="1050"/>
              <a:t>+44 20 7903 ####</a:t>
            </a:r>
            <a:br>
              <a:rPr lang="en-GB" sz="1050"/>
            </a:br>
            <a:r>
              <a:rPr lang="en-GB" sz="1050">
                <a:hlinkClick r:id="rId2">
                  <a:extLst>
                    <a:ext uri="{A12FA001-AC4F-418D-AE19-62706E023703}">
                      <ahyp:hlinkClr xmlns:ahyp="http://schemas.microsoft.com/office/drawing/2018/hyperlinkcolor" xmlns="" val="tx"/>
                    </a:ext>
                  </a:extLst>
                </a:hlinkClick>
              </a:rPr>
              <a:t>forename.surname@crugroup.com</a:t>
            </a:r>
            <a:endParaRPr lang="en-GB" sz="1050"/>
          </a:p>
        </p:txBody>
      </p:sp>
      <p:sp>
        <p:nvSpPr>
          <p:cNvPr id="16" name="Rectangle: Rounded Corners 15">
            <a:extLst>
              <a:ext uri="{FF2B5EF4-FFF2-40B4-BE49-F238E27FC236}">
                <a16:creationId xmlns:a16="http://schemas.microsoft.com/office/drawing/2014/main" id="{33481F76-301B-610D-6E43-D70748DB4D29}"/>
              </a:ext>
            </a:extLst>
          </p:cNvPr>
          <p:cNvSpPr/>
          <p:nvPr userDrawn="1"/>
        </p:nvSpPr>
        <p:spPr>
          <a:xfrm>
            <a:off x="9179582" y="1282192"/>
            <a:ext cx="2876811" cy="1488767"/>
          </a:xfrm>
          <a:prstGeom prst="roundRect">
            <a:avLst/>
          </a:prstGeom>
          <a:ln>
            <a:solidFill>
              <a:srgbClr val="00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sp>
        <p:nvSpPr>
          <p:cNvPr id="17" name="Picture Placeholder 35">
            <a:extLst>
              <a:ext uri="{FF2B5EF4-FFF2-40B4-BE49-F238E27FC236}">
                <a16:creationId xmlns:a16="http://schemas.microsoft.com/office/drawing/2014/main" id="{808420F4-3C68-7FF1-C813-D7E8EC7BCAFF}"/>
              </a:ext>
            </a:extLst>
          </p:cNvPr>
          <p:cNvSpPr>
            <a:spLocks noGrp="1"/>
          </p:cNvSpPr>
          <p:nvPr>
            <p:ph type="pic" sz="quarter" idx="44" hasCustomPrompt="1"/>
          </p:nvPr>
        </p:nvSpPr>
        <p:spPr>
          <a:xfrm>
            <a:off x="9284841" y="1373234"/>
            <a:ext cx="709809" cy="636319"/>
          </a:xfrm>
          <a:prstGeom prst="roundRect">
            <a:avLst/>
          </a:prstGeom>
        </p:spPr>
        <p:txBody>
          <a:bodyPr/>
          <a:lstStyle>
            <a:lvl1pPr algn="ctr">
              <a:defRPr/>
            </a:lvl1pPr>
          </a:lstStyle>
          <a:p>
            <a:r>
              <a:rPr lang="en-US"/>
              <a:t>Add photo</a:t>
            </a:r>
            <a:endParaRPr lang="en-GB"/>
          </a:p>
        </p:txBody>
      </p:sp>
      <p:sp>
        <p:nvSpPr>
          <p:cNvPr id="18" name="Content Placeholder 16">
            <a:extLst>
              <a:ext uri="{FF2B5EF4-FFF2-40B4-BE49-F238E27FC236}">
                <a16:creationId xmlns:a16="http://schemas.microsoft.com/office/drawing/2014/main" id="{F4C62556-49A0-34F9-E3E3-D5165857D9FF}"/>
              </a:ext>
            </a:extLst>
          </p:cNvPr>
          <p:cNvSpPr>
            <a:spLocks noGrp="1"/>
          </p:cNvSpPr>
          <p:nvPr>
            <p:ph sz="quarter" idx="45" hasCustomPrompt="1"/>
          </p:nvPr>
        </p:nvSpPr>
        <p:spPr>
          <a:xfrm>
            <a:off x="10110635" y="1373234"/>
            <a:ext cx="1828799" cy="636319"/>
          </a:xfrm>
          <a:prstGeom prst="rect">
            <a:avLst/>
          </a:prstGeom>
          <a:solidFill>
            <a:schemeClr val="bg1"/>
          </a:solidFill>
        </p:spPr>
        <p:txBody>
          <a:bodyPr anchor="ctr"/>
          <a:lstStyle>
            <a:lvl1pPr>
              <a:defRPr sz="1600" i="0">
                <a:solidFill>
                  <a:schemeClr val="tx1"/>
                </a:solidFill>
              </a:defRPr>
            </a:lvl1pPr>
            <a:lvl2pPr>
              <a:defRPr/>
            </a:lvl2pPr>
          </a:lstStyle>
          <a:p>
            <a:r>
              <a:rPr lang="en-GB" b="1"/>
              <a:t>Forename Surname</a:t>
            </a:r>
          </a:p>
        </p:txBody>
      </p:sp>
      <p:sp>
        <p:nvSpPr>
          <p:cNvPr id="19" name="Content Placeholder 16">
            <a:extLst>
              <a:ext uri="{FF2B5EF4-FFF2-40B4-BE49-F238E27FC236}">
                <a16:creationId xmlns:a16="http://schemas.microsoft.com/office/drawing/2014/main" id="{9B36B99C-221F-0A04-8026-0BA44778EC04}"/>
              </a:ext>
            </a:extLst>
          </p:cNvPr>
          <p:cNvSpPr>
            <a:spLocks noGrp="1"/>
          </p:cNvSpPr>
          <p:nvPr>
            <p:ph sz="quarter" idx="46" hasCustomPrompt="1"/>
          </p:nvPr>
        </p:nvSpPr>
        <p:spPr>
          <a:xfrm>
            <a:off x="9284841" y="2137143"/>
            <a:ext cx="2633329" cy="531629"/>
          </a:xfrm>
          <a:prstGeom prst="rect">
            <a:avLst/>
          </a:prstGeom>
          <a:solidFill>
            <a:schemeClr val="bg1"/>
          </a:solidFill>
        </p:spPr>
        <p:txBody>
          <a:bodyPr/>
          <a:lstStyle>
            <a:lvl1pPr>
              <a:spcBef>
                <a:spcPts val="0"/>
              </a:spcBef>
              <a:defRPr sz="1000">
                <a:solidFill>
                  <a:schemeClr val="tx1"/>
                </a:solidFill>
              </a:defRPr>
            </a:lvl1pPr>
            <a:lvl2pPr>
              <a:defRPr/>
            </a:lvl2pPr>
          </a:lstStyle>
          <a:p>
            <a:pPr marL="0" marR="0" lvl="0" indent="0" algn="l" defTabSz="919569" rtl="0" eaLnBrk="1" fontAlgn="auto" latinLnBrk="0" hangingPunct="1">
              <a:lnSpc>
                <a:spcPct val="100000"/>
              </a:lnSpc>
              <a:spcBef>
                <a:spcPts val="800"/>
              </a:spcBef>
              <a:spcAft>
                <a:spcPts val="0"/>
              </a:spcAft>
              <a:buClrTx/>
              <a:buSzTx/>
              <a:buFont typeface="Arial" panose="020B0604020202020204" pitchFamily="34" charset="0"/>
              <a:buNone/>
              <a:tabLst/>
              <a:defRPr/>
            </a:pPr>
            <a:r>
              <a:rPr lang="en-GB" sz="1050"/>
              <a:t>Title</a:t>
            </a:r>
            <a:br>
              <a:rPr lang="en-GB" sz="1050"/>
            </a:br>
            <a:r>
              <a:rPr lang="en-GB" sz="1050"/>
              <a:t>+44 20 7903 ####</a:t>
            </a:r>
            <a:br>
              <a:rPr lang="en-GB" sz="1050"/>
            </a:br>
            <a:r>
              <a:rPr lang="en-GB" sz="1050">
                <a:hlinkClick r:id="rId2">
                  <a:extLst>
                    <a:ext uri="{A12FA001-AC4F-418D-AE19-62706E023703}">
                      <ahyp:hlinkClr xmlns:ahyp="http://schemas.microsoft.com/office/drawing/2018/hyperlinkcolor" xmlns="" val="tx"/>
                    </a:ext>
                  </a:extLst>
                </a:hlinkClick>
              </a:rPr>
              <a:t>forename.surname@crugroup.com</a:t>
            </a:r>
            <a:endParaRPr lang="en-GB" sz="1050"/>
          </a:p>
        </p:txBody>
      </p:sp>
      <p:sp>
        <p:nvSpPr>
          <p:cNvPr id="20" name="Rectangle: Rounded Corners 19">
            <a:extLst>
              <a:ext uri="{FF2B5EF4-FFF2-40B4-BE49-F238E27FC236}">
                <a16:creationId xmlns:a16="http://schemas.microsoft.com/office/drawing/2014/main" id="{C32007C5-4152-7C87-128E-1CFD65E320FE}"/>
              </a:ext>
            </a:extLst>
          </p:cNvPr>
          <p:cNvSpPr/>
          <p:nvPr userDrawn="1"/>
        </p:nvSpPr>
        <p:spPr>
          <a:xfrm>
            <a:off x="367800" y="2878384"/>
            <a:ext cx="2876811" cy="1488767"/>
          </a:xfrm>
          <a:prstGeom prst="roundRect">
            <a:avLst/>
          </a:prstGeom>
          <a:ln>
            <a:solidFill>
              <a:srgbClr val="00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sp>
        <p:nvSpPr>
          <p:cNvPr id="21" name="Picture Placeholder 35">
            <a:extLst>
              <a:ext uri="{FF2B5EF4-FFF2-40B4-BE49-F238E27FC236}">
                <a16:creationId xmlns:a16="http://schemas.microsoft.com/office/drawing/2014/main" id="{C9BB9644-1790-E56D-E195-0DFD2482D2C8}"/>
              </a:ext>
            </a:extLst>
          </p:cNvPr>
          <p:cNvSpPr>
            <a:spLocks noGrp="1"/>
          </p:cNvSpPr>
          <p:nvPr>
            <p:ph type="pic" sz="quarter" idx="47" hasCustomPrompt="1"/>
          </p:nvPr>
        </p:nvSpPr>
        <p:spPr>
          <a:xfrm>
            <a:off x="473059" y="2969426"/>
            <a:ext cx="709809" cy="636319"/>
          </a:xfrm>
          <a:prstGeom prst="roundRect">
            <a:avLst/>
          </a:prstGeom>
        </p:spPr>
        <p:txBody>
          <a:bodyPr/>
          <a:lstStyle>
            <a:lvl1pPr algn="ctr">
              <a:defRPr/>
            </a:lvl1pPr>
          </a:lstStyle>
          <a:p>
            <a:r>
              <a:rPr lang="en-US"/>
              <a:t>Add photo</a:t>
            </a:r>
            <a:endParaRPr lang="en-GB"/>
          </a:p>
        </p:txBody>
      </p:sp>
      <p:sp>
        <p:nvSpPr>
          <p:cNvPr id="22" name="Content Placeholder 16">
            <a:extLst>
              <a:ext uri="{FF2B5EF4-FFF2-40B4-BE49-F238E27FC236}">
                <a16:creationId xmlns:a16="http://schemas.microsoft.com/office/drawing/2014/main" id="{8CF69B77-8112-6130-9331-88A28D710A45}"/>
              </a:ext>
            </a:extLst>
          </p:cNvPr>
          <p:cNvSpPr>
            <a:spLocks noGrp="1"/>
          </p:cNvSpPr>
          <p:nvPr>
            <p:ph sz="quarter" idx="48" hasCustomPrompt="1"/>
          </p:nvPr>
        </p:nvSpPr>
        <p:spPr>
          <a:xfrm>
            <a:off x="1298853" y="2969426"/>
            <a:ext cx="1828799" cy="636319"/>
          </a:xfrm>
          <a:prstGeom prst="rect">
            <a:avLst/>
          </a:prstGeom>
          <a:solidFill>
            <a:schemeClr val="bg1"/>
          </a:solidFill>
        </p:spPr>
        <p:txBody>
          <a:bodyPr anchor="ctr"/>
          <a:lstStyle>
            <a:lvl1pPr>
              <a:defRPr sz="1600" i="0">
                <a:solidFill>
                  <a:schemeClr val="tx1"/>
                </a:solidFill>
              </a:defRPr>
            </a:lvl1pPr>
            <a:lvl2pPr>
              <a:defRPr/>
            </a:lvl2pPr>
          </a:lstStyle>
          <a:p>
            <a:r>
              <a:rPr lang="en-GB" b="1"/>
              <a:t>Forename Surname</a:t>
            </a:r>
          </a:p>
        </p:txBody>
      </p:sp>
      <p:sp>
        <p:nvSpPr>
          <p:cNvPr id="23" name="Content Placeholder 16">
            <a:extLst>
              <a:ext uri="{FF2B5EF4-FFF2-40B4-BE49-F238E27FC236}">
                <a16:creationId xmlns:a16="http://schemas.microsoft.com/office/drawing/2014/main" id="{D1A5FCF1-FD3E-8EED-FB71-E63D18738D8E}"/>
              </a:ext>
            </a:extLst>
          </p:cNvPr>
          <p:cNvSpPr>
            <a:spLocks noGrp="1"/>
          </p:cNvSpPr>
          <p:nvPr>
            <p:ph sz="quarter" idx="49" hasCustomPrompt="1"/>
          </p:nvPr>
        </p:nvSpPr>
        <p:spPr>
          <a:xfrm>
            <a:off x="473059" y="3765139"/>
            <a:ext cx="2633329" cy="531629"/>
          </a:xfrm>
          <a:prstGeom prst="rect">
            <a:avLst/>
          </a:prstGeom>
          <a:solidFill>
            <a:schemeClr val="bg1"/>
          </a:solidFill>
        </p:spPr>
        <p:txBody>
          <a:bodyPr/>
          <a:lstStyle>
            <a:lvl1pPr>
              <a:spcBef>
                <a:spcPts val="0"/>
              </a:spcBef>
              <a:defRPr sz="1000">
                <a:solidFill>
                  <a:schemeClr val="tx1"/>
                </a:solidFill>
              </a:defRPr>
            </a:lvl1pPr>
            <a:lvl2pPr>
              <a:defRPr/>
            </a:lvl2pPr>
          </a:lstStyle>
          <a:p>
            <a:pPr marL="0" marR="0" lvl="0" indent="0" algn="l" defTabSz="919569" rtl="0" eaLnBrk="1" fontAlgn="auto" latinLnBrk="0" hangingPunct="1">
              <a:lnSpc>
                <a:spcPct val="100000"/>
              </a:lnSpc>
              <a:spcBef>
                <a:spcPts val="800"/>
              </a:spcBef>
              <a:spcAft>
                <a:spcPts val="0"/>
              </a:spcAft>
              <a:buClrTx/>
              <a:buSzTx/>
              <a:buFont typeface="Arial" panose="020B0604020202020204" pitchFamily="34" charset="0"/>
              <a:buNone/>
              <a:tabLst/>
              <a:defRPr/>
            </a:pPr>
            <a:r>
              <a:rPr lang="en-GB" sz="1050"/>
              <a:t>Title</a:t>
            </a:r>
            <a:br>
              <a:rPr lang="en-GB" sz="1050"/>
            </a:br>
            <a:r>
              <a:rPr lang="en-GB" sz="1050"/>
              <a:t>+44 20 7903 ####</a:t>
            </a:r>
            <a:br>
              <a:rPr lang="en-GB" sz="1050"/>
            </a:br>
            <a:r>
              <a:rPr lang="en-GB" sz="1050">
                <a:hlinkClick r:id="rId2">
                  <a:extLst>
                    <a:ext uri="{A12FA001-AC4F-418D-AE19-62706E023703}">
                      <ahyp:hlinkClr xmlns:ahyp="http://schemas.microsoft.com/office/drawing/2018/hyperlinkcolor" xmlns="" val="tx"/>
                    </a:ext>
                  </a:extLst>
                </a:hlinkClick>
              </a:rPr>
              <a:t>forename.surname@crugroup.com</a:t>
            </a:r>
            <a:endParaRPr lang="en-GB" sz="1050"/>
          </a:p>
        </p:txBody>
      </p:sp>
      <p:sp>
        <p:nvSpPr>
          <p:cNvPr id="24" name="Rectangle: Rounded Corners 23">
            <a:extLst>
              <a:ext uri="{FF2B5EF4-FFF2-40B4-BE49-F238E27FC236}">
                <a16:creationId xmlns:a16="http://schemas.microsoft.com/office/drawing/2014/main" id="{C397F6BF-F80E-A0F7-1422-B767B06A3011}"/>
              </a:ext>
            </a:extLst>
          </p:cNvPr>
          <p:cNvSpPr/>
          <p:nvPr userDrawn="1"/>
        </p:nvSpPr>
        <p:spPr>
          <a:xfrm>
            <a:off x="3310222" y="2878384"/>
            <a:ext cx="2876811" cy="1488767"/>
          </a:xfrm>
          <a:prstGeom prst="roundRect">
            <a:avLst/>
          </a:prstGeom>
          <a:ln>
            <a:solidFill>
              <a:srgbClr val="00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sp>
        <p:nvSpPr>
          <p:cNvPr id="25" name="Picture Placeholder 35">
            <a:extLst>
              <a:ext uri="{FF2B5EF4-FFF2-40B4-BE49-F238E27FC236}">
                <a16:creationId xmlns:a16="http://schemas.microsoft.com/office/drawing/2014/main" id="{4A9E53A8-A8FE-55EB-A1CC-42186E7CB034}"/>
              </a:ext>
            </a:extLst>
          </p:cNvPr>
          <p:cNvSpPr>
            <a:spLocks noGrp="1"/>
          </p:cNvSpPr>
          <p:nvPr>
            <p:ph type="pic" sz="quarter" idx="50" hasCustomPrompt="1"/>
          </p:nvPr>
        </p:nvSpPr>
        <p:spPr>
          <a:xfrm>
            <a:off x="3415481" y="2969426"/>
            <a:ext cx="709809" cy="636319"/>
          </a:xfrm>
          <a:prstGeom prst="roundRect">
            <a:avLst/>
          </a:prstGeom>
        </p:spPr>
        <p:txBody>
          <a:bodyPr/>
          <a:lstStyle>
            <a:lvl1pPr algn="ctr">
              <a:defRPr/>
            </a:lvl1pPr>
          </a:lstStyle>
          <a:p>
            <a:r>
              <a:rPr lang="en-US"/>
              <a:t>Add photo</a:t>
            </a:r>
            <a:endParaRPr lang="en-GB"/>
          </a:p>
        </p:txBody>
      </p:sp>
      <p:sp>
        <p:nvSpPr>
          <p:cNvPr id="26" name="Content Placeholder 16">
            <a:extLst>
              <a:ext uri="{FF2B5EF4-FFF2-40B4-BE49-F238E27FC236}">
                <a16:creationId xmlns:a16="http://schemas.microsoft.com/office/drawing/2014/main" id="{36C2BCF7-09C8-3A05-16FA-A35CB3152D8B}"/>
              </a:ext>
            </a:extLst>
          </p:cNvPr>
          <p:cNvSpPr>
            <a:spLocks noGrp="1"/>
          </p:cNvSpPr>
          <p:nvPr>
            <p:ph sz="quarter" idx="51" hasCustomPrompt="1"/>
          </p:nvPr>
        </p:nvSpPr>
        <p:spPr>
          <a:xfrm>
            <a:off x="4241275" y="2969426"/>
            <a:ext cx="1828799" cy="636319"/>
          </a:xfrm>
          <a:prstGeom prst="rect">
            <a:avLst/>
          </a:prstGeom>
          <a:solidFill>
            <a:schemeClr val="bg1"/>
          </a:solidFill>
        </p:spPr>
        <p:txBody>
          <a:bodyPr anchor="ctr"/>
          <a:lstStyle>
            <a:lvl1pPr>
              <a:defRPr sz="1600" i="0">
                <a:solidFill>
                  <a:schemeClr val="tx1"/>
                </a:solidFill>
              </a:defRPr>
            </a:lvl1pPr>
            <a:lvl2pPr>
              <a:defRPr/>
            </a:lvl2pPr>
          </a:lstStyle>
          <a:p>
            <a:r>
              <a:rPr lang="en-GB" b="1"/>
              <a:t>Forename Surname</a:t>
            </a:r>
          </a:p>
        </p:txBody>
      </p:sp>
      <p:sp>
        <p:nvSpPr>
          <p:cNvPr id="27" name="Content Placeholder 16">
            <a:extLst>
              <a:ext uri="{FF2B5EF4-FFF2-40B4-BE49-F238E27FC236}">
                <a16:creationId xmlns:a16="http://schemas.microsoft.com/office/drawing/2014/main" id="{6430A049-C5E3-2EA6-E84D-E15EC5F286CF}"/>
              </a:ext>
            </a:extLst>
          </p:cNvPr>
          <p:cNvSpPr>
            <a:spLocks noGrp="1"/>
          </p:cNvSpPr>
          <p:nvPr>
            <p:ph sz="quarter" idx="52" hasCustomPrompt="1"/>
          </p:nvPr>
        </p:nvSpPr>
        <p:spPr>
          <a:xfrm>
            <a:off x="3415481" y="3765139"/>
            <a:ext cx="2633329" cy="531629"/>
          </a:xfrm>
          <a:prstGeom prst="rect">
            <a:avLst/>
          </a:prstGeom>
          <a:solidFill>
            <a:schemeClr val="bg1"/>
          </a:solidFill>
        </p:spPr>
        <p:txBody>
          <a:bodyPr/>
          <a:lstStyle>
            <a:lvl1pPr>
              <a:spcBef>
                <a:spcPts val="0"/>
              </a:spcBef>
              <a:defRPr sz="1000">
                <a:solidFill>
                  <a:schemeClr val="tx1"/>
                </a:solidFill>
              </a:defRPr>
            </a:lvl1pPr>
            <a:lvl2pPr>
              <a:defRPr/>
            </a:lvl2pPr>
          </a:lstStyle>
          <a:p>
            <a:pPr marL="0" marR="0" lvl="0" indent="0" algn="l" defTabSz="919569" rtl="0" eaLnBrk="1" fontAlgn="auto" latinLnBrk="0" hangingPunct="1">
              <a:lnSpc>
                <a:spcPct val="100000"/>
              </a:lnSpc>
              <a:spcBef>
                <a:spcPts val="800"/>
              </a:spcBef>
              <a:spcAft>
                <a:spcPts val="0"/>
              </a:spcAft>
              <a:buClrTx/>
              <a:buSzTx/>
              <a:buFont typeface="Arial" panose="020B0604020202020204" pitchFamily="34" charset="0"/>
              <a:buNone/>
              <a:tabLst/>
              <a:defRPr/>
            </a:pPr>
            <a:r>
              <a:rPr lang="en-GB" sz="1050"/>
              <a:t>Title</a:t>
            </a:r>
            <a:br>
              <a:rPr lang="en-GB" sz="1050"/>
            </a:br>
            <a:r>
              <a:rPr lang="en-GB" sz="1050"/>
              <a:t>+44 20 7903 ####</a:t>
            </a:r>
            <a:br>
              <a:rPr lang="en-GB" sz="1050"/>
            </a:br>
            <a:r>
              <a:rPr lang="en-GB" sz="1050">
                <a:hlinkClick r:id="rId2">
                  <a:extLst>
                    <a:ext uri="{A12FA001-AC4F-418D-AE19-62706E023703}">
                      <ahyp:hlinkClr xmlns:ahyp="http://schemas.microsoft.com/office/drawing/2018/hyperlinkcolor" xmlns="" val="tx"/>
                    </a:ext>
                  </a:extLst>
                </a:hlinkClick>
              </a:rPr>
              <a:t>forename.surname@crugroup.com</a:t>
            </a:r>
            <a:endParaRPr lang="en-GB" sz="1050"/>
          </a:p>
        </p:txBody>
      </p:sp>
      <p:sp>
        <p:nvSpPr>
          <p:cNvPr id="28" name="Rectangle: Rounded Corners 27">
            <a:extLst>
              <a:ext uri="{FF2B5EF4-FFF2-40B4-BE49-F238E27FC236}">
                <a16:creationId xmlns:a16="http://schemas.microsoft.com/office/drawing/2014/main" id="{5A55BAAD-4D77-08CF-A6E3-EB3624D6DB0A}"/>
              </a:ext>
            </a:extLst>
          </p:cNvPr>
          <p:cNvSpPr/>
          <p:nvPr userDrawn="1"/>
        </p:nvSpPr>
        <p:spPr>
          <a:xfrm>
            <a:off x="6252829" y="2878384"/>
            <a:ext cx="2876811" cy="1488767"/>
          </a:xfrm>
          <a:prstGeom prst="roundRect">
            <a:avLst/>
          </a:prstGeom>
          <a:ln>
            <a:solidFill>
              <a:srgbClr val="00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sp>
        <p:nvSpPr>
          <p:cNvPr id="29" name="Picture Placeholder 35">
            <a:extLst>
              <a:ext uri="{FF2B5EF4-FFF2-40B4-BE49-F238E27FC236}">
                <a16:creationId xmlns:a16="http://schemas.microsoft.com/office/drawing/2014/main" id="{FB749911-500D-2FCC-EF68-0F904191723C}"/>
              </a:ext>
            </a:extLst>
          </p:cNvPr>
          <p:cNvSpPr>
            <a:spLocks noGrp="1"/>
          </p:cNvSpPr>
          <p:nvPr>
            <p:ph type="pic" sz="quarter" idx="53" hasCustomPrompt="1"/>
          </p:nvPr>
        </p:nvSpPr>
        <p:spPr>
          <a:xfrm>
            <a:off x="6358088" y="2969426"/>
            <a:ext cx="709809" cy="636319"/>
          </a:xfrm>
          <a:prstGeom prst="roundRect">
            <a:avLst/>
          </a:prstGeom>
        </p:spPr>
        <p:txBody>
          <a:bodyPr/>
          <a:lstStyle>
            <a:lvl1pPr algn="ctr">
              <a:defRPr/>
            </a:lvl1pPr>
          </a:lstStyle>
          <a:p>
            <a:r>
              <a:rPr lang="en-US"/>
              <a:t>Add photo</a:t>
            </a:r>
            <a:endParaRPr lang="en-GB"/>
          </a:p>
        </p:txBody>
      </p:sp>
      <p:sp>
        <p:nvSpPr>
          <p:cNvPr id="30" name="Content Placeholder 16">
            <a:extLst>
              <a:ext uri="{FF2B5EF4-FFF2-40B4-BE49-F238E27FC236}">
                <a16:creationId xmlns:a16="http://schemas.microsoft.com/office/drawing/2014/main" id="{D746C92E-98E3-AE5C-8197-AAC9CDBD0A48}"/>
              </a:ext>
            </a:extLst>
          </p:cNvPr>
          <p:cNvSpPr>
            <a:spLocks noGrp="1"/>
          </p:cNvSpPr>
          <p:nvPr>
            <p:ph sz="quarter" idx="54" hasCustomPrompt="1"/>
          </p:nvPr>
        </p:nvSpPr>
        <p:spPr>
          <a:xfrm>
            <a:off x="7183882" y="2969426"/>
            <a:ext cx="1828799" cy="636319"/>
          </a:xfrm>
          <a:prstGeom prst="rect">
            <a:avLst/>
          </a:prstGeom>
          <a:solidFill>
            <a:schemeClr val="bg1"/>
          </a:solidFill>
        </p:spPr>
        <p:txBody>
          <a:bodyPr anchor="ctr"/>
          <a:lstStyle>
            <a:lvl1pPr>
              <a:defRPr sz="1600" i="0">
                <a:solidFill>
                  <a:schemeClr val="tx1"/>
                </a:solidFill>
              </a:defRPr>
            </a:lvl1pPr>
            <a:lvl2pPr>
              <a:defRPr/>
            </a:lvl2pPr>
          </a:lstStyle>
          <a:p>
            <a:r>
              <a:rPr lang="en-GB" b="1"/>
              <a:t>Forename Surname</a:t>
            </a:r>
          </a:p>
        </p:txBody>
      </p:sp>
      <p:sp>
        <p:nvSpPr>
          <p:cNvPr id="31" name="Content Placeholder 16">
            <a:extLst>
              <a:ext uri="{FF2B5EF4-FFF2-40B4-BE49-F238E27FC236}">
                <a16:creationId xmlns:a16="http://schemas.microsoft.com/office/drawing/2014/main" id="{8FE49FA2-1B10-9F26-3CA9-7D865A819EEB}"/>
              </a:ext>
            </a:extLst>
          </p:cNvPr>
          <p:cNvSpPr>
            <a:spLocks noGrp="1"/>
          </p:cNvSpPr>
          <p:nvPr>
            <p:ph sz="quarter" idx="55" hasCustomPrompt="1"/>
          </p:nvPr>
        </p:nvSpPr>
        <p:spPr>
          <a:xfrm>
            <a:off x="6358088" y="3765139"/>
            <a:ext cx="2633329" cy="531629"/>
          </a:xfrm>
          <a:prstGeom prst="rect">
            <a:avLst/>
          </a:prstGeom>
          <a:solidFill>
            <a:schemeClr val="bg1"/>
          </a:solidFill>
        </p:spPr>
        <p:txBody>
          <a:bodyPr/>
          <a:lstStyle>
            <a:lvl1pPr>
              <a:spcBef>
                <a:spcPts val="0"/>
              </a:spcBef>
              <a:defRPr sz="1000">
                <a:solidFill>
                  <a:schemeClr val="tx1"/>
                </a:solidFill>
              </a:defRPr>
            </a:lvl1pPr>
            <a:lvl2pPr>
              <a:defRPr/>
            </a:lvl2pPr>
          </a:lstStyle>
          <a:p>
            <a:pPr marL="0" marR="0" lvl="0" indent="0" algn="l" defTabSz="919569" rtl="0" eaLnBrk="1" fontAlgn="auto" latinLnBrk="0" hangingPunct="1">
              <a:lnSpc>
                <a:spcPct val="100000"/>
              </a:lnSpc>
              <a:spcBef>
                <a:spcPts val="800"/>
              </a:spcBef>
              <a:spcAft>
                <a:spcPts val="0"/>
              </a:spcAft>
              <a:buClrTx/>
              <a:buSzTx/>
              <a:buFont typeface="Arial" panose="020B0604020202020204" pitchFamily="34" charset="0"/>
              <a:buNone/>
              <a:tabLst/>
              <a:defRPr/>
            </a:pPr>
            <a:r>
              <a:rPr lang="en-GB" sz="1050"/>
              <a:t>Title</a:t>
            </a:r>
            <a:br>
              <a:rPr lang="en-GB" sz="1050"/>
            </a:br>
            <a:r>
              <a:rPr lang="en-GB" sz="1050"/>
              <a:t>+44 20 7903 ####</a:t>
            </a:r>
            <a:br>
              <a:rPr lang="en-GB" sz="1050"/>
            </a:br>
            <a:r>
              <a:rPr lang="en-GB" sz="1050">
                <a:hlinkClick r:id="rId2">
                  <a:extLst>
                    <a:ext uri="{A12FA001-AC4F-418D-AE19-62706E023703}">
                      <ahyp:hlinkClr xmlns:ahyp="http://schemas.microsoft.com/office/drawing/2018/hyperlinkcolor" xmlns="" val="tx"/>
                    </a:ext>
                  </a:extLst>
                </a:hlinkClick>
              </a:rPr>
              <a:t>forename.surname@crugroup.com</a:t>
            </a:r>
            <a:endParaRPr lang="en-GB" sz="1050"/>
          </a:p>
        </p:txBody>
      </p:sp>
      <p:sp>
        <p:nvSpPr>
          <p:cNvPr id="32" name="Rectangle: Rounded Corners 31">
            <a:extLst>
              <a:ext uri="{FF2B5EF4-FFF2-40B4-BE49-F238E27FC236}">
                <a16:creationId xmlns:a16="http://schemas.microsoft.com/office/drawing/2014/main" id="{283D7489-4ACE-2405-B728-51A158D427FE}"/>
              </a:ext>
            </a:extLst>
          </p:cNvPr>
          <p:cNvSpPr/>
          <p:nvPr userDrawn="1"/>
        </p:nvSpPr>
        <p:spPr>
          <a:xfrm>
            <a:off x="9179582" y="2878384"/>
            <a:ext cx="2876811" cy="1488767"/>
          </a:xfrm>
          <a:prstGeom prst="roundRect">
            <a:avLst/>
          </a:prstGeom>
          <a:ln>
            <a:solidFill>
              <a:srgbClr val="00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sp>
        <p:nvSpPr>
          <p:cNvPr id="33" name="Picture Placeholder 35">
            <a:extLst>
              <a:ext uri="{FF2B5EF4-FFF2-40B4-BE49-F238E27FC236}">
                <a16:creationId xmlns:a16="http://schemas.microsoft.com/office/drawing/2014/main" id="{7A9F52CE-D1D8-4ACD-3FAC-5C8C2F349EE8}"/>
              </a:ext>
            </a:extLst>
          </p:cNvPr>
          <p:cNvSpPr>
            <a:spLocks noGrp="1"/>
          </p:cNvSpPr>
          <p:nvPr>
            <p:ph type="pic" sz="quarter" idx="56" hasCustomPrompt="1"/>
          </p:nvPr>
        </p:nvSpPr>
        <p:spPr>
          <a:xfrm>
            <a:off x="9284841" y="2969426"/>
            <a:ext cx="709809" cy="636319"/>
          </a:xfrm>
          <a:prstGeom prst="roundRect">
            <a:avLst/>
          </a:prstGeom>
        </p:spPr>
        <p:txBody>
          <a:bodyPr/>
          <a:lstStyle>
            <a:lvl1pPr algn="ctr">
              <a:defRPr/>
            </a:lvl1pPr>
          </a:lstStyle>
          <a:p>
            <a:r>
              <a:rPr lang="en-US"/>
              <a:t>Add photo</a:t>
            </a:r>
            <a:endParaRPr lang="en-GB"/>
          </a:p>
        </p:txBody>
      </p:sp>
      <p:sp>
        <p:nvSpPr>
          <p:cNvPr id="34" name="Content Placeholder 16">
            <a:extLst>
              <a:ext uri="{FF2B5EF4-FFF2-40B4-BE49-F238E27FC236}">
                <a16:creationId xmlns:a16="http://schemas.microsoft.com/office/drawing/2014/main" id="{F6C222DE-96EC-7398-8F85-772469AF57F6}"/>
              </a:ext>
            </a:extLst>
          </p:cNvPr>
          <p:cNvSpPr>
            <a:spLocks noGrp="1"/>
          </p:cNvSpPr>
          <p:nvPr>
            <p:ph sz="quarter" idx="57" hasCustomPrompt="1"/>
          </p:nvPr>
        </p:nvSpPr>
        <p:spPr>
          <a:xfrm>
            <a:off x="10110635" y="2969426"/>
            <a:ext cx="1828799" cy="636319"/>
          </a:xfrm>
          <a:prstGeom prst="rect">
            <a:avLst/>
          </a:prstGeom>
          <a:solidFill>
            <a:schemeClr val="bg1"/>
          </a:solidFill>
        </p:spPr>
        <p:txBody>
          <a:bodyPr anchor="ctr"/>
          <a:lstStyle>
            <a:lvl1pPr>
              <a:defRPr sz="1600" i="0">
                <a:solidFill>
                  <a:schemeClr val="tx1"/>
                </a:solidFill>
              </a:defRPr>
            </a:lvl1pPr>
            <a:lvl2pPr>
              <a:defRPr/>
            </a:lvl2pPr>
          </a:lstStyle>
          <a:p>
            <a:r>
              <a:rPr lang="en-GB" b="1"/>
              <a:t>Forename Surname</a:t>
            </a:r>
          </a:p>
        </p:txBody>
      </p:sp>
      <p:sp>
        <p:nvSpPr>
          <p:cNvPr id="35" name="Content Placeholder 16">
            <a:extLst>
              <a:ext uri="{FF2B5EF4-FFF2-40B4-BE49-F238E27FC236}">
                <a16:creationId xmlns:a16="http://schemas.microsoft.com/office/drawing/2014/main" id="{792838F4-8369-C13B-B486-537756569141}"/>
              </a:ext>
            </a:extLst>
          </p:cNvPr>
          <p:cNvSpPr>
            <a:spLocks noGrp="1"/>
          </p:cNvSpPr>
          <p:nvPr>
            <p:ph sz="quarter" idx="58" hasCustomPrompt="1"/>
          </p:nvPr>
        </p:nvSpPr>
        <p:spPr>
          <a:xfrm>
            <a:off x="9284841" y="3765139"/>
            <a:ext cx="2633329" cy="531629"/>
          </a:xfrm>
          <a:prstGeom prst="rect">
            <a:avLst/>
          </a:prstGeom>
          <a:solidFill>
            <a:schemeClr val="bg1"/>
          </a:solidFill>
        </p:spPr>
        <p:txBody>
          <a:bodyPr/>
          <a:lstStyle>
            <a:lvl1pPr>
              <a:spcBef>
                <a:spcPts val="0"/>
              </a:spcBef>
              <a:defRPr sz="1000">
                <a:solidFill>
                  <a:schemeClr val="tx1"/>
                </a:solidFill>
              </a:defRPr>
            </a:lvl1pPr>
            <a:lvl2pPr>
              <a:defRPr/>
            </a:lvl2pPr>
          </a:lstStyle>
          <a:p>
            <a:pPr marL="0" marR="0" lvl="0" indent="0" algn="l" defTabSz="919569" rtl="0" eaLnBrk="1" fontAlgn="auto" latinLnBrk="0" hangingPunct="1">
              <a:lnSpc>
                <a:spcPct val="100000"/>
              </a:lnSpc>
              <a:spcBef>
                <a:spcPts val="800"/>
              </a:spcBef>
              <a:spcAft>
                <a:spcPts val="0"/>
              </a:spcAft>
              <a:buClrTx/>
              <a:buSzTx/>
              <a:buFont typeface="Arial" panose="020B0604020202020204" pitchFamily="34" charset="0"/>
              <a:buNone/>
              <a:tabLst/>
              <a:defRPr/>
            </a:pPr>
            <a:r>
              <a:rPr lang="en-GB" sz="1050"/>
              <a:t>Title</a:t>
            </a:r>
            <a:br>
              <a:rPr lang="en-GB" sz="1050"/>
            </a:br>
            <a:r>
              <a:rPr lang="en-GB" sz="1050"/>
              <a:t>+44 20 7903 ####</a:t>
            </a:r>
            <a:br>
              <a:rPr lang="en-GB" sz="1050"/>
            </a:br>
            <a:r>
              <a:rPr lang="en-GB" sz="1050">
                <a:hlinkClick r:id="rId2">
                  <a:extLst>
                    <a:ext uri="{A12FA001-AC4F-418D-AE19-62706E023703}">
                      <ahyp:hlinkClr xmlns:ahyp="http://schemas.microsoft.com/office/drawing/2018/hyperlinkcolor" xmlns="" val="tx"/>
                    </a:ext>
                  </a:extLst>
                </a:hlinkClick>
              </a:rPr>
              <a:t>forename.surname@crugroup.com</a:t>
            </a:r>
            <a:endParaRPr lang="en-GB" sz="1050"/>
          </a:p>
        </p:txBody>
      </p:sp>
      <p:sp>
        <p:nvSpPr>
          <p:cNvPr id="36" name="Rectangle: Rounded Corners 35">
            <a:extLst>
              <a:ext uri="{FF2B5EF4-FFF2-40B4-BE49-F238E27FC236}">
                <a16:creationId xmlns:a16="http://schemas.microsoft.com/office/drawing/2014/main" id="{02C5F67B-E545-59C1-3DF4-5E84C1BA8F70}"/>
              </a:ext>
            </a:extLst>
          </p:cNvPr>
          <p:cNvSpPr/>
          <p:nvPr userDrawn="1"/>
        </p:nvSpPr>
        <p:spPr>
          <a:xfrm>
            <a:off x="367800" y="4503857"/>
            <a:ext cx="2876811" cy="1488767"/>
          </a:xfrm>
          <a:prstGeom prst="roundRect">
            <a:avLst/>
          </a:prstGeom>
          <a:ln>
            <a:solidFill>
              <a:srgbClr val="00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b="1">
              <a:solidFill>
                <a:schemeClr val="tx1"/>
              </a:solidFill>
            </a:endParaRPr>
          </a:p>
        </p:txBody>
      </p:sp>
      <p:sp>
        <p:nvSpPr>
          <p:cNvPr id="37" name="Picture Placeholder 35">
            <a:extLst>
              <a:ext uri="{FF2B5EF4-FFF2-40B4-BE49-F238E27FC236}">
                <a16:creationId xmlns:a16="http://schemas.microsoft.com/office/drawing/2014/main" id="{217D30D2-7237-7EA0-E638-03B64929EBFD}"/>
              </a:ext>
            </a:extLst>
          </p:cNvPr>
          <p:cNvSpPr>
            <a:spLocks noGrp="1"/>
          </p:cNvSpPr>
          <p:nvPr>
            <p:ph type="pic" sz="quarter" idx="59" hasCustomPrompt="1"/>
          </p:nvPr>
        </p:nvSpPr>
        <p:spPr>
          <a:xfrm>
            <a:off x="473059" y="4594899"/>
            <a:ext cx="709809" cy="636319"/>
          </a:xfrm>
          <a:prstGeom prst="roundRect">
            <a:avLst/>
          </a:prstGeom>
        </p:spPr>
        <p:txBody>
          <a:bodyPr/>
          <a:lstStyle>
            <a:lvl1pPr algn="ctr">
              <a:defRPr b="0"/>
            </a:lvl1pPr>
          </a:lstStyle>
          <a:p>
            <a:r>
              <a:rPr lang="en-US"/>
              <a:t>Add photo</a:t>
            </a:r>
            <a:endParaRPr lang="en-GB"/>
          </a:p>
        </p:txBody>
      </p:sp>
      <p:sp>
        <p:nvSpPr>
          <p:cNvPr id="38" name="Content Placeholder 16">
            <a:extLst>
              <a:ext uri="{FF2B5EF4-FFF2-40B4-BE49-F238E27FC236}">
                <a16:creationId xmlns:a16="http://schemas.microsoft.com/office/drawing/2014/main" id="{B84A8470-1395-171A-D3A0-D5E4A7C1DD74}"/>
              </a:ext>
            </a:extLst>
          </p:cNvPr>
          <p:cNvSpPr>
            <a:spLocks noGrp="1"/>
          </p:cNvSpPr>
          <p:nvPr>
            <p:ph sz="quarter" idx="60" hasCustomPrompt="1"/>
          </p:nvPr>
        </p:nvSpPr>
        <p:spPr>
          <a:xfrm>
            <a:off x="1298853" y="4594899"/>
            <a:ext cx="1828799" cy="636319"/>
          </a:xfrm>
          <a:prstGeom prst="rect">
            <a:avLst/>
          </a:prstGeom>
          <a:solidFill>
            <a:schemeClr val="bg1"/>
          </a:solidFill>
        </p:spPr>
        <p:txBody>
          <a:bodyPr anchor="ctr"/>
          <a:lstStyle>
            <a:lvl1pPr>
              <a:defRPr sz="1600" b="1" i="0">
                <a:solidFill>
                  <a:schemeClr val="tx1"/>
                </a:solidFill>
              </a:defRPr>
            </a:lvl1pPr>
            <a:lvl2pPr>
              <a:defRPr/>
            </a:lvl2pPr>
          </a:lstStyle>
          <a:p>
            <a:r>
              <a:rPr lang="en-GB" b="1"/>
              <a:t>Forename Surname</a:t>
            </a:r>
          </a:p>
        </p:txBody>
      </p:sp>
      <p:sp>
        <p:nvSpPr>
          <p:cNvPr id="39" name="Content Placeholder 16">
            <a:extLst>
              <a:ext uri="{FF2B5EF4-FFF2-40B4-BE49-F238E27FC236}">
                <a16:creationId xmlns:a16="http://schemas.microsoft.com/office/drawing/2014/main" id="{286BE7A7-A117-6167-5F24-FA6345DBDF59}"/>
              </a:ext>
            </a:extLst>
          </p:cNvPr>
          <p:cNvSpPr>
            <a:spLocks noGrp="1"/>
          </p:cNvSpPr>
          <p:nvPr>
            <p:ph sz="quarter" idx="61" hasCustomPrompt="1"/>
          </p:nvPr>
        </p:nvSpPr>
        <p:spPr>
          <a:xfrm>
            <a:off x="473059" y="5358808"/>
            <a:ext cx="2633329" cy="531629"/>
          </a:xfrm>
          <a:prstGeom prst="rect">
            <a:avLst/>
          </a:prstGeom>
          <a:solidFill>
            <a:schemeClr val="bg1"/>
          </a:solidFill>
        </p:spPr>
        <p:txBody>
          <a:bodyPr/>
          <a:lstStyle>
            <a:lvl1pPr>
              <a:spcBef>
                <a:spcPts val="0"/>
              </a:spcBef>
              <a:defRPr sz="1000" b="0">
                <a:solidFill>
                  <a:schemeClr val="tx1"/>
                </a:solidFill>
              </a:defRPr>
            </a:lvl1pPr>
            <a:lvl2pPr>
              <a:defRPr/>
            </a:lvl2pPr>
          </a:lstStyle>
          <a:p>
            <a:pPr marL="0" marR="0" lvl="0" indent="0" algn="l" defTabSz="919569" rtl="0" eaLnBrk="1" fontAlgn="auto" latinLnBrk="0" hangingPunct="1">
              <a:lnSpc>
                <a:spcPct val="100000"/>
              </a:lnSpc>
              <a:spcBef>
                <a:spcPts val="800"/>
              </a:spcBef>
              <a:spcAft>
                <a:spcPts val="0"/>
              </a:spcAft>
              <a:buClrTx/>
              <a:buSzTx/>
              <a:buFont typeface="Arial" panose="020B0604020202020204" pitchFamily="34" charset="0"/>
              <a:buNone/>
              <a:tabLst/>
              <a:defRPr/>
            </a:pPr>
            <a:r>
              <a:rPr lang="en-GB" sz="1050"/>
              <a:t>Title</a:t>
            </a:r>
            <a:br>
              <a:rPr lang="en-GB" sz="1050"/>
            </a:br>
            <a:r>
              <a:rPr lang="en-GB" sz="1050"/>
              <a:t>+44 20 7903 ####</a:t>
            </a:r>
            <a:br>
              <a:rPr lang="en-GB" sz="1050"/>
            </a:br>
            <a:r>
              <a:rPr lang="en-GB" sz="1050">
                <a:hlinkClick r:id="rId2">
                  <a:extLst>
                    <a:ext uri="{A12FA001-AC4F-418D-AE19-62706E023703}">
                      <ahyp:hlinkClr xmlns:ahyp="http://schemas.microsoft.com/office/drawing/2018/hyperlinkcolor" xmlns="" val="tx"/>
                    </a:ext>
                  </a:extLst>
                </a:hlinkClick>
              </a:rPr>
              <a:t>forename.surname@crugroup.com</a:t>
            </a:r>
            <a:endParaRPr lang="en-GB" sz="1050"/>
          </a:p>
        </p:txBody>
      </p:sp>
      <p:cxnSp>
        <p:nvCxnSpPr>
          <p:cNvPr id="52" name="Straight Connector 51">
            <a:extLst>
              <a:ext uri="{FF2B5EF4-FFF2-40B4-BE49-F238E27FC236}">
                <a16:creationId xmlns:a16="http://schemas.microsoft.com/office/drawing/2014/main" id="{03BF13B1-7CA6-17FF-4FFA-820346E9B903}"/>
              </a:ext>
            </a:extLst>
          </p:cNvPr>
          <p:cNvCxnSpPr>
            <a:cxnSpLocks/>
          </p:cNvCxnSpPr>
          <p:nvPr userDrawn="1"/>
        </p:nvCxnSpPr>
        <p:spPr>
          <a:xfrm>
            <a:off x="361310" y="2076728"/>
            <a:ext cx="2876811"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B6012023-889F-4DA6-079A-8EF67A009E32}"/>
              </a:ext>
            </a:extLst>
          </p:cNvPr>
          <p:cNvCxnSpPr>
            <a:cxnSpLocks/>
          </p:cNvCxnSpPr>
          <p:nvPr userDrawn="1"/>
        </p:nvCxnSpPr>
        <p:spPr>
          <a:xfrm>
            <a:off x="354684" y="3677590"/>
            <a:ext cx="2876811"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4A268B6-6151-2F51-9258-B4AB6E888F80}"/>
              </a:ext>
            </a:extLst>
          </p:cNvPr>
          <p:cNvCxnSpPr>
            <a:cxnSpLocks/>
          </p:cNvCxnSpPr>
          <p:nvPr userDrawn="1"/>
        </p:nvCxnSpPr>
        <p:spPr>
          <a:xfrm>
            <a:off x="354683" y="5299593"/>
            <a:ext cx="2876811"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E66B849-99F1-CE0E-FC87-327ABF10A719}"/>
              </a:ext>
            </a:extLst>
          </p:cNvPr>
          <p:cNvCxnSpPr>
            <a:cxnSpLocks/>
          </p:cNvCxnSpPr>
          <p:nvPr userDrawn="1"/>
        </p:nvCxnSpPr>
        <p:spPr>
          <a:xfrm>
            <a:off x="6259821" y="2076728"/>
            <a:ext cx="2876811"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43D3364D-9A78-68FA-FB76-8327115F0C64}"/>
              </a:ext>
            </a:extLst>
          </p:cNvPr>
          <p:cNvCxnSpPr>
            <a:cxnSpLocks/>
          </p:cNvCxnSpPr>
          <p:nvPr userDrawn="1"/>
        </p:nvCxnSpPr>
        <p:spPr>
          <a:xfrm>
            <a:off x="3313895" y="2076728"/>
            <a:ext cx="2876811"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456DC5E-FC3B-89DE-7D07-64126C04F2A7}"/>
              </a:ext>
            </a:extLst>
          </p:cNvPr>
          <p:cNvCxnSpPr>
            <a:cxnSpLocks/>
          </p:cNvCxnSpPr>
          <p:nvPr userDrawn="1"/>
        </p:nvCxnSpPr>
        <p:spPr>
          <a:xfrm>
            <a:off x="9174005" y="2076728"/>
            <a:ext cx="2876811"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03246ED-D74F-C76E-BCEE-D12066B15196}"/>
              </a:ext>
            </a:extLst>
          </p:cNvPr>
          <p:cNvCxnSpPr>
            <a:cxnSpLocks/>
          </p:cNvCxnSpPr>
          <p:nvPr userDrawn="1"/>
        </p:nvCxnSpPr>
        <p:spPr>
          <a:xfrm>
            <a:off x="3313894" y="3677590"/>
            <a:ext cx="2876811"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9D19A92E-0657-D078-0808-DCFD5488B865}"/>
              </a:ext>
            </a:extLst>
          </p:cNvPr>
          <p:cNvCxnSpPr>
            <a:cxnSpLocks/>
          </p:cNvCxnSpPr>
          <p:nvPr userDrawn="1"/>
        </p:nvCxnSpPr>
        <p:spPr>
          <a:xfrm>
            <a:off x="6262471" y="3677590"/>
            <a:ext cx="2876811"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3C34136B-0236-DB91-3D05-A64CD6EA727E}"/>
              </a:ext>
            </a:extLst>
          </p:cNvPr>
          <p:cNvCxnSpPr>
            <a:cxnSpLocks/>
          </p:cNvCxnSpPr>
          <p:nvPr userDrawn="1"/>
        </p:nvCxnSpPr>
        <p:spPr>
          <a:xfrm>
            <a:off x="9167379" y="3677590"/>
            <a:ext cx="2876811"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637074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Summary Storybo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noFill/>
        </p:spPr>
        <p:txBody>
          <a:bodyPr lIns="0"/>
          <a:lstStyle/>
          <a:p>
            <a:r>
              <a:rPr lang="en-US"/>
              <a:t>Click to edit Master title style</a:t>
            </a:r>
            <a:endParaRPr lang="en-GB"/>
          </a:p>
        </p:txBody>
      </p:sp>
      <p:sp>
        <p:nvSpPr>
          <p:cNvPr id="3" name="Slide Number Placeholder 2">
            <a:extLst>
              <a:ext uri="{FF2B5EF4-FFF2-40B4-BE49-F238E27FC236}">
                <a16:creationId xmlns:a16="http://schemas.microsoft.com/office/drawing/2014/main" id="{F6A6F3C7-49FD-B21D-A71C-794307806CB1}"/>
              </a:ext>
            </a:extLst>
          </p:cNvPr>
          <p:cNvSpPr>
            <a:spLocks noGrp="1"/>
          </p:cNvSpPr>
          <p:nvPr>
            <p:ph type="sldNum" sz="quarter" idx="10"/>
          </p:nvPr>
        </p:nvSpPr>
        <p:spPr>
          <a:noFill/>
        </p:spPr>
        <p:txBody>
          <a:bodyPr/>
          <a:lstStyle>
            <a:lvl1pPr>
              <a:defRPr sz="1200">
                <a:solidFill>
                  <a:schemeClr val="tx1"/>
                </a:solidFill>
              </a:defRPr>
            </a:lvl1pPr>
          </a:lstStyle>
          <a:p>
            <a:endParaRPr lang="en-GB"/>
          </a:p>
        </p:txBody>
      </p:sp>
      <p:sp>
        <p:nvSpPr>
          <p:cNvPr id="4" name="Footer Placeholder 3">
            <a:extLst>
              <a:ext uri="{FF2B5EF4-FFF2-40B4-BE49-F238E27FC236}">
                <a16:creationId xmlns:a16="http://schemas.microsoft.com/office/drawing/2014/main" id="{5E7FC5AF-5497-9574-95D6-1D004FDD63BA}"/>
              </a:ext>
            </a:extLst>
          </p:cNvPr>
          <p:cNvSpPr>
            <a:spLocks noGrp="1"/>
          </p:cNvSpPr>
          <p:nvPr>
            <p:ph type="ftr" sz="quarter" idx="11"/>
          </p:nvPr>
        </p:nvSpPr>
        <p:spPr>
          <a:xfrm>
            <a:off x="7350369" y="6429965"/>
            <a:ext cx="3176758" cy="307777"/>
          </a:xfrm>
          <a:prstGeom prst="rect">
            <a:avLst/>
          </a:prstGeom>
          <a:noFill/>
        </p:spPr>
        <p:txBody>
          <a:bodyPr/>
          <a:lstStyle/>
          <a:p>
            <a:r>
              <a:rPr lang="en-US"/>
              <a:t>Battery Value Chain Monitor </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04392" y="972000"/>
            <a:ext cx="3744000" cy="288000"/>
          </a:xfrm>
          <a:noFill/>
        </p:spPr>
        <p:txBody>
          <a:bodyPr lIns="0"/>
          <a:lstStyle>
            <a:lvl1pPr>
              <a:defRPr sz="1300"/>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04856" y="1260000"/>
            <a:ext cx="3744000" cy="2169000"/>
          </a:xfrm>
          <a:noFill/>
        </p:spPr>
        <p:txBody>
          <a:bodyPr/>
          <a:lstStyle>
            <a:lvl1pPr algn="ctr">
              <a:defRPr/>
            </a:lvl1pPr>
            <a:lvl5pPr>
              <a:defRPr/>
            </a:lvl5pPr>
          </a:lstStyle>
          <a:p>
            <a:pPr lvl="0"/>
            <a:r>
              <a:rPr lang="en-US"/>
              <a:t>Insert Char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11365200" cy="215999"/>
          </a:xfrm>
          <a:noFill/>
        </p:spPr>
        <p:txBody>
          <a:bodyPr lIns="0"/>
          <a:lstStyle>
            <a:lvl1pPr>
              <a:defRPr sz="1050">
                <a:solidFill>
                  <a:schemeClr val="tx1"/>
                </a:solidFill>
              </a:defRPr>
            </a:lvl1pPr>
            <a:lvl5pPr>
              <a:defRPr sz="1050">
                <a:solidFill>
                  <a:schemeClr val="tx1"/>
                </a:solidFill>
              </a:defRPr>
            </a:lvl5pPr>
          </a:lstStyle>
          <a:p>
            <a:pPr lvl="0"/>
            <a:r>
              <a:rPr lang="en-US"/>
              <a:t>DATA: CRU</a:t>
            </a:r>
            <a:endParaRPr lang="en-GB"/>
          </a:p>
        </p:txBody>
      </p:sp>
      <p:sp>
        <p:nvSpPr>
          <p:cNvPr id="13" name="Text Placeholder 5">
            <a:extLst>
              <a:ext uri="{FF2B5EF4-FFF2-40B4-BE49-F238E27FC236}">
                <a16:creationId xmlns:a16="http://schemas.microsoft.com/office/drawing/2014/main" id="{0F05E3CC-77D8-00D4-3892-43359D3D440D}"/>
              </a:ext>
            </a:extLst>
          </p:cNvPr>
          <p:cNvSpPr>
            <a:spLocks noGrp="1"/>
          </p:cNvSpPr>
          <p:nvPr>
            <p:ph type="body" sz="quarter" idx="20" hasCustomPrompt="1"/>
          </p:nvPr>
        </p:nvSpPr>
        <p:spPr>
          <a:xfrm>
            <a:off x="4230286" y="972000"/>
            <a:ext cx="3744000" cy="288000"/>
          </a:xfrm>
          <a:noFill/>
        </p:spPr>
        <p:txBody>
          <a:bodyPr lIns="108000"/>
          <a:lstStyle>
            <a:lvl1pPr>
              <a:defRPr sz="1300"/>
            </a:lvl1pPr>
          </a:lstStyle>
          <a:p>
            <a:pPr lvl="0"/>
            <a:r>
              <a:rPr lang="en-US"/>
              <a:t>Chart headline</a:t>
            </a:r>
          </a:p>
        </p:txBody>
      </p:sp>
      <p:sp>
        <p:nvSpPr>
          <p:cNvPr id="14" name="Content Placeholder 7">
            <a:extLst>
              <a:ext uri="{FF2B5EF4-FFF2-40B4-BE49-F238E27FC236}">
                <a16:creationId xmlns:a16="http://schemas.microsoft.com/office/drawing/2014/main" id="{CB8F5FCB-FB91-1CC1-0B13-4616C17F6F8D}"/>
              </a:ext>
            </a:extLst>
          </p:cNvPr>
          <p:cNvSpPr>
            <a:spLocks noGrp="1"/>
          </p:cNvSpPr>
          <p:nvPr>
            <p:ph sz="quarter" idx="21" hasCustomPrompt="1"/>
          </p:nvPr>
        </p:nvSpPr>
        <p:spPr>
          <a:xfrm>
            <a:off x="4230288" y="1260000"/>
            <a:ext cx="3744000" cy="2169000"/>
          </a:xfrm>
          <a:noFill/>
        </p:spPr>
        <p:txBody>
          <a:bodyPr/>
          <a:lstStyle>
            <a:lvl1pPr algn="ctr">
              <a:defRPr/>
            </a:lvl1pPr>
            <a:lvl5pPr>
              <a:defRPr/>
            </a:lvl5pPr>
          </a:lstStyle>
          <a:p>
            <a:pPr lvl="0"/>
            <a:r>
              <a:rPr lang="en-US"/>
              <a:t>Insert Chart</a:t>
            </a:r>
            <a:endParaRPr lang="en-GB"/>
          </a:p>
        </p:txBody>
      </p:sp>
      <p:sp>
        <p:nvSpPr>
          <p:cNvPr id="17" name="Text Placeholder 5">
            <a:extLst>
              <a:ext uri="{FF2B5EF4-FFF2-40B4-BE49-F238E27FC236}">
                <a16:creationId xmlns:a16="http://schemas.microsoft.com/office/drawing/2014/main" id="{82725930-D425-C749-FEC9-D1707FF63950}"/>
              </a:ext>
            </a:extLst>
          </p:cNvPr>
          <p:cNvSpPr>
            <a:spLocks noGrp="1"/>
          </p:cNvSpPr>
          <p:nvPr>
            <p:ph type="body" sz="quarter" idx="24" hasCustomPrompt="1"/>
          </p:nvPr>
        </p:nvSpPr>
        <p:spPr>
          <a:xfrm>
            <a:off x="8037432" y="972000"/>
            <a:ext cx="3744000" cy="288000"/>
          </a:xfrm>
          <a:noFill/>
        </p:spPr>
        <p:txBody>
          <a:bodyPr lIns="108000"/>
          <a:lstStyle>
            <a:lvl1pPr>
              <a:defRPr sz="1300"/>
            </a:lvl1pPr>
          </a:lstStyle>
          <a:p>
            <a:pPr lvl="0"/>
            <a:r>
              <a:rPr lang="en-US"/>
              <a:t>Chart headline</a:t>
            </a:r>
          </a:p>
        </p:txBody>
      </p:sp>
      <p:sp>
        <p:nvSpPr>
          <p:cNvPr id="18" name="Content Placeholder 7">
            <a:extLst>
              <a:ext uri="{FF2B5EF4-FFF2-40B4-BE49-F238E27FC236}">
                <a16:creationId xmlns:a16="http://schemas.microsoft.com/office/drawing/2014/main" id="{ECAB1B5D-539C-8387-B045-BAF0C5698A72}"/>
              </a:ext>
            </a:extLst>
          </p:cNvPr>
          <p:cNvSpPr>
            <a:spLocks noGrp="1"/>
          </p:cNvSpPr>
          <p:nvPr>
            <p:ph sz="quarter" idx="25" hasCustomPrompt="1"/>
          </p:nvPr>
        </p:nvSpPr>
        <p:spPr>
          <a:xfrm>
            <a:off x="8037432" y="1260000"/>
            <a:ext cx="3744000" cy="2169000"/>
          </a:xfrm>
          <a:noFill/>
        </p:spPr>
        <p:txBody>
          <a:bodyPr/>
          <a:lstStyle>
            <a:lvl1pPr algn="ctr">
              <a:defRPr/>
            </a:lvl1pPr>
            <a:lvl5pPr>
              <a:defRPr/>
            </a:lvl5pPr>
          </a:lstStyle>
          <a:p>
            <a:pPr lvl="0"/>
            <a:r>
              <a:rPr lang="en-US"/>
              <a:t>Insert Chart</a:t>
            </a:r>
            <a:endParaRPr lang="en-GB"/>
          </a:p>
        </p:txBody>
      </p:sp>
      <p:cxnSp>
        <p:nvCxnSpPr>
          <p:cNvPr id="7" name="Straight Connector 6">
            <a:extLst>
              <a:ext uri="{FF2B5EF4-FFF2-40B4-BE49-F238E27FC236}">
                <a16:creationId xmlns:a16="http://schemas.microsoft.com/office/drawing/2014/main" id="{975CDD6E-035F-9465-32D7-99297026358F}"/>
              </a:ext>
            </a:extLst>
          </p:cNvPr>
          <p:cNvCxnSpPr/>
          <p:nvPr userDrawn="1"/>
        </p:nvCxnSpPr>
        <p:spPr>
          <a:xfrm>
            <a:off x="4190031" y="3766451"/>
            <a:ext cx="7937" cy="1990725"/>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0" name="Straight Connector 9">
            <a:extLst>
              <a:ext uri="{FF2B5EF4-FFF2-40B4-BE49-F238E27FC236}">
                <a16:creationId xmlns:a16="http://schemas.microsoft.com/office/drawing/2014/main" id="{2A904D48-4B83-5BF3-D639-51D8FAB1FCCD}"/>
              </a:ext>
            </a:extLst>
          </p:cNvPr>
          <p:cNvCxnSpPr>
            <a:cxnSpLocks/>
          </p:cNvCxnSpPr>
          <p:nvPr userDrawn="1"/>
        </p:nvCxnSpPr>
        <p:spPr>
          <a:xfrm>
            <a:off x="8004588" y="3766451"/>
            <a:ext cx="7937" cy="1990725"/>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1" name="Straight Connector 10">
            <a:extLst>
              <a:ext uri="{FF2B5EF4-FFF2-40B4-BE49-F238E27FC236}">
                <a16:creationId xmlns:a16="http://schemas.microsoft.com/office/drawing/2014/main" id="{03F1CA78-3547-5512-F36A-2F1EEF65A0E0}"/>
              </a:ext>
            </a:extLst>
          </p:cNvPr>
          <p:cNvCxnSpPr/>
          <p:nvPr userDrawn="1"/>
        </p:nvCxnSpPr>
        <p:spPr>
          <a:xfrm>
            <a:off x="4197968" y="1401902"/>
            <a:ext cx="7937" cy="1990725"/>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6" name="Straight Connector 15">
            <a:extLst>
              <a:ext uri="{FF2B5EF4-FFF2-40B4-BE49-F238E27FC236}">
                <a16:creationId xmlns:a16="http://schemas.microsoft.com/office/drawing/2014/main" id="{7561E445-AB46-12BB-71E4-C5DB6124E6E7}"/>
              </a:ext>
            </a:extLst>
          </p:cNvPr>
          <p:cNvCxnSpPr>
            <a:cxnSpLocks/>
          </p:cNvCxnSpPr>
          <p:nvPr userDrawn="1"/>
        </p:nvCxnSpPr>
        <p:spPr>
          <a:xfrm>
            <a:off x="8004588" y="1401902"/>
            <a:ext cx="7937" cy="1990725"/>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40" name="Straight Connector 39">
            <a:extLst>
              <a:ext uri="{FF2B5EF4-FFF2-40B4-BE49-F238E27FC236}">
                <a16:creationId xmlns:a16="http://schemas.microsoft.com/office/drawing/2014/main" id="{278D58A8-BE28-DE7D-6C5A-A9A83475BCC9}"/>
              </a:ext>
            </a:extLst>
          </p:cNvPr>
          <p:cNvCxnSpPr/>
          <p:nvPr userDrawn="1"/>
        </p:nvCxnSpPr>
        <p:spPr>
          <a:xfrm>
            <a:off x="684000" y="3507452"/>
            <a:ext cx="3251413" cy="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41" name="Straight Connector 40">
            <a:extLst>
              <a:ext uri="{FF2B5EF4-FFF2-40B4-BE49-F238E27FC236}">
                <a16:creationId xmlns:a16="http://schemas.microsoft.com/office/drawing/2014/main" id="{5B27A369-CAEB-07CB-E8C4-BB5EE7BE8F47}"/>
              </a:ext>
            </a:extLst>
          </p:cNvPr>
          <p:cNvCxnSpPr/>
          <p:nvPr userDrawn="1"/>
        </p:nvCxnSpPr>
        <p:spPr>
          <a:xfrm>
            <a:off x="4464631" y="3507452"/>
            <a:ext cx="3251413" cy="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42" name="Straight Connector 41">
            <a:extLst>
              <a:ext uri="{FF2B5EF4-FFF2-40B4-BE49-F238E27FC236}">
                <a16:creationId xmlns:a16="http://schemas.microsoft.com/office/drawing/2014/main" id="{6F2B0CF4-4040-2F53-E5C0-3C48211F50AF}"/>
              </a:ext>
            </a:extLst>
          </p:cNvPr>
          <p:cNvCxnSpPr/>
          <p:nvPr userDrawn="1"/>
        </p:nvCxnSpPr>
        <p:spPr>
          <a:xfrm>
            <a:off x="8245262" y="3487606"/>
            <a:ext cx="3251413" cy="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sp>
        <p:nvSpPr>
          <p:cNvPr id="20" name="Text Placeholder 5">
            <a:extLst>
              <a:ext uri="{FF2B5EF4-FFF2-40B4-BE49-F238E27FC236}">
                <a16:creationId xmlns:a16="http://schemas.microsoft.com/office/drawing/2014/main" id="{0F3D2F0E-D3E5-7B98-5397-84AEC2794C94}"/>
              </a:ext>
            </a:extLst>
          </p:cNvPr>
          <p:cNvSpPr>
            <a:spLocks noGrp="1"/>
          </p:cNvSpPr>
          <p:nvPr>
            <p:ph type="body" sz="quarter" idx="26" hasCustomPrompt="1"/>
          </p:nvPr>
        </p:nvSpPr>
        <p:spPr>
          <a:xfrm>
            <a:off x="404392" y="3573779"/>
            <a:ext cx="3744000" cy="288000"/>
          </a:xfrm>
          <a:noFill/>
        </p:spPr>
        <p:txBody>
          <a:bodyPr lIns="0"/>
          <a:lstStyle>
            <a:lvl1pPr>
              <a:defRPr sz="1300"/>
            </a:lvl1pPr>
          </a:lstStyle>
          <a:p>
            <a:pPr lvl="0"/>
            <a:r>
              <a:rPr lang="en-US"/>
              <a:t>Chart headline</a:t>
            </a:r>
          </a:p>
        </p:txBody>
      </p:sp>
      <p:sp>
        <p:nvSpPr>
          <p:cNvPr id="21" name="Content Placeholder 7">
            <a:extLst>
              <a:ext uri="{FF2B5EF4-FFF2-40B4-BE49-F238E27FC236}">
                <a16:creationId xmlns:a16="http://schemas.microsoft.com/office/drawing/2014/main" id="{971D77E2-88CE-58A0-6008-DE30CB26C28B}"/>
              </a:ext>
            </a:extLst>
          </p:cNvPr>
          <p:cNvSpPr>
            <a:spLocks noGrp="1"/>
          </p:cNvSpPr>
          <p:nvPr>
            <p:ph sz="quarter" idx="27" hasCustomPrompt="1"/>
          </p:nvPr>
        </p:nvSpPr>
        <p:spPr>
          <a:xfrm>
            <a:off x="404856" y="3861779"/>
            <a:ext cx="3744000" cy="2115158"/>
          </a:xfrm>
          <a:noFill/>
        </p:spPr>
        <p:txBody>
          <a:bodyPr/>
          <a:lstStyle>
            <a:lvl1pPr algn="ctr">
              <a:defRPr/>
            </a:lvl1pPr>
            <a:lvl5pPr>
              <a:defRPr/>
            </a:lvl5pPr>
          </a:lstStyle>
          <a:p>
            <a:pPr lvl="0"/>
            <a:r>
              <a:rPr lang="en-US"/>
              <a:t>Insert Chart</a:t>
            </a:r>
            <a:endParaRPr lang="en-GB"/>
          </a:p>
        </p:txBody>
      </p:sp>
      <p:sp>
        <p:nvSpPr>
          <p:cNvPr id="46" name="Content Placeholder 7">
            <a:extLst>
              <a:ext uri="{FF2B5EF4-FFF2-40B4-BE49-F238E27FC236}">
                <a16:creationId xmlns:a16="http://schemas.microsoft.com/office/drawing/2014/main" id="{20C3AFE5-880A-7181-B13D-75B1901632C8}"/>
              </a:ext>
            </a:extLst>
          </p:cNvPr>
          <p:cNvSpPr>
            <a:spLocks noGrp="1"/>
          </p:cNvSpPr>
          <p:nvPr>
            <p:ph sz="quarter" idx="29" hasCustomPrompt="1"/>
          </p:nvPr>
        </p:nvSpPr>
        <p:spPr>
          <a:xfrm>
            <a:off x="4232322" y="3861779"/>
            <a:ext cx="3744000" cy="2115158"/>
          </a:xfrm>
          <a:noFill/>
        </p:spPr>
        <p:txBody>
          <a:bodyPr/>
          <a:lstStyle>
            <a:lvl1pPr algn="ctr">
              <a:defRPr/>
            </a:lvl1pPr>
            <a:lvl5pPr>
              <a:defRPr/>
            </a:lvl5pPr>
          </a:lstStyle>
          <a:p>
            <a:pPr lvl="0"/>
            <a:r>
              <a:rPr lang="en-US"/>
              <a:t>Insert Chart</a:t>
            </a:r>
            <a:endParaRPr lang="en-GB"/>
          </a:p>
        </p:txBody>
      </p:sp>
      <p:sp>
        <p:nvSpPr>
          <p:cNvPr id="48" name="Content Placeholder 7">
            <a:extLst>
              <a:ext uri="{FF2B5EF4-FFF2-40B4-BE49-F238E27FC236}">
                <a16:creationId xmlns:a16="http://schemas.microsoft.com/office/drawing/2014/main" id="{C667DFCA-F390-1C45-7A51-50ACE5867206}"/>
              </a:ext>
            </a:extLst>
          </p:cNvPr>
          <p:cNvSpPr>
            <a:spLocks noGrp="1"/>
          </p:cNvSpPr>
          <p:nvPr>
            <p:ph sz="quarter" idx="31" hasCustomPrompt="1"/>
          </p:nvPr>
        </p:nvSpPr>
        <p:spPr>
          <a:xfrm>
            <a:off x="8048294" y="3861779"/>
            <a:ext cx="3744000" cy="2115158"/>
          </a:xfrm>
          <a:noFill/>
        </p:spPr>
        <p:txBody>
          <a:bodyPr/>
          <a:lstStyle>
            <a:lvl1pPr algn="ctr">
              <a:defRPr/>
            </a:lvl1pPr>
            <a:lvl5pPr>
              <a:defRPr/>
            </a:lvl5pPr>
          </a:lstStyle>
          <a:p>
            <a:pPr lvl="0"/>
            <a:r>
              <a:rPr lang="en-US"/>
              <a:t>Insert Chart</a:t>
            </a:r>
            <a:endParaRPr lang="en-GB"/>
          </a:p>
        </p:txBody>
      </p:sp>
      <p:sp>
        <p:nvSpPr>
          <p:cNvPr id="45" name="Text Placeholder 5">
            <a:extLst>
              <a:ext uri="{FF2B5EF4-FFF2-40B4-BE49-F238E27FC236}">
                <a16:creationId xmlns:a16="http://schemas.microsoft.com/office/drawing/2014/main" id="{ADA5F841-55DA-1FCD-C282-B9CA8543085D}"/>
              </a:ext>
            </a:extLst>
          </p:cNvPr>
          <p:cNvSpPr>
            <a:spLocks noGrp="1"/>
          </p:cNvSpPr>
          <p:nvPr>
            <p:ph type="body" sz="quarter" idx="28" hasCustomPrompt="1"/>
          </p:nvPr>
        </p:nvSpPr>
        <p:spPr>
          <a:xfrm>
            <a:off x="4231859" y="3573779"/>
            <a:ext cx="3744000" cy="288000"/>
          </a:xfrm>
          <a:noFill/>
        </p:spPr>
        <p:txBody>
          <a:bodyPr lIns="0"/>
          <a:lstStyle>
            <a:lvl1pPr>
              <a:defRPr sz="1300"/>
            </a:lvl1pPr>
          </a:lstStyle>
          <a:p>
            <a:pPr lvl="0"/>
            <a:r>
              <a:rPr lang="en-US"/>
              <a:t>Chart headline</a:t>
            </a:r>
          </a:p>
        </p:txBody>
      </p:sp>
      <p:sp>
        <p:nvSpPr>
          <p:cNvPr id="47" name="Text Placeholder 5">
            <a:extLst>
              <a:ext uri="{FF2B5EF4-FFF2-40B4-BE49-F238E27FC236}">
                <a16:creationId xmlns:a16="http://schemas.microsoft.com/office/drawing/2014/main" id="{BA67EBEF-FA44-93E3-1434-5D506670F1CE}"/>
              </a:ext>
            </a:extLst>
          </p:cNvPr>
          <p:cNvSpPr>
            <a:spLocks noGrp="1"/>
          </p:cNvSpPr>
          <p:nvPr>
            <p:ph type="body" sz="quarter" idx="30" hasCustomPrompt="1"/>
          </p:nvPr>
        </p:nvSpPr>
        <p:spPr>
          <a:xfrm>
            <a:off x="8047830" y="3573779"/>
            <a:ext cx="3744000" cy="288000"/>
          </a:xfrm>
          <a:noFill/>
        </p:spPr>
        <p:txBody>
          <a:bodyPr lIns="0"/>
          <a:lstStyle>
            <a:lvl1pPr>
              <a:defRPr sz="1300"/>
            </a:lvl1pPr>
          </a:lstStyle>
          <a:p>
            <a:pPr lvl="0"/>
            <a:r>
              <a:rPr lang="en-US"/>
              <a:t>Chart headline</a:t>
            </a:r>
          </a:p>
        </p:txBody>
      </p:sp>
      <p:sp>
        <p:nvSpPr>
          <p:cNvPr id="5" name="Rectangle 4">
            <a:extLst>
              <a:ext uri="{FF2B5EF4-FFF2-40B4-BE49-F238E27FC236}">
                <a16:creationId xmlns:a16="http://schemas.microsoft.com/office/drawing/2014/main" id="{29D2FD6C-7917-BDDB-84E8-26FEA8EBF56B}"/>
              </a:ext>
            </a:extLst>
          </p:cNvPr>
          <p:cNvSpPr/>
          <p:nvPr userDrawn="1"/>
        </p:nvSpPr>
        <p:spPr>
          <a:xfrm>
            <a:off x="10273" y="20548"/>
            <a:ext cx="1335640" cy="19520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575282258"/>
      </p:ext>
    </p:extLst>
  </p:cSld>
  <p:clrMapOvr>
    <a:masterClrMapping/>
  </p:clrMapOvr>
  <p:extLst>
    <p:ext uri="{DCECCB84-F9BA-43D5-87BE-67443E8EF086}">
      <p15:sldGuideLst xmlns:p15="http://schemas.microsoft.com/office/powerpoint/2012/main">
        <p15:guide id="1" pos="551">
          <p15:clr>
            <a:srgbClr val="5ACBF0"/>
          </p15:clr>
        </p15:guide>
        <p15:guide id="2" pos="2479">
          <p15:clr>
            <a:srgbClr val="5ACBF0"/>
          </p15:clr>
        </p15:guide>
        <p15:guide id="3" pos="2955">
          <p15:clr>
            <a:srgbClr val="5ACBF0"/>
          </p15:clr>
        </p15:guide>
        <p15:guide id="4" pos="4861">
          <p15:clr>
            <a:srgbClr val="5ACBF0"/>
          </p15:clr>
        </p15:guide>
        <p15:guide id="5" pos="7242">
          <p15:clr>
            <a:srgbClr val="5ACBF0"/>
          </p15:clr>
        </p15:guide>
        <p15:guide id="6" pos="5337">
          <p15:clr>
            <a:srgbClr val="5ACBF0"/>
          </p15:clr>
        </p15:guide>
        <p15:guide id="7" orient="horz" pos="1094">
          <p15:clr>
            <a:srgbClr val="5ACBF0"/>
          </p15:clr>
        </p15:guide>
        <p15:guide id="8" orient="horz" pos="1933">
          <p15:clr>
            <a:srgbClr val="5ACBF0"/>
          </p15:clr>
        </p15:guide>
        <p15:guide id="9" orient="horz" pos="799">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 Content + Text -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3537" y="1251472"/>
            <a:ext cx="7560000" cy="288000"/>
          </a:xfrm>
          <a:noFill/>
        </p:spPr>
        <p:txBody>
          <a:bodyPr lIns="0">
            <a:noAutofit/>
          </a:bodyPr>
          <a:lstStyle>
            <a:lvl1pPr>
              <a:defRPr sz="1300">
                <a:solidFill>
                  <a:schemeClr val="accent6"/>
                </a:solidFill>
              </a:defRPr>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2749" y="1618672"/>
            <a:ext cx="7560000" cy="4284000"/>
          </a:xfrm>
          <a:noFill/>
        </p:spPr>
        <p:txBody>
          <a:bodyPr/>
          <a:lstStyle>
            <a:lvl1pPr algn="ctr">
              <a:defRPr b="0"/>
            </a:lvl1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hasCustomPrompt="1"/>
          </p:nvPr>
        </p:nvSpPr>
        <p:spPr>
          <a:xfrm>
            <a:off x="7998461" y="1251472"/>
            <a:ext cx="3780000" cy="4928400"/>
          </a:xfrm>
          <a:noFill/>
          <a:effectLst/>
        </p:spPr>
        <p:txBody>
          <a:bodyPr vert="horz" lIns="252000" tIns="252000" rIns="252000" bIns="252000" rtlCol="0" anchor="ctr" anchorCtr="0">
            <a:noAutofit/>
          </a:bodyPr>
          <a:lstStyle>
            <a:lvl1pPr>
              <a:defRPr lang="en-US"/>
            </a:lvl1pPr>
            <a:lvl2pPr>
              <a:defRPr lang="en-US"/>
            </a:lvl2pPr>
            <a:lvl3pPr>
              <a:defRPr lang="en-US"/>
            </a:lvl3pPr>
            <a:lvl4pPr>
              <a:defRPr lang="en-US"/>
            </a:lvl4pPr>
            <a:lvl5pPr>
              <a:defRPr lang="en-GB"/>
            </a:lvl5pPr>
          </a:lstStyle>
          <a:p>
            <a:pPr lvl="0"/>
            <a:r>
              <a:rPr lang="en-US"/>
              <a:t>Active Headline</a:t>
            </a:r>
          </a:p>
          <a:p>
            <a:pPr lvl="1"/>
            <a:r>
              <a:rPr lang="en-US"/>
              <a:t>Body text</a:t>
            </a:r>
          </a:p>
          <a:p>
            <a:pPr lvl="2"/>
            <a:r>
              <a:rPr lang="en-US"/>
              <a:t>Bullets</a:t>
            </a:r>
          </a:p>
          <a:p>
            <a:pPr lvl="3"/>
            <a:r>
              <a:rPr lang="en-US"/>
              <a:t>2nd level bullets</a:t>
            </a:r>
          </a:p>
          <a:p>
            <a:pPr lvl="4"/>
            <a:r>
              <a:rPr lang="en-US"/>
              <a:t>Notes tex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5982936"/>
            <a:ext cx="7585200" cy="215999"/>
          </a:xfrm>
          <a:noFill/>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17" name="Footer Placeholder 4">
            <a:extLst>
              <a:ext uri="{FF2B5EF4-FFF2-40B4-BE49-F238E27FC236}">
                <a16:creationId xmlns:a16="http://schemas.microsoft.com/office/drawing/2014/main" id="{7E01DB59-9B37-F04F-3777-8FF058C3589A}"/>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Tree>
    <p:extLst>
      <p:ext uri="{BB962C8B-B14F-4D97-AF65-F5344CB8AC3E}">
        <p14:creationId xmlns:p14="http://schemas.microsoft.com/office/powerpoint/2010/main" val="2159769113"/>
      </p:ext>
    </p:extLst>
  </p:cSld>
  <p:clrMapOvr>
    <a:masterClrMapping/>
  </p:clrMapOvr>
  <p:extLst>
    <p:ext uri="{DCECCB84-F9BA-43D5-87BE-67443E8EF086}">
      <p15:sldGuideLst xmlns:p15="http://schemas.microsoft.com/office/powerpoint/2012/main">
        <p15:guide id="1" pos="665">
          <p15:clr>
            <a:srgbClr val="5ACBF0"/>
          </p15:clr>
        </p15:guide>
        <p15:guide id="2" pos="4747">
          <p15:clr>
            <a:srgbClr val="5ACBF0"/>
          </p15:clr>
        </p15:guide>
        <p15:guide id="3" orient="horz" pos="1457">
          <p15:clr>
            <a:srgbClr val="5ACBF0"/>
          </p15:clr>
        </p15:guide>
        <p15:guide id="4" orient="horz" pos="3294">
          <p15:clr>
            <a:srgbClr val="5ACBF0"/>
          </p15:clr>
        </p15:guide>
        <p15:guide id="5" orient="horz" pos="913">
          <p15:clr>
            <a:srgbClr val="F26B43"/>
          </p15:clr>
        </p15:guide>
        <p15:guide id="6" orient="horz" pos="3702">
          <p15:clr>
            <a:srgbClr val="F26B43"/>
          </p15:clr>
        </p15:guide>
        <p15:guide id="7" pos="5042">
          <p15:clr>
            <a:srgbClr val="F26B43"/>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Divider 4">
    <p:spTree>
      <p:nvGrpSpPr>
        <p:cNvPr id="1" name=""/>
        <p:cNvGrpSpPr/>
        <p:nvPr/>
      </p:nvGrpSpPr>
      <p:grpSpPr>
        <a:xfrm>
          <a:off x="0" y="0"/>
          <a:ext cx="0" cy="0"/>
          <a:chOff x="0" y="0"/>
          <a:chExt cx="0" cy="0"/>
        </a:xfrm>
      </p:grpSpPr>
      <p:pic>
        <p:nvPicPr>
          <p:cNvPr id="7" name="Picture 6" descr="Close-up of people clapping hands&#10;&#10;Description automatically generated">
            <a:extLst>
              <a:ext uri="{FF2B5EF4-FFF2-40B4-BE49-F238E27FC236}">
                <a16:creationId xmlns:a16="http://schemas.microsoft.com/office/drawing/2014/main" id="{F85E164F-7A38-FBE6-4C7B-E7D70217D1A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D14B1543-25AE-1C98-3924-C7848E634366}"/>
              </a:ext>
            </a:extLst>
          </p:cNvPr>
          <p:cNvSpPr/>
          <p:nvPr userDrawn="1"/>
        </p:nvSpPr>
        <p:spPr>
          <a:xfrm>
            <a:off x="0" y="0"/>
            <a:ext cx="12192000" cy="6858000"/>
          </a:xfrm>
          <a:prstGeom prst="rect">
            <a:avLst/>
          </a:prstGeom>
          <a:gradFill flip="none" rotWithShape="1">
            <a:gsLst>
              <a:gs pos="0">
                <a:srgbClr val="040010"/>
              </a:gs>
              <a:gs pos="99000">
                <a:srgbClr val="E1E6EB">
                  <a:alpha val="0"/>
                </a:srgb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F5470F66-68CB-5759-B6F7-6E9BCAB6C367}"/>
              </a:ext>
            </a:extLst>
          </p:cNvPr>
          <p:cNvSpPr>
            <a:spLocks noGrp="1"/>
          </p:cNvSpPr>
          <p:nvPr>
            <p:ph type="body" sz="quarter" idx="13"/>
          </p:nvPr>
        </p:nvSpPr>
        <p:spPr>
          <a:xfrm>
            <a:off x="1419617" y="1974233"/>
            <a:ext cx="8074025" cy="2971800"/>
          </a:xfrm>
          <a:prstGeom prst="rect">
            <a:avLst/>
          </a:prstGeom>
        </p:spPr>
        <p:txBody>
          <a:bodyPr>
            <a:noAutofit/>
          </a:bodyPr>
          <a:lstStyle>
            <a:lvl1pPr>
              <a:defRPr sz="3200"/>
            </a:lvl1pPr>
            <a:lvl2pPr>
              <a:defRPr sz="2800"/>
            </a:lvl2pPr>
            <a:lvl3pPr>
              <a:defRPr sz="2400"/>
            </a:lvl3pPr>
            <a:lvl4pPr>
              <a:defRPr sz="2000"/>
            </a:lvl4pPr>
            <a:lvl5pP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8" name="Straight Connector 17">
            <a:extLst>
              <a:ext uri="{FF2B5EF4-FFF2-40B4-BE49-F238E27FC236}">
                <a16:creationId xmlns:a16="http://schemas.microsoft.com/office/drawing/2014/main" id="{2281AFFB-9450-87C4-EC5E-9F3098E21E8B}"/>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D344B035-4975-BB69-BA44-C6C8A458112E}"/>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0E56A41D-9230-93EC-4D25-1DE55291070C}"/>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white text&#10;&#10;Description automatically generated">
            <a:extLst>
              <a:ext uri="{FF2B5EF4-FFF2-40B4-BE49-F238E27FC236}">
                <a16:creationId xmlns:a16="http://schemas.microsoft.com/office/drawing/2014/main" id="{8828859D-C46D-ECC7-BBF0-2E5698D538AE}"/>
              </a:ext>
            </a:extLst>
          </p:cNvPr>
          <p:cNvPicPr>
            <a:picLocks noChangeAspect="1"/>
          </p:cNvPicPr>
          <p:nvPr userDrawn="1"/>
        </p:nvPicPr>
        <p:blipFill rotWithShape="1">
          <a:blip r:embed="rId3"/>
          <a:srcRect l="15089" t="30009" r="30562" b="32708"/>
          <a:stretch/>
        </p:blipFill>
        <p:spPr>
          <a:xfrm>
            <a:off x="258416" y="241982"/>
            <a:ext cx="2405271" cy="928152"/>
          </a:xfrm>
          <a:prstGeom prst="rect">
            <a:avLst/>
          </a:prstGeom>
        </p:spPr>
      </p:pic>
      <p:sp>
        <p:nvSpPr>
          <p:cNvPr id="2" name="Footer Placeholder 4">
            <a:extLst>
              <a:ext uri="{FF2B5EF4-FFF2-40B4-BE49-F238E27FC236}">
                <a16:creationId xmlns:a16="http://schemas.microsoft.com/office/drawing/2014/main" id="{7505D992-1741-BF08-A038-92E7A7B291E4}"/>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bg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Stainless Steel &amp; Raw Materials in an Era of Uncertainty</a:t>
            </a:r>
          </a:p>
        </p:txBody>
      </p:sp>
      <p:sp>
        <p:nvSpPr>
          <p:cNvPr id="6" name="TextBox 5">
            <a:extLst>
              <a:ext uri="{FF2B5EF4-FFF2-40B4-BE49-F238E27FC236}">
                <a16:creationId xmlns:a16="http://schemas.microsoft.com/office/drawing/2014/main" id="{DA560753-D2BE-B2D6-9328-2D5EA1163AD3}"/>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bg1"/>
                </a:solidFill>
                <a:latin typeface="Garamond" panose="02020404030301010803" pitchFamily="18" charset="0"/>
                <a:ea typeface="Helvetica Neue UltraLight" panose="02000206000000020004" pitchFamily="2" charset="0"/>
              </a:rPr>
              <a:t>expert</a:t>
            </a:r>
            <a:r>
              <a:rPr lang="en-GB" sz="1000" b="0" i="0">
                <a:solidFill>
                  <a:schemeClr val="bg1"/>
                </a:solidFill>
                <a:latin typeface="Helvetica Neue UltraLight" panose="02000206000000020004" pitchFamily="2" charset="0"/>
                <a:ea typeface="Helvetica Neue UltraLight" panose="02000206000000020004" pitchFamily="2" charset="0"/>
              </a:rPr>
              <a:t> </a:t>
            </a:r>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9" name="Slide Number Placeholder 5">
            <a:extLst>
              <a:ext uri="{FF2B5EF4-FFF2-40B4-BE49-F238E27FC236}">
                <a16:creationId xmlns:a16="http://schemas.microsoft.com/office/drawing/2014/main" id="{02463EDC-46E6-76A4-4916-33BBF833CF32}"/>
              </a:ext>
            </a:extLst>
          </p:cNvPr>
          <p:cNvSpPr>
            <a:spLocks noGrp="1"/>
          </p:cNvSpPr>
          <p:nvPr>
            <p:ph type="sldNum" sz="quarter" idx="4"/>
          </p:nvPr>
        </p:nvSpPr>
        <p:spPr>
          <a:xfrm>
            <a:off x="10913166" y="6193231"/>
            <a:ext cx="1133060" cy="544512"/>
          </a:xfrm>
          <a:prstGeom prst="rect">
            <a:avLst/>
          </a:prstGeom>
          <a:ln>
            <a:noFill/>
          </a:ln>
        </p:spPr>
        <p:txBody>
          <a:bodyPr vert="horz" lIns="91440" tIns="45720" rIns="91440" bIns="45720" rtlCol="0" anchor="ctr"/>
          <a:lstStyle>
            <a:lvl1pPr algn="r">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562BA7E0-5F5E-EE41-AE8D-BD30ED9E17AD}" type="slidenum">
              <a:rPr lang="en-GB" smtClean="0"/>
              <a:pPr/>
              <a:t>‹#›</a:t>
            </a:fld>
            <a:endParaRPr lang="en-GB"/>
          </a:p>
        </p:txBody>
      </p:sp>
      <p:sp>
        <p:nvSpPr>
          <p:cNvPr id="4" name="Date Placeholder 3">
            <a:extLst>
              <a:ext uri="{FF2B5EF4-FFF2-40B4-BE49-F238E27FC236}">
                <a16:creationId xmlns:a16="http://schemas.microsoft.com/office/drawing/2014/main" id="{B8BCC21A-6984-9FB6-6CA7-5E68C6840DFE}"/>
              </a:ext>
            </a:extLst>
          </p:cNvPr>
          <p:cNvSpPr txBox="1">
            <a:spLocks/>
          </p:cNvSpPr>
          <p:nvPr userDrawn="1"/>
        </p:nvSpPr>
        <p:spPr>
          <a:xfrm>
            <a:off x="5406889" y="6429965"/>
            <a:ext cx="1706400" cy="307778"/>
          </a:xfrm>
          <a:prstGeom prst="rect">
            <a:avLst/>
          </a:prstGeom>
          <a:ln>
            <a:noFill/>
          </a:ln>
        </p:spPr>
        <p:txBody>
          <a:bodyPr vert="horz" lIns="91440" tIns="45720" rIns="91440" bIns="45720" rtlCol="0" anchor="ctr"/>
          <a:lstStyle>
            <a:defPPr>
              <a:defRPr lang="en-US"/>
            </a:defPPr>
            <a:lvl1pPr marL="0" algn="l" defTabSz="914400" rtl="0" eaLnBrk="1" latinLnBrk="0" hangingPunct="1">
              <a:defRPr sz="1200" b="0" i="1" kern="1200">
                <a:solidFill>
                  <a:schemeClr val="bg1"/>
                </a:solidFill>
                <a:latin typeface="Garamond" panose="02020404030301010803" pitchFamily="18" charset="0"/>
                <a:ea typeface="Helvetica Neue" panose="02000503000000020004" pitchFamily="2" charset="0"/>
                <a:cs typeface="Helvetica Neue" panose="0200050300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t>Date: </a:t>
            </a:r>
            <a:fld id="{3FBC5742-4920-6148-BBB9-0169CD014D42}" type="datetime3">
              <a:rPr lang="en-GB" smtClean="0"/>
              <a:pPr/>
              <a:t>8 October, 2025</a:t>
            </a:fld>
            <a:endParaRPr lang="en-GB"/>
          </a:p>
        </p:txBody>
      </p:sp>
    </p:spTree>
    <p:extLst>
      <p:ext uri="{BB962C8B-B14F-4D97-AF65-F5344CB8AC3E}">
        <p14:creationId xmlns:p14="http://schemas.microsoft.com/office/powerpoint/2010/main" val="286369787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Divider 4">
    <p:spTree>
      <p:nvGrpSpPr>
        <p:cNvPr id="1" name=""/>
        <p:cNvGrpSpPr/>
        <p:nvPr/>
      </p:nvGrpSpPr>
      <p:grpSpPr>
        <a:xfrm>
          <a:off x="0" y="0"/>
          <a:ext cx="0" cy="0"/>
          <a:chOff x="0" y="0"/>
          <a:chExt cx="0" cy="0"/>
        </a:xfrm>
      </p:grpSpPr>
      <p:pic>
        <p:nvPicPr>
          <p:cNvPr id="4" name="Picture 3" descr="A close up of a computer&#10;&#10;Description automatically generated">
            <a:extLst>
              <a:ext uri="{FF2B5EF4-FFF2-40B4-BE49-F238E27FC236}">
                <a16:creationId xmlns:a16="http://schemas.microsoft.com/office/drawing/2014/main" id="{76A763F8-6FD9-7B42-5238-0BE085931628}"/>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34BA1656-A1F4-C928-82D9-3E90CABC9B58}"/>
              </a:ext>
            </a:extLst>
          </p:cNvPr>
          <p:cNvSpPr/>
          <p:nvPr userDrawn="1"/>
        </p:nvSpPr>
        <p:spPr>
          <a:xfrm>
            <a:off x="0" y="0"/>
            <a:ext cx="12192000" cy="6858000"/>
          </a:xfrm>
          <a:prstGeom prst="rect">
            <a:avLst/>
          </a:prstGeom>
          <a:gradFill flip="none" rotWithShape="1">
            <a:gsLst>
              <a:gs pos="0">
                <a:srgbClr val="040010"/>
              </a:gs>
              <a:gs pos="99000">
                <a:srgbClr val="E1E6EB">
                  <a:alpha val="0"/>
                </a:srgb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F5470F66-68CB-5759-B6F7-6E9BCAB6C367}"/>
              </a:ext>
            </a:extLst>
          </p:cNvPr>
          <p:cNvSpPr>
            <a:spLocks noGrp="1"/>
          </p:cNvSpPr>
          <p:nvPr>
            <p:ph type="body" sz="quarter" idx="13"/>
          </p:nvPr>
        </p:nvSpPr>
        <p:spPr>
          <a:xfrm>
            <a:off x="1419617" y="1974233"/>
            <a:ext cx="8074025" cy="2971800"/>
          </a:xfrm>
          <a:prstGeom prst="rect">
            <a:avLst/>
          </a:prstGeom>
        </p:spPr>
        <p:txBody>
          <a:bodyPr>
            <a:noAutofit/>
          </a:bodyPr>
          <a:lstStyle>
            <a:lvl1pPr>
              <a:defRPr sz="3200"/>
            </a:lvl1pPr>
            <a:lvl2pPr>
              <a:defRPr sz="2800"/>
            </a:lvl2pPr>
            <a:lvl3pPr>
              <a:defRPr sz="2400"/>
            </a:lvl3pPr>
            <a:lvl4pPr>
              <a:defRPr sz="2000"/>
            </a:lvl4pPr>
            <a:lvl5pP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8" name="Straight Connector 17">
            <a:extLst>
              <a:ext uri="{FF2B5EF4-FFF2-40B4-BE49-F238E27FC236}">
                <a16:creationId xmlns:a16="http://schemas.microsoft.com/office/drawing/2014/main" id="{2281AFFB-9450-87C4-EC5E-9F3098E21E8B}"/>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D344B035-4975-BB69-BA44-C6C8A458112E}"/>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0E56A41D-9230-93EC-4D25-1DE55291070C}"/>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white text&#10;&#10;Description automatically generated">
            <a:extLst>
              <a:ext uri="{FF2B5EF4-FFF2-40B4-BE49-F238E27FC236}">
                <a16:creationId xmlns:a16="http://schemas.microsoft.com/office/drawing/2014/main" id="{8828859D-C46D-ECC7-BBF0-2E5698D538AE}"/>
              </a:ext>
            </a:extLst>
          </p:cNvPr>
          <p:cNvPicPr>
            <a:picLocks noChangeAspect="1"/>
          </p:cNvPicPr>
          <p:nvPr userDrawn="1"/>
        </p:nvPicPr>
        <p:blipFill rotWithShape="1">
          <a:blip r:embed="rId3"/>
          <a:srcRect l="15089" t="30009" r="30562" b="32708"/>
          <a:stretch/>
        </p:blipFill>
        <p:spPr>
          <a:xfrm>
            <a:off x="258416" y="241982"/>
            <a:ext cx="2405271" cy="928152"/>
          </a:xfrm>
          <a:prstGeom prst="rect">
            <a:avLst/>
          </a:prstGeom>
        </p:spPr>
      </p:pic>
      <p:sp>
        <p:nvSpPr>
          <p:cNvPr id="2" name="Footer Placeholder 4">
            <a:extLst>
              <a:ext uri="{FF2B5EF4-FFF2-40B4-BE49-F238E27FC236}">
                <a16:creationId xmlns:a16="http://schemas.microsoft.com/office/drawing/2014/main" id="{7505D992-1741-BF08-A038-92E7A7B291E4}"/>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bg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Stainless Steel &amp; Raw Materials in an Era of Uncertainty</a:t>
            </a:r>
          </a:p>
        </p:txBody>
      </p:sp>
      <p:sp>
        <p:nvSpPr>
          <p:cNvPr id="6" name="TextBox 5">
            <a:extLst>
              <a:ext uri="{FF2B5EF4-FFF2-40B4-BE49-F238E27FC236}">
                <a16:creationId xmlns:a16="http://schemas.microsoft.com/office/drawing/2014/main" id="{DA560753-D2BE-B2D6-9328-2D5EA1163AD3}"/>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bg1"/>
                </a:solidFill>
                <a:latin typeface="Garamond" panose="02020404030301010803" pitchFamily="18" charset="0"/>
                <a:ea typeface="Helvetica Neue UltraLight" panose="02000206000000020004" pitchFamily="2" charset="0"/>
              </a:rPr>
              <a:t>expert</a:t>
            </a:r>
            <a:r>
              <a:rPr lang="en-GB" sz="1000" b="0" i="0">
                <a:solidFill>
                  <a:schemeClr val="bg1"/>
                </a:solidFill>
                <a:latin typeface="Helvetica Neue UltraLight" panose="02000206000000020004" pitchFamily="2" charset="0"/>
                <a:ea typeface="Helvetica Neue UltraLight" panose="02000206000000020004" pitchFamily="2" charset="0"/>
              </a:rPr>
              <a:t> </a:t>
            </a:r>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8" name="Slide Number Placeholder 5">
            <a:extLst>
              <a:ext uri="{FF2B5EF4-FFF2-40B4-BE49-F238E27FC236}">
                <a16:creationId xmlns:a16="http://schemas.microsoft.com/office/drawing/2014/main" id="{9A7AC008-603A-C0E3-9978-CF4682541B92}"/>
              </a:ext>
            </a:extLst>
          </p:cNvPr>
          <p:cNvSpPr>
            <a:spLocks noGrp="1"/>
          </p:cNvSpPr>
          <p:nvPr>
            <p:ph type="sldNum" sz="quarter" idx="4"/>
          </p:nvPr>
        </p:nvSpPr>
        <p:spPr>
          <a:xfrm>
            <a:off x="10913166" y="6193231"/>
            <a:ext cx="1133060" cy="544512"/>
          </a:xfrm>
          <a:prstGeom prst="rect">
            <a:avLst/>
          </a:prstGeom>
          <a:ln>
            <a:noFill/>
          </a:ln>
        </p:spPr>
        <p:txBody>
          <a:bodyPr vert="horz" lIns="91440" tIns="45720" rIns="91440" bIns="45720" rtlCol="0" anchor="ctr"/>
          <a:lstStyle>
            <a:lvl1pPr algn="r">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562BA7E0-5F5E-EE41-AE8D-BD30ED9E17AD}" type="slidenum">
              <a:rPr lang="en-GB" smtClean="0"/>
              <a:pPr/>
              <a:t>‹#›</a:t>
            </a:fld>
            <a:endParaRPr lang="en-GB"/>
          </a:p>
        </p:txBody>
      </p:sp>
      <p:sp>
        <p:nvSpPr>
          <p:cNvPr id="5" name="Date Placeholder 3">
            <a:extLst>
              <a:ext uri="{FF2B5EF4-FFF2-40B4-BE49-F238E27FC236}">
                <a16:creationId xmlns:a16="http://schemas.microsoft.com/office/drawing/2014/main" id="{E702162B-EB3D-F7BA-3C21-B36AFBDB8BF0}"/>
              </a:ext>
            </a:extLst>
          </p:cNvPr>
          <p:cNvSpPr txBox="1">
            <a:spLocks/>
          </p:cNvSpPr>
          <p:nvPr userDrawn="1"/>
        </p:nvSpPr>
        <p:spPr>
          <a:xfrm>
            <a:off x="5406889" y="6429965"/>
            <a:ext cx="1706400" cy="307778"/>
          </a:xfrm>
          <a:prstGeom prst="rect">
            <a:avLst/>
          </a:prstGeom>
          <a:ln>
            <a:noFill/>
          </a:ln>
        </p:spPr>
        <p:txBody>
          <a:bodyPr vert="horz" lIns="91440" tIns="45720" rIns="91440" bIns="45720" rtlCol="0" anchor="ctr"/>
          <a:lstStyle>
            <a:defPPr>
              <a:defRPr lang="en-US"/>
            </a:defPPr>
            <a:lvl1pPr marL="0" algn="l" defTabSz="914400" rtl="0" eaLnBrk="1" latinLnBrk="0" hangingPunct="1">
              <a:defRPr sz="1200" b="0" i="1" kern="1200">
                <a:solidFill>
                  <a:schemeClr val="bg1"/>
                </a:solidFill>
                <a:latin typeface="Garamond" panose="02020404030301010803" pitchFamily="18" charset="0"/>
                <a:ea typeface="Helvetica Neue" panose="02000503000000020004" pitchFamily="2" charset="0"/>
                <a:cs typeface="Helvetica Neue" panose="0200050300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t>Date: </a:t>
            </a:r>
            <a:fld id="{3FBC5742-4920-6148-BBB9-0169CD014D42}" type="datetime3">
              <a:rPr lang="en-GB" smtClean="0"/>
              <a:pPr/>
              <a:t>8 October, 2025</a:t>
            </a:fld>
            <a:endParaRPr lang="en-GB"/>
          </a:p>
        </p:txBody>
      </p:sp>
    </p:spTree>
    <p:extLst>
      <p:ext uri="{BB962C8B-B14F-4D97-AF65-F5344CB8AC3E}">
        <p14:creationId xmlns:p14="http://schemas.microsoft.com/office/powerpoint/2010/main" val="75590055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Divider 4">
    <p:spTree>
      <p:nvGrpSpPr>
        <p:cNvPr id="1" name=""/>
        <p:cNvGrpSpPr/>
        <p:nvPr/>
      </p:nvGrpSpPr>
      <p:grpSpPr>
        <a:xfrm>
          <a:off x="0" y="0"/>
          <a:ext cx="0" cy="0"/>
          <a:chOff x="0" y="0"/>
          <a:chExt cx="0" cy="0"/>
        </a:xfrm>
      </p:grpSpPr>
      <p:pic>
        <p:nvPicPr>
          <p:cNvPr id="4" name="Picture 3" descr="A smoke billowing from a factory&#10;&#10;Description automatically generated">
            <a:extLst>
              <a:ext uri="{FF2B5EF4-FFF2-40B4-BE49-F238E27FC236}">
                <a16:creationId xmlns:a16="http://schemas.microsoft.com/office/drawing/2014/main" id="{DC837039-3D2E-E7E8-1284-1E0D21FD70A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34BA1656-A1F4-C928-82D9-3E90CABC9B58}"/>
              </a:ext>
            </a:extLst>
          </p:cNvPr>
          <p:cNvSpPr/>
          <p:nvPr userDrawn="1"/>
        </p:nvSpPr>
        <p:spPr>
          <a:xfrm>
            <a:off x="0" y="0"/>
            <a:ext cx="12192000" cy="6858000"/>
          </a:xfrm>
          <a:prstGeom prst="rect">
            <a:avLst/>
          </a:prstGeom>
          <a:gradFill flip="none" rotWithShape="1">
            <a:gsLst>
              <a:gs pos="0">
                <a:srgbClr val="040010"/>
              </a:gs>
              <a:gs pos="99000">
                <a:srgbClr val="E1E6EB">
                  <a:alpha val="0"/>
                </a:srgb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F5470F66-68CB-5759-B6F7-6E9BCAB6C367}"/>
              </a:ext>
            </a:extLst>
          </p:cNvPr>
          <p:cNvSpPr>
            <a:spLocks noGrp="1"/>
          </p:cNvSpPr>
          <p:nvPr>
            <p:ph type="body" sz="quarter" idx="13"/>
          </p:nvPr>
        </p:nvSpPr>
        <p:spPr>
          <a:xfrm>
            <a:off x="1419617" y="1974233"/>
            <a:ext cx="8074025" cy="2971800"/>
          </a:xfrm>
          <a:prstGeom prst="rect">
            <a:avLst/>
          </a:prstGeom>
        </p:spPr>
        <p:txBody>
          <a:bodyPr>
            <a:noAutofit/>
          </a:bodyPr>
          <a:lstStyle>
            <a:lvl1pPr>
              <a:defRPr sz="3200"/>
            </a:lvl1pPr>
            <a:lvl2pPr>
              <a:defRPr sz="2800"/>
            </a:lvl2pPr>
            <a:lvl3pPr>
              <a:defRPr sz="2400"/>
            </a:lvl3pPr>
            <a:lvl4pPr>
              <a:defRPr sz="2000"/>
            </a:lvl4pPr>
            <a:lvl5pP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8" name="Straight Connector 17">
            <a:extLst>
              <a:ext uri="{FF2B5EF4-FFF2-40B4-BE49-F238E27FC236}">
                <a16:creationId xmlns:a16="http://schemas.microsoft.com/office/drawing/2014/main" id="{2281AFFB-9450-87C4-EC5E-9F3098E21E8B}"/>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D344B035-4975-BB69-BA44-C6C8A458112E}"/>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0E56A41D-9230-93EC-4D25-1DE55291070C}"/>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white text&#10;&#10;Description automatically generated">
            <a:extLst>
              <a:ext uri="{FF2B5EF4-FFF2-40B4-BE49-F238E27FC236}">
                <a16:creationId xmlns:a16="http://schemas.microsoft.com/office/drawing/2014/main" id="{8828859D-C46D-ECC7-BBF0-2E5698D538AE}"/>
              </a:ext>
            </a:extLst>
          </p:cNvPr>
          <p:cNvPicPr>
            <a:picLocks noChangeAspect="1"/>
          </p:cNvPicPr>
          <p:nvPr userDrawn="1"/>
        </p:nvPicPr>
        <p:blipFill rotWithShape="1">
          <a:blip r:embed="rId3"/>
          <a:srcRect l="15089" t="30009" r="30562" b="32708"/>
          <a:stretch/>
        </p:blipFill>
        <p:spPr>
          <a:xfrm>
            <a:off x="258416" y="241982"/>
            <a:ext cx="2405271" cy="928152"/>
          </a:xfrm>
          <a:prstGeom prst="rect">
            <a:avLst/>
          </a:prstGeom>
        </p:spPr>
      </p:pic>
      <p:sp>
        <p:nvSpPr>
          <p:cNvPr id="2" name="Footer Placeholder 4">
            <a:extLst>
              <a:ext uri="{FF2B5EF4-FFF2-40B4-BE49-F238E27FC236}">
                <a16:creationId xmlns:a16="http://schemas.microsoft.com/office/drawing/2014/main" id="{C09C1F28-47D8-61AA-107C-A52CCD9D618C}"/>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bg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Stainless Steel &amp; Raw Materials in an Era of Uncertainty</a:t>
            </a:r>
          </a:p>
        </p:txBody>
      </p:sp>
      <p:sp>
        <p:nvSpPr>
          <p:cNvPr id="6" name="TextBox 5">
            <a:extLst>
              <a:ext uri="{FF2B5EF4-FFF2-40B4-BE49-F238E27FC236}">
                <a16:creationId xmlns:a16="http://schemas.microsoft.com/office/drawing/2014/main" id="{D293F0FD-2AE6-657F-112F-09397FE009A2}"/>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bg1"/>
                </a:solidFill>
                <a:latin typeface="Garamond" panose="02020404030301010803" pitchFamily="18" charset="0"/>
                <a:ea typeface="Helvetica Neue UltraLight" panose="02000206000000020004" pitchFamily="2" charset="0"/>
              </a:rPr>
              <a:t>expert</a:t>
            </a:r>
            <a:r>
              <a:rPr lang="en-GB" sz="1000" b="0" i="0">
                <a:solidFill>
                  <a:schemeClr val="bg1"/>
                </a:solidFill>
                <a:latin typeface="Helvetica Neue UltraLight" panose="02000206000000020004" pitchFamily="2" charset="0"/>
                <a:ea typeface="Helvetica Neue UltraLight" panose="02000206000000020004" pitchFamily="2" charset="0"/>
              </a:rPr>
              <a:t> </a:t>
            </a:r>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8" name="Slide Number Placeholder 5">
            <a:extLst>
              <a:ext uri="{FF2B5EF4-FFF2-40B4-BE49-F238E27FC236}">
                <a16:creationId xmlns:a16="http://schemas.microsoft.com/office/drawing/2014/main" id="{AC184C50-1DC9-5CA8-AA86-91F1F4706F9B}"/>
              </a:ext>
            </a:extLst>
          </p:cNvPr>
          <p:cNvSpPr>
            <a:spLocks noGrp="1"/>
          </p:cNvSpPr>
          <p:nvPr>
            <p:ph type="sldNum" sz="quarter" idx="4"/>
          </p:nvPr>
        </p:nvSpPr>
        <p:spPr>
          <a:xfrm>
            <a:off x="10913166" y="6193231"/>
            <a:ext cx="1133060" cy="544512"/>
          </a:xfrm>
          <a:prstGeom prst="rect">
            <a:avLst/>
          </a:prstGeom>
          <a:ln>
            <a:noFill/>
          </a:ln>
        </p:spPr>
        <p:txBody>
          <a:bodyPr vert="horz" lIns="91440" tIns="45720" rIns="91440" bIns="45720" rtlCol="0" anchor="ctr"/>
          <a:lstStyle>
            <a:lvl1pPr algn="r">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562BA7E0-5F5E-EE41-AE8D-BD30ED9E17AD}" type="slidenum">
              <a:rPr lang="en-GB" smtClean="0"/>
              <a:pPr/>
              <a:t>‹#›</a:t>
            </a:fld>
            <a:endParaRPr lang="en-GB"/>
          </a:p>
        </p:txBody>
      </p:sp>
      <p:sp>
        <p:nvSpPr>
          <p:cNvPr id="5" name="Date Placeholder 3">
            <a:extLst>
              <a:ext uri="{FF2B5EF4-FFF2-40B4-BE49-F238E27FC236}">
                <a16:creationId xmlns:a16="http://schemas.microsoft.com/office/drawing/2014/main" id="{D951E819-77B6-EB28-B2E3-7ED91DD782F9}"/>
              </a:ext>
            </a:extLst>
          </p:cNvPr>
          <p:cNvSpPr txBox="1">
            <a:spLocks/>
          </p:cNvSpPr>
          <p:nvPr userDrawn="1"/>
        </p:nvSpPr>
        <p:spPr>
          <a:xfrm>
            <a:off x="5406889" y="6429965"/>
            <a:ext cx="1706400" cy="307778"/>
          </a:xfrm>
          <a:prstGeom prst="rect">
            <a:avLst/>
          </a:prstGeom>
          <a:ln>
            <a:noFill/>
          </a:ln>
        </p:spPr>
        <p:txBody>
          <a:bodyPr vert="horz" lIns="91440" tIns="45720" rIns="91440" bIns="45720" rtlCol="0" anchor="ctr"/>
          <a:lstStyle>
            <a:defPPr>
              <a:defRPr lang="en-US"/>
            </a:defPPr>
            <a:lvl1pPr marL="0" algn="l" defTabSz="914400" rtl="0" eaLnBrk="1" latinLnBrk="0" hangingPunct="1">
              <a:defRPr sz="1200" b="0" i="1" kern="1200">
                <a:solidFill>
                  <a:schemeClr val="bg1"/>
                </a:solidFill>
                <a:latin typeface="Garamond" panose="02020404030301010803" pitchFamily="18" charset="0"/>
                <a:ea typeface="Helvetica Neue" panose="02000503000000020004" pitchFamily="2" charset="0"/>
                <a:cs typeface="Helvetica Neue" panose="0200050300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t>Date: </a:t>
            </a:r>
            <a:fld id="{3FBC5742-4920-6148-BBB9-0169CD014D42}" type="datetime3">
              <a:rPr lang="en-GB" smtClean="0"/>
              <a:pPr/>
              <a:t>8 October, 2025</a:t>
            </a:fld>
            <a:endParaRPr lang="en-GB"/>
          </a:p>
        </p:txBody>
      </p:sp>
    </p:spTree>
    <p:extLst>
      <p:ext uri="{BB962C8B-B14F-4D97-AF65-F5344CB8AC3E}">
        <p14:creationId xmlns:p14="http://schemas.microsoft.com/office/powerpoint/2010/main" val="375350176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4_Divider 4">
    <p:spTree>
      <p:nvGrpSpPr>
        <p:cNvPr id="1" name=""/>
        <p:cNvGrpSpPr/>
        <p:nvPr/>
      </p:nvGrpSpPr>
      <p:grpSpPr>
        <a:xfrm>
          <a:off x="0" y="0"/>
          <a:ext cx="0" cy="0"/>
          <a:chOff x="0" y="0"/>
          <a:chExt cx="0" cy="0"/>
        </a:xfrm>
      </p:grpSpPr>
      <p:pic>
        <p:nvPicPr>
          <p:cNvPr id="4" name="Picture 3" descr="A graph with arrows pointing up&#10;&#10;Description automatically generated with medium confidence">
            <a:extLst>
              <a:ext uri="{FF2B5EF4-FFF2-40B4-BE49-F238E27FC236}">
                <a16:creationId xmlns:a16="http://schemas.microsoft.com/office/drawing/2014/main" id="{52632881-9312-34E5-3C89-257C8965E091}"/>
              </a:ext>
            </a:extLst>
          </p:cNvPr>
          <p:cNvPicPr>
            <a:picLocks noChangeAspect="1"/>
          </p:cNvPicPr>
          <p:nvPr userDrawn="1"/>
        </p:nvPicPr>
        <p:blipFill>
          <a:blip r:embed="rId2"/>
          <a:stretch>
            <a:fillRect/>
          </a:stretch>
        </p:blipFill>
        <p:spPr>
          <a:xfrm>
            <a:off x="-5696" y="0"/>
            <a:ext cx="12197696" cy="6861204"/>
          </a:xfrm>
          <a:prstGeom prst="rect">
            <a:avLst/>
          </a:prstGeom>
        </p:spPr>
      </p:pic>
      <p:sp>
        <p:nvSpPr>
          <p:cNvPr id="12" name="Rectangle 11">
            <a:extLst>
              <a:ext uri="{FF2B5EF4-FFF2-40B4-BE49-F238E27FC236}">
                <a16:creationId xmlns:a16="http://schemas.microsoft.com/office/drawing/2014/main" id="{34BA1656-A1F4-C928-82D9-3E90CABC9B58}"/>
              </a:ext>
            </a:extLst>
          </p:cNvPr>
          <p:cNvSpPr/>
          <p:nvPr userDrawn="1"/>
        </p:nvSpPr>
        <p:spPr>
          <a:xfrm>
            <a:off x="0" y="0"/>
            <a:ext cx="12192000" cy="6858000"/>
          </a:xfrm>
          <a:prstGeom prst="rect">
            <a:avLst/>
          </a:prstGeom>
          <a:gradFill flip="none" rotWithShape="1">
            <a:gsLst>
              <a:gs pos="0">
                <a:srgbClr val="040010"/>
              </a:gs>
              <a:gs pos="99000">
                <a:srgbClr val="E1E6EB">
                  <a:alpha val="0"/>
                </a:srgb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F5470F66-68CB-5759-B6F7-6E9BCAB6C367}"/>
              </a:ext>
            </a:extLst>
          </p:cNvPr>
          <p:cNvSpPr>
            <a:spLocks noGrp="1"/>
          </p:cNvSpPr>
          <p:nvPr>
            <p:ph type="body" sz="quarter" idx="13"/>
          </p:nvPr>
        </p:nvSpPr>
        <p:spPr>
          <a:xfrm>
            <a:off x="1419617" y="1974233"/>
            <a:ext cx="8074025" cy="2971800"/>
          </a:xfrm>
          <a:prstGeom prst="rect">
            <a:avLst/>
          </a:prstGeom>
        </p:spPr>
        <p:txBody>
          <a:bodyPr>
            <a:noAutofit/>
          </a:bodyPr>
          <a:lstStyle>
            <a:lvl1pPr>
              <a:defRPr sz="3200"/>
            </a:lvl1pPr>
            <a:lvl2pPr>
              <a:defRPr sz="2800"/>
            </a:lvl2pPr>
            <a:lvl3pPr>
              <a:defRPr sz="2400"/>
            </a:lvl3pPr>
            <a:lvl4pPr>
              <a:defRPr sz="2000"/>
            </a:lvl4pPr>
            <a:lvl5pP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8" name="Straight Connector 17">
            <a:extLst>
              <a:ext uri="{FF2B5EF4-FFF2-40B4-BE49-F238E27FC236}">
                <a16:creationId xmlns:a16="http://schemas.microsoft.com/office/drawing/2014/main" id="{2281AFFB-9450-87C4-EC5E-9F3098E21E8B}"/>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D344B035-4975-BB69-BA44-C6C8A458112E}"/>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0E56A41D-9230-93EC-4D25-1DE55291070C}"/>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white text&#10;&#10;Description automatically generated">
            <a:extLst>
              <a:ext uri="{FF2B5EF4-FFF2-40B4-BE49-F238E27FC236}">
                <a16:creationId xmlns:a16="http://schemas.microsoft.com/office/drawing/2014/main" id="{8828859D-C46D-ECC7-BBF0-2E5698D538AE}"/>
              </a:ext>
            </a:extLst>
          </p:cNvPr>
          <p:cNvPicPr>
            <a:picLocks noChangeAspect="1"/>
          </p:cNvPicPr>
          <p:nvPr userDrawn="1"/>
        </p:nvPicPr>
        <p:blipFill rotWithShape="1">
          <a:blip r:embed="rId3"/>
          <a:srcRect l="15089" t="30009" r="30562" b="32708"/>
          <a:stretch/>
        </p:blipFill>
        <p:spPr>
          <a:xfrm>
            <a:off x="258416" y="241982"/>
            <a:ext cx="2405271" cy="928152"/>
          </a:xfrm>
          <a:prstGeom prst="rect">
            <a:avLst/>
          </a:prstGeom>
        </p:spPr>
      </p:pic>
      <p:sp>
        <p:nvSpPr>
          <p:cNvPr id="2" name="Footer Placeholder 4">
            <a:extLst>
              <a:ext uri="{FF2B5EF4-FFF2-40B4-BE49-F238E27FC236}">
                <a16:creationId xmlns:a16="http://schemas.microsoft.com/office/drawing/2014/main" id="{466C1EED-C50A-C6C4-1583-12E5C0BCA15A}"/>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bg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Stainless Steel &amp; Raw Materials in an Era of Uncertainty</a:t>
            </a:r>
          </a:p>
        </p:txBody>
      </p:sp>
      <p:sp>
        <p:nvSpPr>
          <p:cNvPr id="6" name="TextBox 5">
            <a:extLst>
              <a:ext uri="{FF2B5EF4-FFF2-40B4-BE49-F238E27FC236}">
                <a16:creationId xmlns:a16="http://schemas.microsoft.com/office/drawing/2014/main" id="{78DEF50D-3A1B-966C-0D91-E0F43A704697}"/>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bg1"/>
                </a:solidFill>
                <a:latin typeface="Garamond" panose="02020404030301010803" pitchFamily="18" charset="0"/>
                <a:ea typeface="Helvetica Neue UltraLight" panose="02000206000000020004" pitchFamily="2" charset="0"/>
              </a:rPr>
              <a:t>expert</a:t>
            </a:r>
            <a:r>
              <a:rPr lang="en-GB" sz="1000" b="0" i="0">
                <a:solidFill>
                  <a:schemeClr val="bg1"/>
                </a:solidFill>
                <a:latin typeface="Helvetica Neue UltraLight" panose="02000206000000020004" pitchFamily="2" charset="0"/>
                <a:ea typeface="Helvetica Neue UltraLight" panose="02000206000000020004" pitchFamily="2" charset="0"/>
              </a:rPr>
              <a:t> </a:t>
            </a:r>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8" name="Slide Number Placeholder 5">
            <a:extLst>
              <a:ext uri="{FF2B5EF4-FFF2-40B4-BE49-F238E27FC236}">
                <a16:creationId xmlns:a16="http://schemas.microsoft.com/office/drawing/2014/main" id="{92947D72-23A7-3DFD-D1EE-5110786BDB27}"/>
              </a:ext>
            </a:extLst>
          </p:cNvPr>
          <p:cNvSpPr>
            <a:spLocks noGrp="1"/>
          </p:cNvSpPr>
          <p:nvPr>
            <p:ph type="sldNum" sz="quarter" idx="4"/>
          </p:nvPr>
        </p:nvSpPr>
        <p:spPr>
          <a:xfrm>
            <a:off x="10913166" y="6193231"/>
            <a:ext cx="1133060" cy="544512"/>
          </a:xfrm>
          <a:prstGeom prst="rect">
            <a:avLst/>
          </a:prstGeom>
          <a:ln>
            <a:noFill/>
          </a:ln>
        </p:spPr>
        <p:txBody>
          <a:bodyPr vert="horz" lIns="91440" tIns="45720" rIns="91440" bIns="45720" rtlCol="0" anchor="ctr"/>
          <a:lstStyle>
            <a:lvl1pPr algn="r">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562BA7E0-5F5E-EE41-AE8D-BD30ED9E17AD}" type="slidenum">
              <a:rPr lang="en-GB" smtClean="0"/>
              <a:pPr/>
              <a:t>‹#›</a:t>
            </a:fld>
            <a:endParaRPr lang="en-GB"/>
          </a:p>
        </p:txBody>
      </p:sp>
      <p:sp>
        <p:nvSpPr>
          <p:cNvPr id="5" name="Date Placeholder 3">
            <a:extLst>
              <a:ext uri="{FF2B5EF4-FFF2-40B4-BE49-F238E27FC236}">
                <a16:creationId xmlns:a16="http://schemas.microsoft.com/office/drawing/2014/main" id="{9485C0A1-F0B8-89FF-DFCE-6ADA9FC9D87C}"/>
              </a:ext>
            </a:extLst>
          </p:cNvPr>
          <p:cNvSpPr txBox="1">
            <a:spLocks/>
          </p:cNvSpPr>
          <p:nvPr userDrawn="1"/>
        </p:nvSpPr>
        <p:spPr>
          <a:xfrm>
            <a:off x="5406889" y="6429965"/>
            <a:ext cx="1706400" cy="307778"/>
          </a:xfrm>
          <a:prstGeom prst="rect">
            <a:avLst/>
          </a:prstGeom>
          <a:ln>
            <a:noFill/>
          </a:ln>
        </p:spPr>
        <p:txBody>
          <a:bodyPr vert="horz" lIns="91440" tIns="45720" rIns="91440" bIns="45720" rtlCol="0" anchor="ctr"/>
          <a:lstStyle>
            <a:defPPr>
              <a:defRPr lang="en-US"/>
            </a:defPPr>
            <a:lvl1pPr marL="0" algn="l" defTabSz="914400" rtl="0" eaLnBrk="1" latinLnBrk="0" hangingPunct="1">
              <a:defRPr sz="1200" b="0" i="1" kern="1200">
                <a:solidFill>
                  <a:schemeClr val="bg1"/>
                </a:solidFill>
                <a:latin typeface="Garamond" panose="02020404030301010803" pitchFamily="18" charset="0"/>
                <a:ea typeface="Helvetica Neue" panose="02000503000000020004" pitchFamily="2" charset="0"/>
                <a:cs typeface="Helvetica Neue" panose="0200050300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t>Date: </a:t>
            </a:r>
            <a:fld id="{3FBC5742-4920-6148-BBB9-0169CD014D42}" type="datetime3">
              <a:rPr lang="en-GB" smtClean="0"/>
              <a:pPr/>
              <a:t>8 October, 2025</a:t>
            </a:fld>
            <a:endParaRPr lang="en-GB"/>
          </a:p>
        </p:txBody>
      </p:sp>
    </p:spTree>
    <p:extLst>
      <p:ext uri="{BB962C8B-B14F-4D97-AF65-F5344CB8AC3E}">
        <p14:creationId xmlns:p14="http://schemas.microsoft.com/office/powerpoint/2010/main" val="170160715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5_Divider 4">
    <p:spTree>
      <p:nvGrpSpPr>
        <p:cNvPr id="1" name=""/>
        <p:cNvGrpSpPr/>
        <p:nvPr/>
      </p:nvGrpSpPr>
      <p:grpSpPr>
        <a:xfrm>
          <a:off x="0" y="0"/>
          <a:ext cx="0" cy="0"/>
          <a:chOff x="0" y="0"/>
          <a:chExt cx="0" cy="0"/>
        </a:xfrm>
      </p:grpSpPr>
      <p:pic>
        <p:nvPicPr>
          <p:cNvPr id="4" name="Picture 3" descr="A person and person wearing hardhats and working on a tablet&#10;&#10;Description automatically generated">
            <a:extLst>
              <a:ext uri="{FF2B5EF4-FFF2-40B4-BE49-F238E27FC236}">
                <a16:creationId xmlns:a16="http://schemas.microsoft.com/office/drawing/2014/main" id="{79689660-762D-5849-187F-A8A5B9E857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34BA1656-A1F4-C928-82D9-3E90CABC9B58}"/>
              </a:ext>
            </a:extLst>
          </p:cNvPr>
          <p:cNvSpPr/>
          <p:nvPr userDrawn="1"/>
        </p:nvSpPr>
        <p:spPr>
          <a:xfrm>
            <a:off x="0" y="0"/>
            <a:ext cx="12192000" cy="6858000"/>
          </a:xfrm>
          <a:prstGeom prst="rect">
            <a:avLst/>
          </a:prstGeom>
          <a:gradFill flip="none" rotWithShape="1">
            <a:gsLst>
              <a:gs pos="0">
                <a:srgbClr val="040010"/>
              </a:gs>
              <a:gs pos="99000">
                <a:srgbClr val="E1E6EB">
                  <a:alpha val="0"/>
                </a:srgb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F5470F66-68CB-5759-B6F7-6E9BCAB6C367}"/>
              </a:ext>
            </a:extLst>
          </p:cNvPr>
          <p:cNvSpPr>
            <a:spLocks noGrp="1"/>
          </p:cNvSpPr>
          <p:nvPr>
            <p:ph type="body" sz="quarter" idx="13"/>
          </p:nvPr>
        </p:nvSpPr>
        <p:spPr>
          <a:xfrm>
            <a:off x="1419617" y="1974233"/>
            <a:ext cx="8074025" cy="2971800"/>
          </a:xfrm>
          <a:prstGeom prst="rect">
            <a:avLst/>
          </a:prstGeom>
        </p:spPr>
        <p:txBody>
          <a:bodyPr>
            <a:noAutofit/>
          </a:bodyPr>
          <a:lstStyle>
            <a:lvl1pPr>
              <a:defRPr sz="3200"/>
            </a:lvl1pPr>
            <a:lvl2pPr>
              <a:defRPr sz="2800"/>
            </a:lvl2pPr>
            <a:lvl3pPr>
              <a:defRPr sz="2400"/>
            </a:lvl3pPr>
            <a:lvl4pPr>
              <a:defRPr sz="2000"/>
            </a:lvl4pPr>
            <a:lvl5pP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Date Placeholder 3">
            <a:extLst>
              <a:ext uri="{FF2B5EF4-FFF2-40B4-BE49-F238E27FC236}">
                <a16:creationId xmlns:a16="http://schemas.microsoft.com/office/drawing/2014/main" id="{A7EC95B5-73D4-EA57-99AE-7C67380A9610}"/>
              </a:ext>
            </a:extLst>
          </p:cNvPr>
          <p:cNvSpPr>
            <a:spLocks noGrp="1"/>
          </p:cNvSpPr>
          <p:nvPr>
            <p:ph type="dt" sz="half" idx="2"/>
          </p:nvPr>
        </p:nvSpPr>
        <p:spPr>
          <a:xfrm>
            <a:off x="5406889" y="6429965"/>
            <a:ext cx="1531294" cy="307778"/>
          </a:xfrm>
          <a:prstGeom prst="rect">
            <a:avLst/>
          </a:prstGeom>
          <a:ln>
            <a:noFill/>
          </a:ln>
        </p:spPr>
        <p:txBody>
          <a:bodyPr vert="horz" lIns="91440" tIns="45720" rIns="91440" bIns="45720" rtlCol="0" anchor="ctr"/>
          <a:lstStyle>
            <a:lvl1pPr algn="l">
              <a:defRPr sz="1200" b="0" i="1">
                <a:solidFill>
                  <a:schemeClr val="bg1"/>
                </a:solidFill>
                <a:latin typeface="Garamond" panose="02020404030301010803" pitchFamily="18" charset="0"/>
                <a:ea typeface="Helvetica Neue" panose="02000503000000020004" pitchFamily="2" charset="0"/>
                <a:cs typeface="Helvetica Neue" panose="02000503000000020004" pitchFamily="2" charset="0"/>
              </a:defRPr>
            </a:lvl1pPr>
          </a:lstStyle>
          <a:p>
            <a:r>
              <a:rPr lang="en-US"/>
              <a:t>October 2025</a:t>
            </a:r>
            <a:endParaRPr lang="en-GB"/>
          </a:p>
        </p:txBody>
      </p:sp>
      <p:cxnSp>
        <p:nvCxnSpPr>
          <p:cNvPr id="18" name="Straight Connector 17">
            <a:extLst>
              <a:ext uri="{FF2B5EF4-FFF2-40B4-BE49-F238E27FC236}">
                <a16:creationId xmlns:a16="http://schemas.microsoft.com/office/drawing/2014/main" id="{2281AFFB-9450-87C4-EC5E-9F3098E21E8B}"/>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D344B035-4975-BB69-BA44-C6C8A458112E}"/>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0E56A41D-9230-93EC-4D25-1DE55291070C}"/>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white text&#10;&#10;Description automatically generated">
            <a:extLst>
              <a:ext uri="{FF2B5EF4-FFF2-40B4-BE49-F238E27FC236}">
                <a16:creationId xmlns:a16="http://schemas.microsoft.com/office/drawing/2014/main" id="{8828859D-C46D-ECC7-BBF0-2E5698D538AE}"/>
              </a:ext>
            </a:extLst>
          </p:cNvPr>
          <p:cNvPicPr>
            <a:picLocks noChangeAspect="1"/>
          </p:cNvPicPr>
          <p:nvPr userDrawn="1"/>
        </p:nvPicPr>
        <p:blipFill rotWithShape="1">
          <a:blip r:embed="rId3"/>
          <a:srcRect l="15089" t="30009" r="30562" b="32708"/>
          <a:stretch/>
        </p:blipFill>
        <p:spPr>
          <a:xfrm>
            <a:off x="258416" y="241982"/>
            <a:ext cx="2405271" cy="928152"/>
          </a:xfrm>
          <a:prstGeom prst="rect">
            <a:avLst/>
          </a:prstGeom>
        </p:spPr>
      </p:pic>
      <p:sp>
        <p:nvSpPr>
          <p:cNvPr id="2" name="Footer Placeholder 4">
            <a:extLst>
              <a:ext uri="{FF2B5EF4-FFF2-40B4-BE49-F238E27FC236}">
                <a16:creationId xmlns:a16="http://schemas.microsoft.com/office/drawing/2014/main" id="{67F0820D-B71A-0B0D-3BFF-5EDFC8CC44BA}"/>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bg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Stainless Steel &amp; Raw Materials in an Era of Uncertainty</a:t>
            </a:r>
          </a:p>
        </p:txBody>
      </p:sp>
      <p:sp>
        <p:nvSpPr>
          <p:cNvPr id="6" name="TextBox 5">
            <a:extLst>
              <a:ext uri="{FF2B5EF4-FFF2-40B4-BE49-F238E27FC236}">
                <a16:creationId xmlns:a16="http://schemas.microsoft.com/office/drawing/2014/main" id="{E49151A4-4F4F-6DA6-1996-E19D40D044D6}"/>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bg1"/>
                </a:solidFill>
                <a:latin typeface="Garamond" panose="02020404030301010803" pitchFamily="18" charset="0"/>
                <a:ea typeface="Helvetica Neue UltraLight" panose="02000206000000020004" pitchFamily="2" charset="0"/>
              </a:rPr>
              <a:t>expert</a:t>
            </a:r>
            <a:r>
              <a:rPr lang="en-GB" sz="1000" b="0" i="0">
                <a:solidFill>
                  <a:schemeClr val="bg1"/>
                </a:solidFill>
                <a:latin typeface="Helvetica Neue UltraLight" panose="02000206000000020004" pitchFamily="2" charset="0"/>
                <a:ea typeface="Helvetica Neue UltraLight" panose="02000206000000020004" pitchFamily="2" charset="0"/>
              </a:rPr>
              <a:t> </a:t>
            </a:r>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8" name="Slide Number Placeholder 5">
            <a:extLst>
              <a:ext uri="{FF2B5EF4-FFF2-40B4-BE49-F238E27FC236}">
                <a16:creationId xmlns:a16="http://schemas.microsoft.com/office/drawing/2014/main" id="{61BB42AB-FF2C-B52A-0242-96689FFFB819}"/>
              </a:ext>
            </a:extLst>
          </p:cNvPr>
          <p:cNvSpPr>
            <a:spLocks noGrp="1"/>
          </p:cNvSpPr>
          <p:nvPr>
            <p:ph type="sldNum" sz="quarter" idx="4"/>
          </p:nvPr>
        </p:nvSpPr>
        <p:spPr>
          <a:xfrm>
            <a:off x="10913166" y="6193231"/>
            <a:ext cx="1133060" cy="544512"/>
          </a:xfrm>
          <a:prstGeom prst="rect">
            <a:avLst/>
          </a:prstGeom>
          <a:ln>
            <a:noFill/>
          </a:ln>
        </p:spPr>
        <p:txBody>
          <a:bodyPr vert="horz" lIns="91440" tIns="45720" rIns="91440" bIns="45720" rtlCol="0" anchor="ctr"/>
          <a:lstStyle>
            <a:lvl1pPr algn="r">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562BA7E0-5F5E-EE41-AE8D-BD30ED9E17AD}" type="slidenum">
              <a:rPr lang="en-GB" smtClean="0"/>
              <a:pPr/>
              <a:t>‹#›</a:t>
            </a:fld>
            <a:endParaRPr lang="en-GB"/>
          </a:p>
        </p:txBody>
      </p:sp>
      <p:sp>
        <p:nvSpPr>
          <p:cNvPr id="5" name="Date Placeholder 3">
            <a:extLst>
              <a:ext uri="{FF2B5EF4-FFF2-40B4-BE49-F238E27FC236}">
                <a16:creationId xmlns:a16="http://schemas.microsoft.com/office/drawing/2014/main" id="{1B6A269F-3547-03AC-D442-95C36C906421}"/>
              </a:ext>
            </a:extLst>
          </p:cNvPr>
          <p:cNvSpPr txBox="1">
            <a:spLocks/>
          </p:cNvSpPr>
          <p:nvPr userDrawn="1"/>
        </p:nvSpPr>
        <p:spPr>
          <a:xfrm>
            <a:off x="5406889" y="6429965"/>
            <a:ext cx="1706400" cy="307778"/>
          </a:xfrm>
          <a:prstGeom prst="rect">
            <a:avLst/>
          </a:prstGeom>
          <a:ln>
            <a:noFill/>
          </a:ln>
        </p:spPr>
        <p:txBody>
          <a:bodyPr vert="horz" lIns="91440" tIns="45720" rIns="91440" bIns="45720" rtlCol="0" anchor="ctr"/>
          <a:lstStyle>
            <a:defPPr>
              <a:defRPr lang="en-US"/>
            </a:defPPr>
            <a:lvl1pPr marL="0" algn="l" defTabSz="914400" rtl="0" eaLnBrk="1" latinLnBrk="0" hangingPunct="1">
              <a:defRPr sz="1200" b="0" i="1" kern="1200">
                <a:solidFill>
                  <a:schemeClr val="bg1"/>
                </a:solidFill>
                <a:latin typeface="Garamond" panose="02020404030301010803" pitchFamily="18" charset="0"/>
                <a:ea typeface="Helvetica Neue" panose="02000503000000020004" pitchFamily="2" charset="0"/>
                <a:cs typeface="Helvetica Neue" panose="0200050300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t>Date: </a:t>
            </a:r>
            <a:fld id="{3FBC5742-4920-6148-BBB9-0169CD014D42}" type="datetime3">
              <a:rPr lang="en-GB" smtClean="0"/>
              <a:pPr/>
              <a:t>8 October, 2025</a:t>
            </a:fld>
            <a:endParaRPr lang="en-GB"/>
          </a:p>
        </p:txBody>
      </p:sp>
    </p:spTree>
    <p:extLst>
      <p:ext uri="{BB962C8B-B14F-4D97-AF65-F5344CB8AC3E}">
        <p14:creationId xmlns:p14="http://schemas.microsoft.com/office/powerpoint/2010/main" val="169376555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6_Divider 4">
    <p:spTree>
      <p:nvGrpSpPr>
        <p:cNvPr id="1" name=""/>
        <p:cNvGrpSpPr/>
        <p:nvPr/>
      </p:nvGrpSpPr>
      <p:grpSpPr>
        <a:xfrm>
          <a:off x="0" y="0"/>
          <a:ext cx="0" cy="0"/>
          <a:chOff x="0" y="0"/>
          <a:chExt cx="0" cy="0"/>
        </a:xfrm>
      </p:grpSpPr>
      <p:pic>
        <p:nvPicPr>
          <p:cNvPr id="4" name="Picture 3" descr="A car driving through a forest of trees&#10;&#10;Description automatically generated">
            <a:extLst>
              <a:ext uri="{FF2B5EF4-FFF2-40B4-BE49-F238E27FC236}">
                <a16:creationId xmlns:a16="http://schemas.microsoft.com/office/drawing/2014/main" id="{5B571D68-E7D1-E22C-6C0A-563E37DC9DEB}"/>
              </a:ext>
            </a:extLst>
          </p:cNvPr>
          <p:cNvPicPr>
            <a:picLocks noChangeAspect="1"/>
          </p:cNvPicPr>
          <p:nvPr userDrawn="1"/>
        </p:nvPicPr>
        <p:blipFill rotWithShape="1">
          <a:blip r:embed="rId2"/>
          <a:srcRect/>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34BA1656-A1F4-C928-82D9-3E90CABC9B58}"/>
              </a:ext>
            </a:extLst>
          </p:cNvPr>
          <p:cNvSpPr/>
          <p:nvPr userDrawn="1"/>
        </p:nvSpPr>
        <p:spPr>
          <a:xfrm>
            <a:off x="0" y="0"/>
            <a:ext cx="12192000" cy="6858000"/>
          </a:xfrm>
          <a:prstGeom prst="rect">
            <a:avLst/>
          </a:prstGeom>
          <a:gradFill flip="none" rotWithShape="1">
            <a:gsLst>
              <a:gs pos="0">
                <a:srgbClr val="040010"/>
              </a:gs>
              <a:gs pos="99000">
                <a:srgbClr val="E1E6EB">
                  <a:alpha val="0"/>
                </a:srgb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F5470F66-68CB-5759-B6F7-6E9BCAB6C367}"/>
              </a:ext>
            </a:extLst>
          </p:cNvPr>
          <p:cNvSpPr>
            <a:spLocks noGrp="1"/>
          </p:cNvSpPr>
          <p:nvPr>
            <p:ph type="body" sz="quarter" idx="13"/>
          </p:nvPr>
        </p:nvSpPr>
        <p:spPr>
          <a:xfrm>
            <a:off x="1419617" y="1974233"/>
            <a:ext cx="8074025" cy="2971800"/>
          </a:xfrm>
          <a:prstGeom prst="rect">
            <a:avLst/>
          </a:prstGeom>
        </p:spPr>
        <p:txBody>
          <a:bodyPr>
            <a:noAutofit/>
          </a:bodyPr>
          <a:lstStyle>
            <a:lvl1pPr>
              <a:defRPr sz="3200"/>
            </a:lvl1pPr>
            <a:lvl2pPr>
              <a:defRPr sz="2800"/>
            </a:lvl2pPr>
            <a:lvl3pPr>
              <a:defRPr sz="2400"/>
            </a:lvl3pPr>
            <a:lvl4pPr>
              <a:defRPr sz="2000"/>
            </a:lvl4pPr>
            <a:lvl5pP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8" name="Straight Connector 17">
            <a:extLst>
              <a:ext uri="{FF2B5EF4-FFF2-40B4-BE49-F238E27FC236}">
                <a16:creationId xmlns:a16="http://schemas.microsoft.com/office/drawing/2014/main" id="{2281AFFB-9450-87C4-EC5E-9F3098E21E8B}"/>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D344B035-4975-BB69-BA44-C6C8A458112E}"/>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0E56A41D-9230-93EC-4D25-1DE55291070C}"/>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white text&#10;&#10;Description automatically generated">
            <a:extLst>
              <a:ext uri="{FF2B5EF4-FFF2-40B4-BE49-F238E27FC236}">
                <a16:creationId xmlns:a16="http://schemas.microsoft.com/office/drawing/2014/main" id="{8828859D-C46D-ECC7-BBF0-2E5698D538AE}"/>
              </a:ext>
            </a:extLst>
          </p:cNvPr>
          <p:cNvPicPr>
            <a:picLocks noChangeAspect="1"/>
          </p:cNvPicPr>
          <p:nvPr userDrawn="1"/>
        </p:nvPicPr>
        <p:blipFill rotWithShape="1">
          <a:blip r:embed="rId3"/>
          <a:srcRect l="15089" t="30009" r="30562" b="32708"/>
          <a:stretch/>
        </p:blipFill>
        <p:spPr>
          <a:xfrm>
            <a:off x="258416" y="241982"/>
            <a:ext cx="2405271" cy="928152"/>
          </a:xfrm>
          <a:prstGeom prst="rect">
            <a:avLst/>
          </a:prstGeom>
        </p:spPr>
      </p:pic>
      <p:sp>
        <p:nvSpPr>
          <p:cNvPr id="2" name="Footer Placeholder 4">
            <a:extLst>
              <a:ext uri="{FF2B5EF4-FFF2-40B4-BE49-F238E27FC236}">
                <a16:creationId xmlns:a16="http://schemas.microsoft.com/office/drawing/2014/main" id="{9C776F62-410D-1A8A-04DE-139CF6585B49}"/>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bg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Stainless Steel &amp; Raw Materials in an Era of Uncertainty</a:t>
            </a:r>
          </a:p>
        </p:txBody>
      </p:sp>
      <p:sp>
        <p:nvSpPr>
          <p:cNvPr id="6" name="TextBox 5">
            <a:extLst>
              <a:ext uri="{FF2B5EF4-FFF2-40B4-BE49-F238E27FC236}">
                <a16:creationId xmlns:a16="http://schemas.microsoft.com/office/drawing/2014/main" id="{C901912A-ED40-C6B0-63E3-65251484AD71}"/>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bg1"/>
                </a:solidFill>
                <a:latin typeface="Garamond" panose="02020404030301010803" pitchFamily="18" charset="0"/>
                <a:ea typeface="Helvetica Neue UltraLight" panose="02000206000000020004" pitchFamily="2" charset="0"/>
              </a:rPr>
              <a:t>expert</a:t>
            </a:r>
            <a:r>
              <a:rPr lang="en-GB" sz="1000" b="0" i="0">
                <a:solidFill>
                  <a:schemeClr val="bg1"/>
                </a:solidFill>
                <a:latin typeface="Helvetica Neue UltraLight" panose="02000206000000020004" pitchFamily="2" charset="0"/>
                <a:ea typeface="Helvetica Neue UltraLight" panose="02000206000000020004" pitchFamily="2" charset="0"/>
              </a:rPr>
              <a:t> </a:t>
            </a:r>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8" name="Slide Number Placeholder 5">
            <a:extLst>
              <a:ext uri="{FF2B5EF4-FFF2-40B4-BE49-F238E27FC236}">
                <a16:creationId xmlns:a16="http://schemas.microsoft.com/office/drawing/2014/main" id="{2B218C55-365C-B06B-C202-20636E53A220}"/>
              </a:ext>
            </a:extLst>
          </p:cNvPr>
          <p:cNvSpPr>
            <a:spLocks noGrp="1"/>
          </p:cNvSpPr>
          <p:nvPr>
            <p:ph type="sldNum" sz="quarter" idx="4"/>
          </p:nvPr>
        </p:nvSpPr>
        <p:spPr>
          <a:xfrm>
            <a:off x="10913166" y="6193231"/>
            <a:ext cx="1133060" cy="544512"/>
          </a:xfrm>
          <a:prstGeom prst="rect">
            <a:avLst/>
          </a:prstGeom>
          <a:ln>
            <a:noFill/>
          </a:ln>
        </p:spPr>
        <p:txBody>
          <a:bodyPr vert="horz" lIns="91440" tIns="45720" rIns="91440" bIns="45720" rtlCol="0" anchor="ctr"/>
          <a:lstStyle>
            <a:lvl1pPr algn="r">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562BA7E0-5F5E-EE41-AE8D-BD30ED9E17AD}" type="slidenum">
              <a:rPr lang="en-GB" smtClean="0"/>
              <a:pPr/>
              <a:t>‹#›</a:t>
            </a:fld>
            <a:endParaRPr lang="en-GB"/>
          </a:p>
        </p:txBody>
      </p:sp>
      <p:sp>
        <p:nvSpPr>
          <p:cNvPr id="5" name="Date Placeholder 3">
            <a:extLst>
              <a:ext uri="{FF2B5EF4-FFF2-40B4-BE49-F238E27FC236}">
                <a16:creationId xmlns:a16="http://schemas.microsoft.com/office/drawing/2014/main" id="{551EA8E2-D83E-33C4-E153-3AAFDF9E79E9}"/>
              </a:ext>
            </a:extLst>
          </p:cNvPr>
          <p:cNvSpPr txBox="1">
            <a:spLocks/>
          </p:cNvSpPr>
          <p:nvPr userDrawn="1"/>
        </p:nvSpPr>
        <p:spPr>
          <a:xfrm>
            <a:off x="5406889" y="6429965"/>
            <a:ext cx="1706400" cy="307778"/>
          </a:xfrm>
          <a:prstGeom prst="rect">
            <a:avLst/>
          </a:prstGeom>
          <a:ln>
            <a:noFill/>
          </a:ln>
        </p:spPr>
        <p:txBody>
          <a:bodyPr vert="horz" lIns="91440" tIns="45720" rIns="91440" bIns="45720" rtlCol="0" anchor="ctr"/>
          <a:lstStyle>
            <a:defPPr>
              <a:defRPr lang="en-US"/>
            </a:defPPr>
            <a:lvl1pPr marL="0" algn="l" defTabSz="914400" rtl="0" eaLnBrk="1" latinLnBrk="0" hangingPunct="1">
              <a:defRPr sz="1200" b="0" i="1" kern="1200">
                <a:solidFill>
                  <a:schemeClr val="bg1"/>
                </a:solidFill>
                <a:latin typeface="Garamond" panose="02020404030301010803" pitchFamily="18" charset="0"/>
                <a:ea typeface="Helvetica Neue" panose="02000503000000020004" pitchFamily="2" charset="0"/>
                <a:cs typeface="Helvetica Neue" panose="0200050300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t>Date: </a:t>
            </a:r>
            <a:fld id="{3FBC5742-4920-6148-BBB9-0169CD014D42}" type="datetime3">
              <a:rPr lang="en-GB" smtClean="0"/>
              <a:pPr/>
              <a:t>8 October, 2025</a:t>
            </a:fld>
            <a:endParaRPr lang="en-GB"/>
          </a:p>
        </p:txBody>
      </p:sp>
    </p:spTree>
    <p:extLst>
      <p:ext uri="{BB962C8B-B14F-4D97-AF65-F5344CB8AC3E}">
        <p14:creationId xmlns:p14="http://schemas.microsoft.com/office/powerpoint/2010/main" val="307476243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7_Divider 4">
    <p:spTree>
      <p:nvGrpSpPr>
        <p:cNvPr id="1" name=""/>
        <p:cNvGrpSpPr/>
        <p:nvPr/>
      </p:nvGrpSpPr>
      <p:grpSpPr>
        <a:xfrm>
          <a:off x="0" y="0"/>
          <a:ext cx="0" cy="0"/>
          <a:chOff x="0" y="0"/>
          <a:chExt cx="0" cy="0"/>
        </a:xfrm>
      </p:grpSpPr>
      <p:pic>
        <p:nvPicPr>
          <p:cNvPr id="4" name="Picture 3" descr="A close-up of a car charging station&#10;&#10;Description automatically generated">
            <a:extLst>
              <a:ext uri="{FF2B5EF4-FFF2-40B4-BE49-F238E27FC236}">
                <a16:creationId xmlns:a16="http://schemas.microsoft.com/office/drawing/2014/main" id="{5BE64BBE-AD94-599B-97C0-142D84CF123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34BA1656-A1F4-C928-82D9-3E90CABC9B58}"/>
              </a:ext>
            </a:extLst>
          </p:cNvPr>
          <p:cNvSpPr/>
          <p:nvPr userDrawn="1"/>
        </p:nvSpPr>
        <p:spPr>
          <a:xfrm>
            <a:off x="0" y="0"/>
            <a:ext cx="12192000" cy="6858000"/>
          </a:xfrm>
          <a:prstGeom prst="rect">
            <a:avLst/>
          </a:prstGeom>
          <a:gradFill flip="none" rotWithShape="1">
            <a:gsLst>
              <a:gs pos="0">
                <a:srgbClr val="040010"/>
              </a:gs>
              <a:gs pos="99000">
                <a:srgbClr val="E1E6EB">
                  <a:alpha val="0"/>
                </a:srgb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F5470F66-68CB-5759-B6F7-6E9BCAB6C367}"/>
              </a:ext>
            </a:extLst>
          </p:cNvPr>
          <p:cNvSpPr>
            <a:spLocks noGrp="1"/>
          </p:cNvSpPr>
          <p:nvPr>
            <p:ph type="body" sz="quarter" idx="13"/>
          </p:nvPr>
        </p:nvSpPr>
        <p:spPr>
          <a:xfrm>
            <a:off x="1419617" y="1974233"/>
            <a:ext cx="8074025" cy="2971800"/>
          </a:xfrm>
          <a:prstGeom prst="rect">
            <a:avLst/>
          </a:prstGeom>
        </p:spPr>
        <p:txBody>
          <a:bodyPr>
            <a:noAutofit/>
          </a:bodyPr>
          <a:lstStyle>
            <a:lvl1pPr>
              <a:defRPr sz="3200"/>
            </a:lvl1pPr>
            <a:lvl2pPr>
              <a:defRPr sz="2800"/>
            </a:lvl2pPr>
            <a:lvl3pPr>
              <a:defRPr sz="2400"/>
            </a:lvl3pPr>
            <a:lvl4pPr>
              <a:defRPr sz="2000"/>
            </a:lvl4pPr>
            <a:lvl5pP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8" name="Straight Connector 17">
            <a:extLst>
              <a:ext uri="{FF2B5EF4-FFF2-40B4-BE49-F238E27FC236}">
                <a16:creationId xmlns:a16="http://schemas.microsoft.com/office/drawing/2014/main" id="{2281AFFB-9450-87C4-EC5E-9F3098E21E8B}"/>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D344B035-4975-BB69-BA44-C6C8A458112E}"/>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0E56A41D-9230-93EC-4D25-1DE55291070C}"/>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white text&#10;&#10;Description automatically generated">
            <a:extLst>
              <a:ext uri="{FF2B5EF4-FFF2-40B4-BE49-F238E27FC236}">
                <a16:creationId xmlns:a16="http://schemas.microsoft.com/office/drawing/2014/main" id="{8828859D-C46D-ECC7-BBF0-2E5698D538AE}"/>
              </a:ext>
            </a:extLst>
          </p:cNvPr>
          <p:cNvPicPr>
            <a:picLocks noChangeAspect="1"/>
          </p:cNvPicPr>
          <p:nvPr userDrawn="1"/>
        </p:nvPicPr>
        <p:blipFill rotWithShape="1">
          <a:blip r:embed="rId3"/>
          <a:srcRect l="15089" t="30009" r="30562" b="32708"/>
          <a:stretch/>
        </p:blipFill>
        <p:spPr>
          <a:xfrm>
            <a:off x="258416" y="241982"/>
            <a:ext cx="2405271" cy="928152"/>
          </a:xfrm>
          <a:prstGeom prst="rect">
            <a:avLst/>
          </a:prstGeom>
        </p:spPr>
      </p:pic>
      <p:sp>
        <p:nvSpPr>
          <p:cNvPr id="2" name="Footer Placeholder 4">
            <a:extLst>
              <a:ext uri="{FF2B5EF4-FFF2-40B4-BE49-F238E27FC236}">
                <a16:creationId xmlns:a16="http://schemas.microsoft.com/office/drawing/2014/main" id="{4F5E7088-3609-2C43-5DF5-BD6F5C795A00}"/>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bg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Stainless Steel &amp; Raw Materials in an Era of Uncertainty</a:t>
            </a:r>
          </a:p>
        </p:txBody>
      </p:sp>
      <p:sp>
        <p:nvSpPr>
          <p:cNvPr id="6" name="TextBox 5">
            <a:extLst>
              <a:ext uri="{FF2B5EF4-FFF2-40B4-BE49-F238E27FC236}">
                <a16:creationId xmlns:a16="http://schemas.microsoft.com/office/drawing/2014/main" id="{88449E37-A946-2766-3A65-3F41DDAC654F}"/>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bg1"/>
                </a:solidFill>
                <a:latin typeface="Garamond" panose="02020404030301010803" pitchFamily="18" charset="0"/>
                <a:ea typeface="Helvetica Neue UltraLight" panose="02000206000000020004" pitchFamily="2" charset="0"/>
              </a:rPr>
              <a:t>expert</a:t>
            </a:r>
            <a:r>
              <a:rPr lang="en-GB" sz="1000" b="0" i="0">
                <a:solidFill>
                  <a:schemeClr val="bg1"/>
                </a:solidFill>
                <a:latin typeface="Helvetica Neue UltraLight" panose="02000206000000020004" pitchFamily="2" charset="0"/>
                <a:ea typeface="Helvetica Neue UltraLight" panose="02000206000000020004" pitchFamily="2" charset="0"/>
              </a:rPr>
              <a:t> </a:t>
            </a:r>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8" name="Slide Number Placeholder 5">
            <a:extLst>
              <a:ext uri="{FF2B5EF4-FFF2-40B4-BE49-F238E27FC236}">
                <a16:creationId xmlns:a16="http://schemas.microsoft.com/office/drawing/2014/main" id="{4575F3CB-9F06-EAFB-BF19-CCACE862225C}"/>
              </a:ext>
            </a:extLst>
          </p:cNvPr>
          <p:cNvSpPr>
            <a:spLocks noGrp="1"/>
          </p:cNvSpPr>
          <p:nvPr>
            <p:ph type="sldNum" sz="quarter" idx="4"/>
          </p:nvPr>
        </p:nvSpPr>
        <p:spPr>
          <a:xfrm>
            <a:off x="10913166" y="6193231"/>
            <a:ext cx="1133060" cy="544512"/>
          </a:xfrm>
          <a:prstGeom prst="rect">
            <a:avLst/>
          </a:prstGeom>
          <a:ln>
            <a:noFill/>
          </a:ln>
        </p:spPr>
        <p:txBody>
          <a:bodyPr vert="horz" lIns="91440" tIns="45720" rIns="91440" bIns="45720" rtlCol="0" anchor="ctr"/>
          <a:lstStyle>
            <a:lvl1pPr algn="r">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562BA7E0-5F5E-EE41-AE8D-BD30ED9E17AD}" type="slidenum">
              <a:rPr lang="en-GB" smtClean="0"/>
              <a:pPr/>
              <a:t>‹#›</a:t>
            </a:fld>
            <a:endParaRPr lang="en-GB"/>
          </a:p>
        </p:txBody>
      </p:sp>
      <p:sp>
        <p:nvSpPr>
          <p:cNvPr id="5" name="Date Placeholder 3">
            <a:extLst>
              <a:ext uri="{FF2B5EF4-FFF2-40B4-BE49-F238E27FC236}">
                <a16:creationId xmlns:a16="http://schemas.microsoft.com/office/drawing/2014/main" id="{A858B14E-362B-215F-987E-54810AE306D7}"/>
              </a:ext>
            </a:extLst>
          </p:cNvPr>
          <p:cNvSpPr txBox="1">
            <a:spLocks/>
          </p:cNvSpPr>
          <p:nvPr userDrawn="1"/>
        </p:nvSpPr>
        <p:spPr>
          <a:xfrm>
            <a:off x="5406889" y="6429965"/>
            <a:ext cx="1706400" cy="307778"/>
          </a:xfrm>
          <a:prstGeom prst="rect">
            <a:avLst/>
          </a:prstGeom>
          <a:ln>
            <a:noFill/>
          </a:ln>
        </p:spPr>
        <p:txBody>
          <a:bodyPr vert="horz" lIns="91440" tIns="45720" rIns="91440" bIns="45720" rtlCol="0" anchor="ctr"/>
          <a:lstStyle>
            <a:defPPr>
              <a:defRPr lang="en-US"/>
            </a:defPPr>
            <a:lvl1pPr marL="0" algn="l" defTabSz="914400" rtl="0" eaLnBrk="1" latinLnBrk="0" hangingPunct="1">
              <a:defRPr sz="1200" b="0" i="1" kern="1200">
                <a:solidFill>
                  <a:schemeClr val="bg1"/>
                </a:solidFill>
                <a:latin typeface="Garamond" panose="02020404030301010803" pitchFamily="18" charset="0"/>
                <a:ea typeface="Helvetica Neue" panose="02000503000000020004" pitchFamily="2" charset="0"/>
                <a:cs typeface="Helvetica Neue" panose="0200050300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 name="Date Placeholder 2">
            <a:extLst>
              <a:ext uri="{FF2B5EF4-FFF2-40B4-BE49-F238E27FC236}">
                <a16:creationId xmlns:a16="http://schemas.microsoft.com/office/drawing/2014/main" id="{B4BB9B16-37D9-0785-F2C2-28BDA5311C58}"/>
              </a:ext>
            </a:extLst>
          </p:cNvPr>
          <p:cNvSpPr>
            <a:spLocks noGrp="1"/>
          </p:cNvSpPr>
          <p:nvPr>
            <p:ph type="dt" sz="half" idx="10"/>
          </p:nvPr>
        </p:nvSpPr>
        <p:spPr>
          <a:xfrm>
            <a:off x="5406889" y="6429965"/>
            <a:ext cx="1706216" cy="307778"/>
          </a:xfrm>
        </p:spPr>
        <p:txBody>
          <a:bodyPr/>
          <a:lstStyle/>
          <a:p>
            <a:r>
              <a:rPr lang="en-US"/>
              <a:t>October 2025</a:t>
            </a:r>
            <a:endParaRPr lang="en-GB"/>
          </a:p>
        </p:txBody>
      </p:sp>
    </p:spTree>
    <p:extLst>
      <p:ext uri="{BB962C8B-B14F-4D97-AF65-F5344CB8AC3E}">
        <p14:creationId xmlns:p14="http://schemas.microsoft.com/office/powerpoint/2010/main" val="166034584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0_Divider 4">
    <p:spTree>
      <p:nvGrpSpPr>
        <p:cNvPr id="1" name=""/>
        <p:cNvGrpSpPr/>
        <p:nvPr/>
      </p:nvGrpSpPr>
      <p:grpSpPr>
        <a:xfrm>
          <a:off x="0" y="0"/>
          <a:ext cx="0" cy="0"/>
          <a:chOff x="0" y="0"/>
          <a:chExt cx="0" cy="0"/>
        </a:xfrm>
      </p:grpSpPr>
      <p:pic>
        <p:nvPicPr>
          <p:cNvPr id="4" name="Picture 3" descr="A blue smoke in the dark&#10;&#10;Description automatically generated">
            <a:extLst>
              <a:ext uri="{FF2B5EF4-FFF2-40B4-BE49-F238E27FC236}">
                <a16:creationId xmlns:a16="http://schemas.microsoft.com/office/drawing/2014/main" id="{8C765A2B-A433-2A6E-6AE9-70627E5D8C92}"/>
              </a:ext>
            </a:extLst>
          </p:cNvPr>
          <p:cNvPicPr>
            <a:picLocks noChangeAspect="1"/>
          </p:cNvPicPr>
          <p:nvPr userDrawn="1"/>
        </p:nvPicPr>
        <p:blipFill>
          <a:blip r:embed="rId2"/>
          <a:stretch>
            <a:fillRect/>
          </a:stretch>
        </p:blipFill>
        <p:spPr>
          <a:xfrm>
            <a:off x="29662" y="-1"/>
            <a:ext cx="12191998" cy="6857999"/>
          </a:xfrm>
          <a:prstGeom prst="rect">
            <a:avLst/>
          </a:prstGeom>
        </p:spPr>
      </p:pic>
      <p:sp>
        <p:nvSpPr>
          <p:cNvPr id="12" name="Rectangle 11">
            <a:extLst>
              <a:ext uri="{FF2B5EF4-FFF2-40B4-BE49-F238E27FC236}">
                <a16:creationId xmlns:a16="http://schemas.microsoft.com/office/drawing/2014/main" id="{34BA1656-A1F4-C928-82D9-3E90CABC9B58}"/>
              </a:ext>
            </a:extLst>
          </p:cNvPr>
          <p:cNvSpPr/>
          <p:nvPr userDrawn="1"/>
        </p:nvSpPr>
        <p:spPr>
          <a:xfrm>
            <a:off x="0" y="0"/>
            <a:ext cx="12192000" cy="6858000"/>
          </a:xfrm>
          <a:prstGeom prst="rect">
            <a:avLst/>
          </a:prstGeom>
          <a:gradFill flip="none" rotWithShape="1">
            <a:gsLst>
              <a:gs pos="0">
                <a:srgbClr val="040010"/>
              </a:gs>
              <a:gs pos="99000">
                <a:srgbClr val="E1E6EB">
                  <a:alpha val="0"/>
                </a:srgb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F5470F66-68CB-5759-B6F7-6E9BCAB6C367}"/>
              </a:ext>
            </a:extLst>
          </p:cNvPr>
          <p:cNvSpPr>
            <a:spLocks noGrp="1"/>
          </p:cNvSpPr>
          <p:nvPr>
            <p:ph type="body" sz="quarter" idx="13"/>
          </p:nvPr>
        </p:nvSpPr>
        <p:spPr>
          <a:xfrm>
            <a:off x="1419617" y="1974233"/>
            <a:ext cx="8074025" cy="2971800"/>
          </a:xfrm>
          <a:prstGeom prst="rect">
            <a:avLst/>
          </a:prstGeom>
        </p:spPr>
        <p:txBody>
          <a:bodyPr>
            <a:noAutofit/>
          </a:bodyPr>
          <a:lstStyle>
            <a:lvl1pPr>
              <a:defRPr sz="3200"/>
            </a:lvl1pPr>
            <a:lvl2pPr>
              <a:defRPr sz="2800"/>
            </a:lvl2pPr>
            <a:lvl3pPr>
              <a:defRPr sz="2400"/>
            </a:lvl3pPr>
            <a:lvl4pPr>
              <a:defRPr sz="2000"/>
            </a:lvl4pPr>
            <a:lvl5pP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8" name="Straight Connector 17">
            <a:extLst>
              <a:ext uri="{FF2B5EF4-FFF2-40B4-BE49-F238E27FC236}">
                <a16:creationId xmlns:a16="http://schemas.microsoft.com/office/drawing/2014/main" id="{2281AFFB-9450-87C4-EC5E-9F3098E21E8B}"/>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D344B035-4975-BB69-BA44-C6C8A458112E}"/>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0E56A41D-9230-93EC-4D25-1DE55291070C}"/>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white text&#10;&#10;Description automatically generated">
            <a:extLst>
              <a:ext uri="{FF2B5EF4-FFF2-40B4-BE49-F238E27FC236}">
                <a16:creationId xmlns:a16="http://schemas.microsoft.com/office/drawing/2014/main" id="{8828859D-C46D-ECC7-BBF0-2E5698D538AE}"/>
              </a:ext>
            </a:extLst>
          </p:cNvPr>
          <p:cNvPicPr>
            <a:picLocks noChangeAspect="1"/>
          </p:cNvPicPr>
          <p:nvPr userDrawn="1"/>
        </p:nvPicPr>
        <p:blipFill rotWithShape="1">
          <a:blip r:embed="rId3"/>
          <a:srcRect l="15089" t="30009" r="30562" b="32708"/>
          <a:stretch/>
        </p:blipFill>
        <p:spPr>
          <a:xfrm>
            <a:off x="258416" y="241982"/>
            <a:ext cx="2405271" cy="928152"/>
          </a:xfrm>
          <a:prstGeom prst="rect">
            <a:avLst/>
          </a:prstGeom>
        </p:spPr>
      </p:pic>
      <p:sp>
        <p:nvSpPr>
          <p:cNvPr id="2" name="Footer Placeholder 4">
            <a:extLst>
              <a:ext uri="{FF2B5EF4-FFF2-40B4-BE49-F238E27FC236}">
                <a16:creationId xmlns:a16="http://schemas.microsoft.com/office/drawing/2014/main" id="{C9A2FAF8-0F07-8218-B05C-491469926736}"/>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bg1"/>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sz="1000">
                <a:solidFill>
                  <a:schemeClr val="bg1"/>
                </a:solidFill>
              </a:rPr>
              <a:t>CRU Cobalt Market Outlook</a:t>
            </a:r>
            <a:endParaRPr lang="en-GB" sz="1000">
              <a:solidFill>
                <a:schemeClr val="bg1"/>
              </a:solidFill>
            </a:endParaRPr>
          </a:p>
        </p:txBody>
      </p:sp>
      <p:sp>
        <p:nvSpPr>
          <p:cNvPr id="6" name="TextBox 5">
            <a:extLst>
              <a:ext uri="{FF2B5EF4-FFF2-40B4-BE49-F238E27FC236}">
                <a16:creationId xmlns:a16="http://schemas.microsoft.com/office/drawing/2014/main" id="{231DE84D-0705-0108-4353-A1DE906EF6C8}"/>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bg1"/>
                </a:solidFill>
                <a:latin typeface="Garamond" panose="02020404030301010803" pitchFamily="18" charset="0"/>
                <a:ea typeface="Helvetica Neue UltraLight" panose="02000206000000020004" pitchFamily="2" charset="0"/>
              </a:rPr>
              <a:t>expert</a:t>
            </a:r>
            <a:r>
              <a:rPr lang="en-GB" sz="1000" b="0" i="0">
                <a:solidFill>
                  <a:schemeClr val="bg1"/>
                </a:solidFill>
                <a:latin typeface="Helvetica Neue UltraLight" panose="02000206000000020004" pitchFamily="2" charset="0"/>
                <a:ea typeface="Helvetica Neue UltraLight" panose="02000206000000020004" pitchFamily="2" charset="0"/>
              </a:rPr>
              <a:t> </a:t>
            </a:r>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8" name="Slide Number Placeholder 5">
            <a:extLst>
              <a:ext uri="{FF2B5EF4-FFF2-40B4-BE49-F238E27FC236}">
                <a16:creationId xmlns:a16="http://schemas.microsoft.com/office/drawing/2014/main" id="{6AD8FDC5-A6E5-4F52-265F-6A6C0510FD9E}"/>
              </a:ext>
            </a:extLst>
          </p:cNvPr>
          <p:cNvSpPr>
            <a:spLocks noGrp="1"/>
          </p:cNvSpPr>
          <p:nvPr>
            <p:ph type="sldNum" sz="quarter" idx="4"/>
          </p:nvPr>
        </p:nvSpPr>
        <p:spPr>
          <a:xfrm>
            <a:off x="10913166" y="6193231"/>
            <a:ext cx="1133060" cy="544512"/>
          </a:xfrm>
          <a:prstGeom prst="rect">
            <a:avLst/>
          </a:prstGeom>
          <a:ln>
            <a:noFill/>
          </a:ln>
        </p:spPr>
        <p:txBody>
          <a:bodyPr vert="horz" lIns="91440" tIns="45720" rIns="91440" bIns="45720" rtlCol="0" anchor="ctr"/>
          <a:lstStyle>
            <a:lvl1pPr algn="r">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562BA7E0-5F5E-EE41-AE8D-BD30ED9E17AD}" type="slidenum">
              <a:rPr lang="en-GB" smtClean="0"/>
              <a:pPr/>
              <a:t>‹#›</a:t>
            </a:fld>
            <a:endParaRPr lang="en-GB"/>
          </a:p>
        </p:txBody>
      </p:sp>
      <p:sp>
        <p:nvSpPr>
          <p:cNvPr id="5" name="Date Placeholder 3">
            <a:extLst>
              <a:ext uri="{FF2B5EF4-FFF2-40B4-BE49-F238E27FC236}">
                <a16:creationId xmlns:a16="http://schemas.microsoft.com/office/drawing/2014/main" id="{320BA991-59A5-80A8-71F0-41DEAE7628A7}"/>
              </a:ext>
            </a:extLst>
          </p:cNvPr>
          <p:cNvSpPr txBox="1">
            <a:spLocks/>
          </p:cNvSpPr>
          <p:nvPr userDrawn="1"/>
        </p:nvSpPr>
        <p:spPr>
          <a:xfrm>
            <a:off x="5406889" y="6429965"/>
            <a:ext cx="1706400" cy="307778"/>
          </a:xfrm>
          <a:prstGeom prst="rect">
            <a:avLst/>
          </a:prstGeom>
          <a:ln>
            <a:noFill/>
          </a:ln>
        </p:spPr>
        <p:txBody>
          <a:bodyPr vert="horz" lIns="91440" tIns="45720" rIns="91440" bIns="45720" rtlCol="0" anchor="ctr"/>
          <a:lstStyle>
            <a:defPPr>
              <a:defRPr lang="en-US"/>
            </a:defPPr>
            <a:lvl1pPr marL="0" algn="l" defTabSz="914400" rtl="0" eaLnBrk="1" latinLnBrk="0" hangingPunct="1">
              <a:defRPr sz="1200" b="0" i="1" kern="1200">
                <a:solidFill>
                  <a:schemeClr val="bg1"/>
                </a:solidFill>
                <a:latin typeface="Garamond" panose="02020404030301010803" pitchFamily="18" charset="0"/>
                <a:ea typeface="Helvetica Neue" panose="02000503000000020004" pitchFamily="2" charset="0"/>
                <a:cs typeface="Helvetica Neue" panose="0200050300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October 2025</a:t>
            </a:r>
            <a:endParaRPr lang="en-GB"/>
          </a:p>
        </p:txBody>
      </p:sp>
    </p:spTree>
    <p:extLst>
      <p:ext uri="{BB962C8B-B14F-4D97-AF65-F5344CB8AC3E}">
        <p14:creationId xmlns:p14="http://schemas.microsoft.com/office/powerpoint/2010/main" val="259106233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3_Divider 4">
    <p:spTree>
      <p:nvGrpSpPr>
        <p:cNvPr id="1" name=""/>
        <p:cNvGrpSpPr/>
        <p:nvPr/>
      </p:nvGrpSpPr>
      <p:grpSpPr>
        <a:xfrm>
          <a:off x="0" y="0"/>
          <a:ext cx="0" cy="0"/>
          <a:chOff x="0" y="0"/>
          <a:chExt cx="0" cy="0"/>
        </a:xfrm>
      </p:grpSpPr>
      <p:pic>
        <p:nvPicPr>
          <p:cNvPr id="4" name="Picture 3" descr="A group of wind turbines in a row&#10;&#10;Description automatically generated">
            <a:extLst>
              <a:ext uri="{FF2B5EF4-FFF2-40B4-BE49-F238E27FC236}">
                <a16:creationId xmlns:a16="http://schemas.microsoft.com/office/drawing/2014/main" id="{38E48C70-6306-2339-A1FB-8F31DC5015B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34BA1656-A1F4-C928-82D9-3E90CABC9B58}"/>
              </a:ext>
            </a:extLst>
          </p:cNvPr>
          <p:cNvSpPr/>
          <p:nvPr userDrawn="1"/>
        </p:nvSpPr>
        <p:spPr>
          <a:xfrm>
            <a:off x="0" y="0"/>
            <a:ext cx="12192000" cy="6858000"/>
          </a:xfrm>
          <a:prstGeom prst="rect">
            <a:avLst/>
          </a:prstGeom>
          <a:gradFill flip="none" rotWithShape="1">
            <a:gsLst>
              <a:gs pos="0">
                <a:srgbClr val="040010"/>
              </a:gs>
              <a:gs pos="99000">
                <a:srgbClr val="E1E6EB">
                  <a:alpha val="0"/>
                </a:srgb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F5470F66-68CB-5759-B6F7-6E9BCAB6C367}"/>
              </a:ext>
            </a:extLst>
          </p:cNvPr>
          <p:cNvSpPr>
            <a:spLocks noGrp="1"/>
          </p:cNvSpPr>
          <p:nvPr>
            <p:ph type="body" sz="quarter" idx="13"/>
          </p:nvPr>
        </p:nvSpPr>
        <p:spPr>
          <a:xfrm>
            <a:off x="1419617" y="1974233"/>
            <a:ext cx="8074025" cy="2971800"/>
          </a:xfrm>
          <a:prstGeom prst="rect">
            <a:avLst/>
          </a:prstGeom>
        </p:spPr>
        <p:txBody>
          <a:bodyPr>
            <a:noAutofit/>
          </a:bodyPr>
          <a:lstStyle>
            <a:lvl1pPr>
              <a:defRPr sz="3200"/>
            </a:lvl1pPr>
            <a:lvl2pPr>
              <a:defRPr sz="2800"/>
            </a:lvl2pPr>
            <a:lvl3pPr>
              <a:defRPr sz="2400"/>
            </a:lvl3pPr>
            <a:lvl4pPr>
              <a:defRPr sz="2000"/>
            </a:lvl4pPr>
            <a:lvl5pP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8" name="Straight Connector 17">
            <a:extLst>
              <a:ext uri="{FF2B5EF4-FFF2-40B4-BE49-F238E27FC236}">
                <a16:creationId xmlns:a16="http://schemas.microsoft.com/office/drawing/2014/main" id="{2281AFFB-9450-87C4-EC5E-9F3098E21E8B}"/>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D344B035-4975-BB69-BA44-C6C8A458112E}"/>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0E56A41D-9230-93EC-4D25-1DE55291070C}"/>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white text&#10;&#10;Description automatically generated">
            <a:extLst>
              <a:ext uri="{FF2B5EF4-FFF2-40B4-BE49-F238E27FC236}">
                <a16:creationId xmlns:a16="http://schemas.microsoft.com/office/drawing/2014/main" id="{8828859D-C46D-ECC7-BBF0-2E5698D538AE}"/>
              </a:ext>
            </a:extLst>
          </p:cNvPr>
          <p:cNvPicPr>
            <a:picLocks noChangeAspect="1"/>
          </p:cNvPicPr>
          <p:nvPr userDrawn="1"/>
        </p:nvPicPr>
        <p:blipFill rotWithShape="1">
          <a:blip r:embed="rId3"/>
          <a:srcRect l="15089" t="30009" r="30562" b="32708"/>
          <a:stretch/>
        </p:blipFill>
        <p:spPr>
          <a:xfrm>
            <a:off x="258416" y="241982"/>
            <a:ext cx="2405271" cy="928152"/>
          </a:xfrm>
          <a:prstGeom prst="rect">
            <a:avLst/>
          </a:prstGeom>
        </p:spPr>
      </p:pic>
      <p:sp>
        <p:nvSpPr>
          <p:cNvPr id="2" name="Footer Placeholder 4">
            <a:extLst>
              <a:ext uri="{FF2B5EF4-FFF2-40B4-BE49-F238E27FC236}">
                <a16:creationId xmlns:a16="http://schemas.microsoft.com/office/drawing/2014/main" id="{5786901F-A98B-087B-1E05-24A441130B3F}"/>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bg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Stainless Steel &amp; Raw Materials in an Era of Uncertainty</a:t>
            </a:r>
          </a:p>
        </p:txBody>
      </p:sp>
      <p:sp>
        <p:nvSpPr>
          <p:cNvPr id="6" name="TextBox 5">
            <a:extLst>
              <a:ext uri="{FF2B5EF4-FFF2-40B4-BE49-F238E27FC236}">
                <a16:creationId xmlns:a16="http://schemas.microsoft.com/office/drawing/2014/main" id="{260D85F1-1155-D1BC-FA4A-243CB74B8C5D}"/>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bg1"/>
                </a:solidFill>
                <a:latin typeface="Garamond" panose="02020404030301010803" pitchFamily="18" charset="0"/>
                <a:ea typeface="Helvetica Neue UltraLight" panose="02000206000000020004" pitchFamily="2" charset="0"/>
              </a:rPr>
              <a:t>expert</a:t>
            </a:r>
            <a:r>
              <a:rPr lang="en-GB" sz="1000" b="0" i="0">
                <a:solidFill>
                  <a:schemeClr val="bg1"/>
                </a:solidFill>
                <a:latin typeface="Helvetica Neue UltraLight" panose="02000206000000020004" pitchFamily="2" charset="0"/>
                <a:ea typeface="Helvetica Neue UltraLight" panose="02000206000000020004" pitchFamily="2" charset="0"/>
              </a:rPr>
              <a:t> </a:t>
            </a:r>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8" name="Slide Number Placeholder 5">
            <a:extLst>
              <a:ext uri="{FF2B5EF4-FFF2-40B4-BE49-F238E27FC236}">
                <a16:creationId xmlns:a16="http://schemas.microsoft.com/office/drawing/2014/main" id="{8B4BF5F8-3D09-051C-0550-5DAD900A8C6B}"/>
              </a:ext>
            </a:extLst>
          </p:cNvPr>
          <p:cNvSpPr>
            <a:spLocks noGrp="1"/>
          </p:cNvSpPr>
          <p:nvPr>
            <p:ph type="sldNum" sz="quarter" idx="4"/>
          </p:nvPr>
        </p:nvSpPr>
        <p:spPr>
          <a:xfrm>
            <a:off x="10913166" y="6193231"/>
            <a:ext cx="1133060" cy="544512"/>
          </a:xfrm>
          <a:prstGeom prst="rect">
            <a:avLst/>
          </a:prstGeom>
          <a:ln>
            <a:noFill/>
          </a:ln>
        </p:spPr>
        <p:txBody>
          <a:bodyPr vert="horz" lIns="91440" tIns="45720" rIns="91440" bIns="45720" rtlCol="0" anchor="ctr"/>
          <a:lstStyle>
            <a:lvl1pPr algn="r">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562BA7E0-5F5E-EE41-AE8D-BD30ED9E17AD}" type="slidenum">
              <a:rPr lang="en-GB" smtClean="0"/>
              <a:pPr/>
              <a:t>‹#›</a:t>
            </a:fld>
            <a:endParaRPr lang="en-GB"/>
          </a:p>
        </p:txBody>
      </p:sp>
      <p:sp>
        <p:nvSpPr>
          <p:cNvPr id="5" name="Date Placeholder 3">
            <a:extLst>
              <a:ext uri="{FF2B5EF4-FFF2-40B4-BE49-F238E27FC236}">
                <a16:creationId xmlns:a16="http://schemas.microsoft.com/office/drawing/2014/main" id="{C0538EB1-F12A-2A4F-0997-A6BDFB12F812}"/>
              </a:ext>
            </a:extLst>
          </p:cNvPr>
          <p:cNvSpPr txBox="1">
            <a:spLocks/>
          </p:cNvSpPr>
          <p:nvPr userDrawn="1"/>
        </p:nvSpPr>
        <p:spPr>
          <a:xfrm>
            <a:off x="5406889" y="6429965"/>
            <a:ext cx="1706400" cy="307778"/>
          </a:xfrm>
          <a:prstGeom prst="rect">
            <a:avLst/>
          </a:prstGeom>
          <a:ln>
            <a:noFill/>
          </a:ln>
        </p:spPr>
        <p:txBody>
          <a:bodyPr vert="horz" lIns="91440" tIns="45720" rIns="91440" bIns="45720" rtlCol="0" anchor="ctr"/>
          <a:lstStyle>
            <a:defPPr>
              <a:defRPr lang="en-US"/>
            </a:defPPr>
            <a:lvl1pPr marL="0" algn="l" defTabSz="914400" rtl="0" eaLnBrk="1" latinLnBrk="0" hangingPunct="1">
              <a:defRPr sz="1200" b="0" i="1" kern="1200">
                <a:solidFill>
                  <a:schemeClr val="bg1"/>
                </a:solidFill>
                <a:latin typeface="Garamond" panose="02020404030301010803" pitchFamily="18" charset="0"/>
                <a:ea typeface="Helvetica Neue" panose="02000503000000020004" pitchFamily="2" charset="0"/>
                <a:cs typeface="Helvetica Neue" panose="0200050300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t>Date: </a:t>
            </a:r>
            <a:fld id="{3FBC5742-4920-6148-BBB9-0169CD014D42}" type="datetime3">
              <a:rPr lang="en-GB" smtClean="0"/>
              <a:pPr/>
              <a:t>8 October, 2025</a:t>
            </a:fld>
            <a:endParaRPr lang="en-GB"/>
          </a:p>
        </p:txBody>
      </p:sp>
    </p:spTree>
    <p:extLst>
      <p:ext uri="{BB962C8B-B14F-4D97-AF65-F5344CB8AC3E}">
        <p14:creationId xmlns:p14="http://schemas.microsoft.com/office/powerpoint/2010/main" val="88810170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4_Divider 4">
    <p:spTree>
      <p:nvGrpSpPr>
        <p:cNvPr id="1" name=""/>
        <p:cNvGrpSpPr/>
        <p:nvPr/>
      </p:nvGrpSpPr>
      <p:grpSpPr>
        <a:xfrm>
          <a:off x="0" y="0"/>
          <a:ext cx="0" cy="0"/>
          <a:chOff x="0" y="0"/>
          <a:chExt cx="0" cy="0"/>
        </a:xfrm>
      </p:grpSpPr>
      <p:pic>
        <p:nvPicPr>
          <p:cNvPr id="4" name="Picture 3" descr="A close-up of hands holding a tablet and a cup of coffee&#10;&#10;Description automatically generated">
            <a:extLst>
              <a:ext uri="{FF2B5EF4-FFF2-40B4-BE49-F238E27FC236}">
                <a16:creationId xmlns:a16="http://schemas.microsoft.com/office/drawing/2014/main" id="{B5B6CBDA-2286-2D5F-5DE9-7C47009211C6}"/>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34BA1656-A1F4-C928-82D9-3E90CABC9B58}"/>
              </a:ext>
            </a:extLst>
          </p:cNvPr>
          <p:cNvSpPr/>
          <p:nvPr userDrawn="1"/>
        </p:nvSpPr>
        <p:spPr>
          <a:xfrm>
            <a:off x="0" y="0"/>
            <a:ext cx="12192000" cy="6858000"/>
          </a:xfrm>
          <a:prstGeom prst="rect">
            <a:avLst/>
          </a:prstGeom>
          <a:gradFill flip="none" rotWithShape="1">
            <a:gsLst>
              <a:gs pos="0">
                <a:srgbClr val="040010"/>
              </a:gs>
              <a:gs pos="99000">
                <a:srgbClr val="E1E6EB">
                  <a:alpha val="0"/>
                </a:srgb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F5470F66-68CB-5759-B6F7-6E9BCAB6C367}"/>
              </a:ext>
            </a:extLst>
          </p:cNvPr>
          <p:cNvSpPr>
            <a:spLocks noGrp="1"/>
          </p:cNvSpPr>
          <p:nvPr>
            <p:ph type="body" sz="quarter" idx="13"/>
          </p:nvPr>
        </p:nvSpPr>
        <p:spPr>
          <a:xfrm>
            <a:off x="1419617" y="1974233"/>
            <a:ext cx="8074025" cy="2971800"/>
          </a:xfrm>
          <a:prstGeom prst="rect">
            <a:avLst/>
          </a:prstGeom>
        </p:spPr>
        <p:txBody>
          <a:bodyPr>
            <a:noAutofit/>
          </a:bodyPr>
          <a:lstStyle>
            <a:lvl1pPr>
              <a:defRPr sz="3200"/>
            </a:lvl1pPr>
            <a:lvl2pPr>
              <a:defRPr sz="2800"/>
            </a:lvl2pPr>
            <a:lvl3pPr>
              <a:defRPr sz="2400"/>
            </a:lvl3pPr>
            <a:lvl4pPr>
              <a:defRPr sz="2000"/>
            </a:lvl4pPr>
            <a:lvl5pP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8" name="Straight Connector 17">
            <a:extLst>
              <a:ext uri="{FF2B5EF4-FFF2-40B4-BE49-F238E27FC236}">
                <a16:creationId xmlns:a16="http://schemas.microsoft.com/office/drawing/2014/main" id="{2281AFFB-9450-87C4-EC5E-9F3098E21E8B}"/>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D344B035-4975-BB69-BA44-C6C8A458112E}"/>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0E56A41D-9230-93EC-4D25-1DE55291070C}"/>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white text&#10;&#10;Description automatically generated">
            <a:extLst>
              <a:ext uri="{FF2B5EF4-FFF2-40B4-BE49-F238E27FC236}">
                <a16:creationId xmlns:a16="http://schemas.microsoft.com/office/drawing/2014/main" id="{8828859D-C46D-ECC7-BBF0-2E5698D538AE}"/>
              </a:ext>
            </a:extLst>
          </p:cNvPr>
          <p:cNvPicPr>
            <a:picLocks noChangeAspect="1"/>
          </p:cNvPicPr>
          <p:nvPr userDrawn="1"/>
        </p:nvPicPr>
        <p:blipFill rotWithShape="1">
          <a:blip r:embed="rId3"/>
          <a:srcRect l="15089" t="30009" r="30562" b="32708"/>
          <a:stretch/>
        </p:blipFill>
        <p:spPr>
          <a:xfrm>
            <a:off x="258416" y="241982"/>
            <a:ext cx="2405271" cy="928152"/>
          </a:xfrm>
          <a:prstGeom prst="rect">
            <a:avLst/>
          </a:prstGeom>
        </p:spPr>
      </p:pic>
      <p:sp>
        <p:nvSpPr>
          <p:cNvPr id="7" name="Footer Placeholder 4">
            <a:extLst>
              <a:ext uri="{FF2B5EF4-FFF2-40B4-BE49-F238E27FC236}">
                <a16:creationId xmlns:a16="http://schemas.microsoft.com/office/drawing/2014/main" id="{4DD064E7-B343-84BD-AF83-FFD99D2C45F5}"/>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bg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Stainless Steel &amp; Raw Materials in an Era of Uncertainty</a:t>
            </a:r>
          </a:p>
        </p:txBody>
      </p:sp>
      <p:sp>
        <p:nvSpPr>
          <p:cNvPr id="8" name="TextBox 7">
            <a:extLst>
              <a:ext uri="{FF2B5EF4-FFF2-40B4-BE49-F238E27FC236}">
                <a16:creationId xmlns:a16="http://schemas.microsoft.com/office/drawing/2014/main" id="{B01529D0-C4D5-0A66-CA54-9272DC77F397}"/>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bg1"/>
                </a:solidFill>
                <a:latin typeface="Garamond" panose="02020404030301010803" pitchFamily="18" charset="0"/>
                <a:ea typeface="Helvetica Neue UltraLight" panose="02000206000000020004" pitchFamily="2" charset="0"/>
              </a:rPr>
              <a:t>expert</a:t>
            </a:r>
            <a:r>
              <a:rPr lang="en-GB" sz="1000" b="0" i="0">
                <a:solidFill>
                  <a:schemeClr val="bg1"/>
                </a:solidFill>
                <a:latin typeface="Helvetica Neue UltraLight" panose="02000206000000020004" pitchFamily="2" charset="0"/>
                <a:ea typeface="Helvetica Neue UltraLight" panose="02000206000000020004" pitchFamily="2" charset="0"/>
              </a:rPr>
              <a:t> </a:t>
            </a:r>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6" name="Slide Number Placeholder 5">
            <a:extLst>
              <a:ext uri="{FF2B5EF4-FFF2-40B4-BE49-F238E27FC236}">
                <a16:creationId xmlns:a16="http://schemas.microsoft.com/office/drawing/2014/main" id="{723587C9-D050-A5BE-61A4-EEE3FB65C09E}"/>
              </a:ext>
            </a:extLst>
          </p:cNvPr>
          <p:cNvSpPr>
            <a:spLocks noGrp="1"/>
          </p:cNvSpPr>
          <p:nvPr>
            <p:ph type="sldNum" sz="quarter" idx="4"/>
          </p:nvPr>
        </p:nvSpPr>
        <p:spPr>
          <a:xfrm>
            <a:off x="10913166" y="6193231"/>
            <a:ext cx="1133060" cy="544512"/>
          </a:xfrm>
          <a:prstGeom prst="rect">
            <a:avLst/>
          </a:prstGeom>
          <a:ln>
            <a:noFill/>
          </a:ln>
        </p:spPr>
        <p:txBody>
          <a:bodyPr vert="horz" lIns="91440" tIns="45720" rIns="91440" bIns="45720" rtlCol="0" anchor="ctr"/>
          <a:lstStyle>
            <a:lvl1pPr algn="r">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562BA7E0-5F5E-EE41-AE8D-BD30ED9E17AD}" type="slidenum">
              <a:rPr lang="en-GB" smtClean="0"/>
              <a:pPr/>
              <a:t>‹#›</a:t>
            </a:fld>
            <a:endParaRPr lang="en-GB"/>
          </a:p>
        </p:txBody>
      </p:sp>
      <p:sp>
        <p:nvSpPr>
          <p:cNvPr id="2" name="Date Placeholder 3">
            <a:extLst>
              <a:ext uri="{FF2B5EF4-FFF2-40B4-BE49-F238E27FC236}">
                <a16:creationId xmlns:a16="http://schemas.microsoft.com/office/drawing/2014/main" id="{BEA81D57-FB9A-3D64-9269-6D175BEF91CB}"/>
              </a:ext>
            </a:extLst>
          </p:cNvPr>
          <p:cNvSpPr>
            <a:spLocks noGrp="1"/>
          </p:cNvSpPr>
          <p:nvPr>
            <p:ph type="dt" sz="half" idx="2"/>
          </p:nvPr>
        </p:nvSpPr>
        <p:spPr>
          <a:xfrm>
            <a:off x="5406889" y="6429965"/>
            <a:ext cx="1706400" cy="307778"/>
          </a:xfrm>
          <a:prstGeom prst="rect">
            <a:avLst/>
          </a:prstGeom>
          <a:ln>
            <a:noFill/>
          </a:ln>
        </p:spPr>
        <p:txBody>
          <a:bodyPr vert="horz" lIns="91440" tIns="45720" rIns="91440" bIns="45720" rtlCol="0" anchor="ctr"/>
          <a:lstStyle>
            <a:lvl1pPr algn="l">
              <a:defRPr sz="1200" b="0" i="1">
                <a:solidFill>
                  <a:schemeClr val="bg1"/>
                </a:solidFill>
                <a:latin typeface="Garamond" panose="02020404030301010803" pitchFamily="18" charset="0"/>
                <a:ea typeface="Helvetica Neue" panose="02000503000000020004" pitchFamily="2" charset="0"/>
                <a:cs typeface="Helvetica Neue" panose="02000503000000020004" pitchFamily="2" charset="0"/>
              </a:defRPr>
            </a:lvl1pPr>
          </a:lstStyle>
          <a:p>
            <a:r>
              <a:rPr lang="en-US"/>
              <a:t>October 2025</a:t>
            </a:r>
            <a:endParaRPr lang="en-GB"/>
          </a:p>
        </p:txBody>
      </p:sp>
    </p:spTree>
    <p:extLst>
      <p:ext uri="{BB962C8B-B14F-4D97-AF65-F5344CB8AC3E}">
        <p14:creationId xmlns:p14="http://schemas.microsoft.com/office/powerpoint/2010/main" val="24232332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Content + Text -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3536" y="1251472"/>
            <a:ext cx="7585200" cy="288000"/>
          </a:xfrm>
          <a:noFill/>
        </p:spPr>
        <p:txBody>
          <a:bodyPr lIns="0">
            <a:noAutofit/>
          </a:bodyPr>
          <a:lstStyle>
            <a:lvl1pPr>
              <a:defRPr sz="1300">
                <a:solidFill>
                  <a:schemeClr val="accent6"/>
                </a:solidFill>
              </a:defRPr>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3999" y="1578916"/>
            <a:ext cx="7585200" cy="2016000"/>
          </a:xfrm>
          <a:noFill/>
        </p:spPr>
        <p:txBody>
          <a:bodyPr/>
          <a:lstStyle>
            <a:lvl1pPr algn="ctr">
              <a:defRPr b="0"/>
            </a:lvl1pPr>
            <a:lvl5pPr>
              <a:defRPr/>
            </a:lvl5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hasCustomPrompt="1"/>
          </p:nvPr>
        </p:nvSpPr>
        <p:spPr>
          <a:xfrm>
            <a:off x="7998461" y="1251472"/>
            <a:ext cx="3780000" cy="4928400"/>
          </a:xfrm>
          <a:noFill/>
          <a:effectLst/>
        </p:spPr>
        <p:txBody>
          <a:bodyPr vert="horz" lIns="252000" tIns="252000" rIns="252000" bIns="252000" rtlCol="0" anchor="ctr" anchorCtr="0">
            <a:noAutofit/>
          </a:bodyPr>
          <a:lstStyle>
            <a:lvl1pPr>
              <a:defRPr lang="en-US"/>
            </a:lvl1pPr>
            <a:lvl2pPr>
              <a:defRPr lang="en-US"/>
            </a:lvl2pPr>
            <a:lvl3pPr>
              <a:defRPr lang="en-US"/>
            </a:lvl3pPr>
            <a:lvl4pPr>
              <a:defRPr lang="en-US"/>
            </a:lvl4pPr>
            <a:lvl5pPr>
              <a:defRPr lang="en-GB"/>
            </a:lvl5pPr>
          </a:lstStyle>
          <a:p>
            <a:pPr lvl="0"/>
            <a:r>
              <a:rPr lang="en-US"/>
              <a:t>Active Headline</a:t>
            </a:r>
          </a:p>
          <a:p>
            <a:pPr lvl="1"/>
            <a:r>
              <a:rPr lang="en-US"/>
              <a:t>Body text</a:t>
            </a:r>
          </a:p>
          <a:p>
            <a:pPr lvl="2"/>
            <a:r>
              <a:rPr lang="en-US"/>
              <a:t>Bullets</a:t>
            </a:r>
          </a:p>
          <a:p>
            <a:pPr lvl="3"/>
            <a:r>
              <a:rPr lang="en-US"/>
              <a:t>2nd level bullets</a:t>
            </a:r>
          </a:p>
          <a:p>
            <a:pPr lvl="4"/>
            <a:r>
              <a:rPr lang="en-US"/>
              <a:t>Notes tex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7585200" cy="215999"/>
          </a:xfrm>
          <a:noFill/>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9" name="Text Placeholder 5">
            <a:extLst>
              <a:ext uri="{FF2B5EF4-FFF2-40B4-BE49-F238E27FC236}">
                <a16:creationId xmlns:a16="http://schemas.microsoft.com/office/drawing/2014/main" id="{D49A370F-20C1-AE2C-2D28-B67039D93F62}"/>
              </a:ext>
            </a:extLst>
          </p:cNvPr>
          <p:cNvSpPr>
            <a:spLocks noGrp="1"/>
          </p:cNvSpPr>
          <p:nvPr>
            <p:ph type="body" sz="quarter" idx="16" hasCustomPrompt="1"/>
          </p:nvPr>
        </p:nvSpPr>
        <p:spPr>
          <a:xfrm>
            <a:off x="414000" y="3636899"/>
            <a:ext cx="7585200" cy="288000"/>
          </a:xfrm>
          <a:noFill/>
        </p:spPr>
        <p:txBody>
          <a:bodyPr lIns="0">
            <a:noAutofit/>
          </a:bodyPr>
          <a:lstStyle>
            <a:lvl1pPr>
              <a:defRPr sz="1300">
                <a:solidFill>
                  <a:schemeClr val="accent6"/>
                </a:solidFill>
              </a:defRPr>
            </a:lvl1pPr>
          </a:lstStyle>
          <a:p>
            <a:pPr lvl="0"/>
            <a:r>
              <a:rPr lang="en-US"/>
              <a:t>Chart headline</a:t>
            </a:r>
          </a:p>
        </p:txBody>
      </p:sp>
      <p:sp>
        <p:nvSpPr>
          <p:cNvPr id="11" name="Content Placeholder 7">
            <a:extLst>
              <a:ext uri="{FF2B5EF4-FFF2-40B4-BE49-F238E27FC236}">
                <a16:creationId xmlns:a16="http://schemas.microsoft.com/office/drawing/2014/main" id="{9AE049FE-3B8F-256A-D7E8-577C76D40781}"/>
              </a:ext>
            </a:extLst>
          </p:cNvPr>
          <p:cNvSpPr>
            <a:spLocks noGrp="1"/>
          </p:cNvSpPr>
          <p:nvPr>
            <p:ph sz="quarter" idx="17" hasCustomPrompt="1"/>
          </p:nvPr>
        </p:nvSpPr>
        <p:spPr>
          <a:xfrm>
            <a:off x="413027" y="3966538"/>
            <a:ext cx="7585200" cy="2016000"/>
          </a:xfrm>
          <a:noFill/>
        </p:spPr>
        <p:txBody>
          <a:bodyPr/>
          <a:lstStyle>
            <a:lvl1pPr algn="ctr">
              <a:defRPr b="0"/>
            </a:lvl1pPr>
            <a:lvl5pPr>
              <a:defRPr/>
            </a:lvl5pPr>
          </a:lstStyle>
          <a:p>
            <a:pPr lvl="0"/>
            <a:r>
              <a:rPr lang="en-US"/>
              <a:t>Insert Chart</a:t>
            </a:r>
            <a:endParaRPr lang="en-GB"/>
          </a:p>
        </p:txBody>
      </p:sp>
      <p:sp>
        <p:nvSpPr>
          <p:cNvPr id="19" name="Footer Placeholder 4">
            <a:extLst>
              <a:ext uri="{FF2B5EF4-FFF2-40B4-BE49-F238E27FC236}">
                <a16:creationId xmlns:a16="http://schemas.microsoft.com/office/drawing/2014/main" id="{B0FE7F07-C9DD-79C9-6757-C27B73B8C7A5}"/>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Tree>
    <p:extLst>
      <p:ext uri="{BB962C8B-B14F-4D97-AF65-F5344CB8AC3E}">
        <p14:creationId xmlns:p14="http://schemas.microsoft.com/office/powerpoint/2010/main" val="4078154561"/>
      </p:ext>
    </p:extLst>
  </p:cSld>
  <p:clrMapOvr>
    <a:masterClrMapping/>
  </p:clrMapOvr>
  <p:extLst>
    <p:ext uri="{DCECCB84-F9BA-43D5-87BE-67443E8EF086}">
      <p15:sldGuideLst xmlns:p15="http://schemas.microsoft.com/office/powerpoint/2012/main">
        <p15:guide id="1" pos="665">
          <p15:clr>
            <a:srgbClr val="5ACBF0"/>
          </p15:clr>
        </p15:guide>
        <p15:guide id="4" pos="4747">
          <p15:clr>
            <a:srgbClr val="5ACBF0"/>
          </p15:clr>
        </p15:guide>
        <p15:guide id="5" orient="horz" pos="1071">
          <p15:clr>
            <a:srgbClr val="5ACBF0"/>
          </p15:clr>
        </p15:guide>
        <p15:guide id="6" orient="horz" pos="1911">
          <p15:clr>
            <a:srgbClr val="5ACBF0"/>
          </p15:clr>
        </p15:guide>
        <p15:guide id="7" orient="horz" pos="3521">
          <p15:clr>
            <a:srgbClr val="5ACBF0"/>
          </p15:clr>
        </p15:guide>
        <p15:guide id="8" orient="horz" pos="2636">
          <p15:clr>
            <a:srgbClr val="5ACBF0"/>
          </p15:clr>
        </p15:guide>
        <p15:guide id="9" orient="horz" pos="799">
          <p15:clr>
            <a:srgbClr val="F26B43"/>
          </p15:clr>
        </p15:guide>
        <p15:guide id="10" orient="horz" pos="2364">
          <p15:clr>
            <a:srgbClr val="F26B43"/>
          </p15:clr>
        </p15:guide>
        <p15:guide id="11" orient="horz" pos="3725">
          <p15:clr>
            <a:srgbClr val="F26B43"/>
          </p15:clr>
        </p15:guide>
        <p15:guide id="12" pos="5042">
          <p15:clr>
            <a:srgbClr val="F26B43"/>
          </p15:clr>
        </p15:guide>
        <p15:guide id="13" pos="2638">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5_Divider 4">
    <p:spTree>
      <p:nvGrpSpPr>
        <p:cNvPr id="1" name=""/>
        <p:cNvGrpSpPr/>
        <p:nvPr/>
      </p:nvGrpSpPr>
      <p:grpSpPr>
        <a:xfrm>
          <a:off x="0" y="0"/>
          <a:ext cx="0" cy="0"/>
          <a:chOff x="0" y="0"/>
          <a:chExt cx="0" cy="0"/>
        </a:xfrm>
      </p:grpSpPr>
      <p:pic>
        <p:nvPicPr>
          <p:cNvPr id="4" name="Picture 3" descr="A person looking at a computer&#10;&#10;Description automatically generated">
            <a:extLst>
              <a:ext uri="{FF2B5EF4-FFF2-40B4-BE49-F238E27FC236}">
                <a16:creationId xmlns:a16="http://schemas.microsoft.com/office/drawing/2014/main" id="{174AD473-7F85-70BA-AE29-49FCFBF39127}"/>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34BA1656-A1F4-C928-82D9-3E90CABC9B58}"/>
              </a:ext>
            </a:extLst>
          </p:cNvPr>
          <p:cNvSpPr/>
          <p:nvPr userDrawn="1"/>
        </p:nvSpPr>
        <p:spPr>
          <a:xfrm>
            <a:off x="0" y="0"/>
            <a:ext cx="12192000" cy="6858000"/>
          </a:xfrm>
          <a:prstGeom prst="rect">
            <a:avLst/>
          </a:prstGeom>
          <a:gradFill flip="none" rotWithShape="1">
            <a:gsLst>
              <a:gs pos="0">
                <a:srgbClr val="040010"/>
              </a:gs>
              <a:gs pos="99000">
                <a:srgbClr val="E1E6EB">
                  <a:alpha val="0"/>
                </a:srgb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F5470F66-68CB-5759-B6F7-6E9BCAB6C367}"/>
              </a:ext>
            </a:extLst>
          </p:cNvPr>
          <p:cNvSpPr>
            <a:spLocks noGrp="1"/>
          </p:cNvSpPr>
          <p:nvPr>
            <p:ph type="body" sz="quarter" idx="13"/>
          </p:nvPr>
        </p:nvSpPr>
        <p:spPr>
          <a:xfrm>
            <a:off x="1419617" y="1974233"/>
            <a:ext cx="8074025" cy="2971800"/>
          </a:xfrm>
          <a:prstGeom prst="rect">
            <a:avLst/>
          </a:prstGeom>
        </p:spPr>
        <p:txBody>
          <a:bodyPr>
            <a:noAutofit/>
          </a:bodyPr>
          <a:lstStyle>
            <a:lvl1pPr>
              <a:defRPr sz="3200"/>
            </a:lvl1pPr>
            <a:lvl2pPr>
              <a:defRPr sz="2800"/>
            </a:lvl2pPr>
            <a:lvl3pPr>
              <a:defRPr sz="2400"/>
            </a:lvl3pPr>
            <a:lvl4pPr>
              <a:defRPr sz="2000"/>
            </a:lvl4pPr>
            <a:lvl5pP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8" name="Straight Connector 17">
            <a:extLst>
              <a:ext uri="{FF2B5EF4-FFF2-40B4-BE49-F238E27FC236}">
                <a16:creationId xmlns:a16="http://schemas.microsoft.com/office/drawing/2014/main" id="{2281AFFB-9450-87C4-EC5E-9F3098E21E8B}"/>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D344B035-4975-BB69-BA44-C6C8A458112E}"/>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0E56A41D-9230-93EC-4D25-1DE55291070C}"/>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white text&#10;&#10;Description automatically generated">
            <a:extLst>
              <a:ext uri="{FF2B5EF4-FFF2-40B4-BE49-F238E27FC236}">
                <a16:creationId xmlns:a16="http://schemas.microsoft.com/office/drawing/2014/main" id="{8828859D-C46D-ECC7-BBF0-2E5698D538AE}"/>
              </a:ext>
            </a:extLst>
          </p:cNvPr>
          <p:cNvPicPr>
            <a:picLocks noChangeAspect="1"/>
          </p:cNvPicPr>
          <p:nvPr userDrawn="1"/>
        </p:nvPicPr>
        <p:blipFill rotWithShape="1">
          <a:blip r:embed="rId3"/>
          <a:srcRect l="15089" t="30009" r="30562" b="32708"/>
          <a:stretch/>
        </p:blipFill>
        <p:spPr>
          <a:xfrm>
            <a:off x="258416" y="241982"/>
            <a:ext cx="2405271" cy="928152"/>
          </a:xfrm>
          <a:prstGeom prst="rect">
            <a:avLst/>
          </a:prstGeom>
        </p:spPr>
      </p:pic>
      <p:sp>
        <p:nvSpPr>
          <p:cNvPr id="2" name="Footer Placeholder 4">
            <a:extLst>
              <a:ext uri="{FF2B5EF4-FFF2-40B4-BE49-F238E27FC236}">
                <a16:creationId xmlns:a16="http://schemas.microsoft.com/office/drawing/2014/main" id="{A8AEAC03-44E8-E388-446F-DB821BDA1555}"/>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bg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Stainless Steel &amp; Raw Materials in an Era of Uncertainty</a:t>
            </a:r>
          </a:p>
        </p:txBody>
      </p:sp>
      <p:sp>
        <p:nvSpPr>
          <p:cNvPr id="6" name="TextBox 5">
            <a:extLst>
              <a:ext uri="{FF2B5EF4-FFF2-40B4-BE49-F238E27FC236}">
                <a16:creationId xmlns:a16="http://schemas.microsoft.com/office/drawing/2014/main" id="{C54F7ED4-CB4F-1BB8-18EE-63CFC7E17E46}"/>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bg1"/>
                </a:solidFill>
                <a:latin typeface="Garamond" panose="02020404030301010803" pitchFamily="18" charset="0"/>
                <a:ea typeface="Helvetica Neue UltraLight" panose="02000206000000020004" pitchFamily="2" charset="0"/>
              </a:rPr>
              <a:t>expert</a:t>
            </a:r>
            <a:r>
              <a:rPr lang="en-GB" sz="1000" b="0" i="0">
                <a:solidFill>
                  <a:schemeClr val="bg1"/>
                </a:solidFill>
                <a:latin typeface="Helvetica Neue UltraLight" panose="02000206000000020004" pitchFamily="2" charset="0"/>
                <a:ea typeface="Helvetica Neue UltraLight" panose="02000206000000020004" pitchFamily="2" charset="0"/>
              </a:rPr>
              <a:t> </a:t>
            </a:r>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8" name="Slide Number Placeholder 5">
            <a:extLst>
              <a:ext uri="{FF2B5EF4-FFF2-40B4-BE49-F238E27FC236}">
                <a16:creationId xmlns:a16="http://schemas.microsoft.com/office/drawing/2014/main" id="{C3DCCE0D-DF49-C3B6-033C-339EA7976C1F}"/>
              </a:ext>
            </a:extLst>
          </p:cNvPr>
          <p:cNvSpPr>
            <a:spLocks noGrp="1"/>
          </p:cNvSpPr>
          <p:nvPr>
            <p:ph type="sldNum" sz="quarter" idx="4"/>
          </p:nvPr>
        </p:nvSpPr>
        <p:spPr>
          <a:xfrm>
            <a:off x="10913166" y="6193231"/>
            <a:ext cx="1133060" cy="544512"/>
          </a:xfrm>
          <a:prstGeom prst="rect">
            <a:avLst/>
          </a:prstGeom>
          <a:ln>
            <a:noFill/>
          </a:ln>
        </p:spPr>
        <p:txBody>
          <a:bodyPr vert="horz" lIns="91440" tIns="45720" rIns="91440" bIns="45720" rtlCol="0" anchor="ctr"/>
          <a:lstStyle>
            <a:lvl1pPr algn="r">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562BA7E0-5F5E-EE41-AE8D-BD30ED9E17AD}" type="slidenum">
              <a:rPr lang="en-GB" smtClean="0"/>
              <a:pPr/>
              <a:t>‹#›</a:t>
            </a:fld>
            <a:endParaRPr lang="en-GB"/>
          </a:p>
        </p:txBody>
      </p:sp>
      <p:sp>
        <p:nvSpPr>
          <p:cNvPr id="5" name="Date Placeholder 3">
            <a:extLst>
              <a:ext uri="{FF2B5EF4-FFF2-40B4-BE49-F238E27FC236}">
                <a16:creationId xmlns:a16="http://schemas.microsoft.com/office/drawing/2014/main" id="{D5B8FF7A-E995-9EA7-B07B-84E9BB028700}"/>
              </a:ext>
            </a:extLst>
          </p:cNvPr>
          <p:cNvSpPr>
            <a:spLocks noGrp="1"/>
          </p:cNvSpPr>
          <p:nvPr>
            <p:ph type="dt" sz="half" idx="2"/>
          </p:nvPr>
        </p:nvSpPr>
        <p:spPr>
          <a:xfrm>
            <a:off x="5406889" y="6429965"/>
            <a:ext cx="1706400" cy="307778"/>
          </a:xfrm>
          <a:prstGeom prst="rect">
            <a:avLst/>
          </a:prstGeom>
          <a:ln>
            <a:noFill/>
          </a:ln>
        </p:spPr>
        <p:txBody>
          <a:bodyPr vert="horz" lIns="91440" tIns="45720" rIns="91440" bIns="45720" rtlCol="0" anchor="ctr"/>
          <a:lstStyle>
            <a:lvl1pPr algn="l">
              <a:defRPr sz="1200" b="0" i="1">
                <a:solidFill>
                  <a:schemeClr val="bg1"/>
                </a:solidFill>
                <a:latin typeface="Garamond" panose="02020404030301010803" pitchFamily="18" charset="0"/>
                <a:ea typeface="Helvetica Neue" panose="02000503000000020004" pitchFamily="2" charset="0"/>
                <a:cs typeface="Helvetica Neue" panose="02000503000000020004" pitchFamily="2" charset="0"/>
              </a:defRPr>
            </a:lvl1pPr>
          </a:lstStyle>
          <a:p>
            <a:r>
              <a:rPr lang="en-US"/>
              <a:t>October 2025</a:t>
            </a:r>
            <a:endParaRPr lang="en-GB"/>
          </a:p>
        </p:txBody>
      </p:sp>
    </p:spTree>
    <p:extLst>
      <p:ext uri="{BB962C8B-B14F-4D97-AF65-F5344CB8AC3E}">
        <p14:creationId xmlns:p14="http://schemas.microsoft.com/office/powerpoint/2010/main" val="64535215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6_Divider 4">
    <p:spTree>
      <p:nvGrpSpPr>
        <p:cNvPr id="1" name=""/>
        <p:cNvGrpSpPr/>
        <p:nvPr/>
      </p:nvGrpSpPr>
      <p:grpSpPr>
        <a:xfrm>
          <a:off x="0" y="0"/>
          <a:ext cx="0" cy="0"/>
          <a:chOff x="0" y="0"/>
          <a:chExt cx="0" cy="0"/>
        </a:xfrm>
      </p:grpSpPr>
      <p:pic>
        <p:nvPicPr>
          <p:cNvPr id="4" name="Picture 3" descr="A group of people walking in a building&#10;&#10;Description automatically generated">
            <a:extLst>
              <a:ext uri="{FF2B5EF4-FFF2-40B4-BE49-F238E27FC236}">
                <a16:creationId xmlns:a16="http://schemas.microsoft.com/office/drawing/2014/main" id="{486576F0-4F3A-1F51-77B5-C39FA097E206}"/>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34BA1656-A1F4-C928-82D9-3E90CABC9B58}"/>
              </a:ext>
            </a:extLst>
          </p:cNvPr>
          <p:cNvSpPr/>
          <p:nvPr userDrawn="1"/>
        </p:nvSpPr>
        <p:spPr>
          <a:xfrm>
            <a:off x="0" y="0"/>
            <a:ext cx="12192000" cy="6858000"/>
          </a:xfrm>
          <a:prstGeom prst="rect">
            <a:avLst/>
          </a:prstGeom>
          <a:gradFill flip="none" rotWithShape="1">
            <a:gsLst>
              <a:gs pos="0">
                <a:srgbClr val="040010"/>
              </a:gs>
              <a:gs pos="99000">
                <a:srgbClr val="E1E6EB">
                  <a:alpha val="0"/>
                </a:srgb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F5470F66-68CB-5759-B6F7-6E9BCAB6C367}"/>
              </a:ext>
            </a:extLst>
          </p:cNvPr>
          <p:cNvSpPr>
            <a:spLocks noGrp="1"/>
          </p:cNvSpPr>
          <p:nvPr>
            <p:ph type="body" sz="quarter" idx="13"/>
          </p:nvPr>
        </p:nvSpPr>
        <p:spPr>
          <a:xfrm>
            <a:off x="1419617" y="1974233"/>
            <a:ext cx="8074025" cy="2971800"/>
          </a:xfrm>
          <a:prstGeom prst="rect">
            <a:avLst/>
          </a:prstGeom>
        </p:spPr>
        <p:txBody>
          <a:bodyPr>
            <a:noAutofit/>
          </a:bodyPr>
          <a:lstStyle>
            <a:lvl1pPr>
              <a:defRPr sz="3200"/>
            </a:lvl1pPr>
            <a:lvl2pPr>
              <a:defRPr sz="2800"/>
            </a:lvl2pPr>
            <a:lvl3pPr>
              <a:defRPr sz="2400"/>
            </a:lvl3pPr>
            <a:lvl4pPr>
              <a:defRPr sz="2000"/>
            </a:lvl4pPr>
            <a:lvl5pP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8" name="Straight Connector 17">
            <a:extLst>
              <a:ext uri="{FF2B5EF4-FFF2-40B4-BE49-F238E27FC236}">
                <a16:creationId xmlns:a16="http://schemas.microsoft.com/office/drawing/2014/main" id="{2281AFFB-9450-87C4-EC5E-9F3098E21E8B}"/>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D344B035-4975-BB69-BA44-C6C8A458112E}"/>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0E56A41D-9230-93EC-4D25-1DE55291070C}"/>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white text&#10;&#10;Description automatically generated">
            <a:extLst>
              <a:ext uri="{FF2B5EF4-FFF2-40B4-BE49-F238E27FC236}">
                <a16:creationId xmlns:a16="http://schemas.microsoft.com/office/drawing/2014/main" id="{8828859D-C46D-ECC7-BBF0-2E5698D538AE}"/>
              </a:ext>
            </a:extLst>
          </p:cNvPr>
          <p:cNvPicPr>
            <a:picLocks noChangeAspect="1"/>
          </p:cNvPicPr>
          <p:nvPr userDrawn="1"/>
        </p:nvPicPr>
        <p:blipFill rotWithShape="1">
          <a:blip r:embed="rId3"/>
          <a:srcRect l="15089" t="30009" r="30562" b="32708"/>
          <a:stretch/>
        </p:blipFill>
        <p:spPr>
          <a:xfrm>
            <a:off x="258416" y="241982"/>
            <a:ext cx="2405271" cy="928152"/>
          </a:xfrm>
          <a:prstGeom prst="rect">
            <a:avLst/>
          </a:prstGeom>
        </p:spPr>
      </p:pic>
      <p:sp>
        <p:nvSpPr>
          <p:cNvPr id="2" name="Footer Placeholder 4">
            <a:extLst>
              <a:ext uri="{FF2B5EF4-FFF2-40B4-BE49-F238E27FC236}">
                <a16:creationId xmlns:a16="http://schemas.microsoft.com/office/drawing/2014/main" id="{5A9A44E6-D551-D536-7FC7-AE5215F2CD43}"/>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bg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Stainless Steel &amp; Raw Materials in an Era of Uncertainty</a:t>
            </a:r>
          </a:p>
        </p:txBody>
      </p:sp>
      <p:sp>
        <p:nvSpPr>
          <p:cNvPr id="6" name="TextBox 5">
            <a:extLst>
              <a:ext uri="{FF2B5EF4-FFF2-40B4-BE49-F238E27FC236}">
                <a16:creationId xmlns:a16="http://schemas.microsoft.com/office/drawing/2014/main" id="{2AEC8D81-D8AF-4E31-44F7-6202E6E63FE8}"/>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bg1"/>
                </a:solidFill>
                <a:latin typeface="Garamond" panose="02020404030301010803" pitchFamily="18" charset="0"/>
                <a:ea typeface="Helvetica Neue UltraLight" panose="02000206000000020004" pitchFamily="2" charset="0"/>
              </a:rPr>
              <a:t>expert</a:t>
            </a:r>
            <a:r>
              <a:rPr lang="en-GB" sz="1000" b="0" i="0">
                <a:solidFill>
                  <a:schemeClr val="bg1"/>
                </a:solidFill>
                <a:latin typeface="Helvetica Neue UltraLight" panose="02000206000000020004" pitchFamily="2" charset="0"/>
                <a:ea typeface="Helvetica Neue UltraLight" panose="02000206000000020004" pitchFamily="2" charset="0"/>
              </a:rPr>
              <a:t> </a:t>
            </a:r>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8" name="Slide Number Placeholder 5">
            <a:extLst>
              <a:ext uri="{FF2B5EF4-FFF2-40B4-BE49-F238E27FC236}">
                <a16:creationId xmlns:a16="http://schemas.microsoft.com/office/drawing/2014/main" id="{F5F4B5AA-E28B-86CC-13FD-91500530D1ED}"/>
              </a:ext>
            </a:extLst>
          </p:cNvPr>
          <p:cNvSpPr>
            <a:spLocks noGrp="1"/>
          </p:cNvSpPr>
          <p:nvPr>
            <p:ph type="sldNum" sz="quarter" idx="4"/>
          </p:nvPr>
        </p:nvSpPr>
        <p:spPr>
          <a:xfrm>
            <a:off x="10913166" y="6193231"/>
            <a:ext cx="1133060" cy="544512"/>
          </a:xfrm>
          <a:prstGeom prst="rect">
            <a:avLst/>
          </a:prstGeom>
          <a:ln>
            <a:noFill/>
          </a:ln>
        </p:spPr>
        <p:txBody>
          <a:bodyPr vert="horz" lIns="91440" tIns="45720" rIns="91440" bIns="45720" rtlCol="0" anchor="ctr"/>
          <a:lstStyle>
            <a:lvl1pPr algn="r">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562BA7E0-5F5E-EE41-AE8D-BD30ED9E17AD}" type="slidenum">
              <a:rPr lang="en-GB" smtClean="0"/>
              <a:pPr/>
              <a:t>‹#›</a:t>
            </a:fld>
            <a:endParaRPr lang="en-GB"/>
          </a:p>
        </p:txBody>
      </p:sp>
      <p:sp>
        <p:nvSpPr>
          <p:cNvPr id="5" name="Date Placeholder 3">
            <a:extLst>
              <a:ext uri="{FF2B5EF4-FFF2-40B4-BE49-F238E27FC236}">
                <a16:creationId xmlns:a16="http://schemas.microsoft.com/office/drawing/2014/main" id="{59590ECC-8DC3-EC10-C141-034065E883C6}"/>
              </a:ext>
            </a:extLst>
          </p:cNvPr>
          <p:cNvSpPr>
            <a:spLocks noGrp="1"/>
          </p:cNvSpPr>
          <p:nvPr>
            <p:ph type="dt" sz="half" idx="2"/>
          </p:nvPr>
        </p:nvSpPr>
        <p:spPr>
          <a:xfrm>
            <a:off x="5406889" y="6429965"/>
            <a:ext cx="1706400" cy="307778"/>
          </a:xfrm>
          <a:prstGeom prst="rect">
            <a:avLst/>
          </a:prstGeom>
          <a:ln>
            <a:noFill/>
          </a:ln>
        </p:spPr>
        <p:txBody>
          <a:bodyPr vert="horz" lIns="91440" tIns="45720" rIns="91440" bIns="45720" rtlCol="0" anchor="ctr"/>
          <a:lstStyle>
            <a:lvl1pPr algn="l">
              <a:defRPr sz="1200" b="0" i="1">
                <a:solidFill>
                  <a:schemeClr val="bg1"/>
                </a:solidFill>
                <a:latin typeface="Garamond" panose="02020404030301010803" pitchFamily="18" charset="0"/>
                <a:ea typeface="Helvetica Neue" panose="02000503000000020004" pitchFamily="2" charset="0"/>
                <a:cs typeface="Helvetica Neue" panose="02000503000000020004" pitchFamily="2" charset="0"/>
              </a:defRPr>
            </a:lvl1pPr>
          </a:lstStyle>
          <a:p>
            <a:r>
              <a:rPr lang="en-US"/>
              <a:t>October 2025</a:t>
            </a:r>
            <a:endParaRPr lang="en-GB"/>
          </a:p>
        </p:txBody>
      </p:sp>
    </p:spTree>
    <p:extLst>
      <p:ext uri="{BB962C8B-B14F-4D97-AF65-F5344CB8AC3E}">
        <p14:creationId xmlns:p14="http://schemas.microsoft.com/office/powerpoint/2010/main" val="185655404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7_Divider 4">
    <p:spTree>
      <p:nvGrpSpPr>
        <p:cNvPr id="1" name=""/>
        <p:cNvGrpSpPr/>
        <p:nvPr/>
      </p:nvGrpSpPr>
      <p:grpSpPr>
        <a:xfrm>
          <a:off x="0" y="0"/>
          <a:ext cx="0" cy="0"/>
          <a:chOff x="0" y="0"/>
          <a:chExt cx="0" cy="0"/>
        </a:xfrm>
      </p:grpSpPr>
      <p:pic>
        <p:nvPicPr>
          <p:cNvPr id="4" name="Picture 3" descr="A yellow dump trucks in a snowy area&#10;&#10;Description automatically generated">
            <a:extLst>
              <a:ext uri="{FF2B5EF4-FFF2-40B4-BE49-F238E27FC236}">
                <a16:creationId xmlns:a16="http://schemas.microsoft.com/office/drawing/2014/main" id="{AF81FB81-FF18-BBC2-6492-7620A71E253F}"/>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34BA1656-A1F4-C928-82D9-3E90CABC9B58}"/>
              </a:ext>
            </a:extLst>
          </p:cNvPr>
          <p:cNvSpPr/>
          <p:nvPr userDrawn="1"/>
        </p:nvSpPr>
        <p:spPr>
          <a:xfrm>
            <a:off x="0" y="0"/>
            <a:ext cx="12192000" cy="6858000"/>
          </a:xfrm>
          <a:prstGeom prst="rect">
            <a:avLst/>
          </a:prstGeom>
          <a:gradFill flip="none" rotWithShape="1">
            <a:gsLst>
              <a:gs pos="0">
                <a:srgbClr val="040010"/>
              </a:gs>
              <a:gs pos="99000">
                <a:srgbClr val="E1E6EB">
                  <a:alpha val="0"/>
                </a:srgb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F5470F66-68CB-5759-B6F7-6E9BCAB6C367}"/>
              </a:ext>
            </a:extLst>
          </p:cNvPr>
          <p:cNvSpPr>
            <a:spLocks noGrp="1"/>
          </p:cNvSpPr>
          <p:nvPr>
            <p:ph type="body" sz="quarter" idx="13"/>
          </p:nvPr>
        </p:nvSpPr>
        <p:spPr>
          <a:xfrm>
            <a:off x="1419617" y="1974233"/>
            <a:ext cx="8074025" cy="2971800"/>
          </a:xfrm>
          <a:prstGeom prst="rect">
            <a:avLst/>
          </a:prstGeom>
        </p:spPr>
        <p:txBody>
          <a:bodyPr>
            <a:noAutofit/>
          </a:bodyPr>
          <a:lstStyle>
            <a:lvl1pPr>
              <a:defRPr sz="3200"/>
            </a:lvl1pPr>
            <a:lvl2pPr>
              <a:defRPr sz="2800"/>
            </a:lvl2pPr>
            <a:lvl3pPr>
              <a:defRPr sz="2400"/>
            </a:lvl3pPr>
            <a:lvl4pPr>
              <a:defRPr sz="2000"/>
            </a:lvl4pPr>
            <a:lvl5pP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8" name="Straight Connector 17">
            <a:extLst>
              <a:ext uri="{FF2B5EF4-FFF2-40B4-BE49-F238E27FC236}">
                <a16:creationId xmlns:a16="http://schemas.microsoft.com/office/drawing/2014/main" id="{2281AFFB-9450-87C4-EC5E-9F3098E21E8B}"/>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D344B035-4975-BB69-BA44-C6C8A458112E}"/>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0E56A41D-9230-93EC-4D25-1DE55291070C}"/>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white text&#10;&#10;Description automatically generated">
            <a:extLst>
              <a:ext uri="{FF2B5EF4-FFF2-40B4-BE49-F238E27FC236}">
                <a16:creationId xmlns:a16="http://schemas.microsoft.com/office/drawing/2014/main" id="{8828859D-C46D-ECC7-BBF0-2E5698D538AE}"/>
              </a:ext>
            </a:extLst>
          </p:cNvPr>
          <p:cNvPicPr>
            <a:picLocks noChangeAspect="1"/>
          </p:cNvPicPr>
          <p:nvPr userDrawn="1"/>
        </p:nvPicPr>
        <p:blipFill rotWithShape="1">
          <a:blip r:embed="rId3"/>
          <a:srcRect l="15089" t="30009" r="30562" b="32708"/>
          <a:stretch/>
        </p:blipFill>
        <p:spPr>
          <a:xfrm>
            <a:off x="258416" y="241982"/>
            <a:ext cx="2405271" cy="928152"/>
          </a:xfrm>
          <a:prstGeom prst="rect">
            <a:avLst/>
          </a:prstGeom>
        </p:spPr>
      </p:pic>
      <p:sp>
        <p:nvSpPr>
          <p:cNvPr id="2" name="Footer Placeholder 4">
            <a:extLst>
              <a:ext uri="{FF2B5EF4-FFF2-40B4-BE49-F238E27FC236}">
                <a16:creationId xmlns:a16="http://schemas.microsoft.com/office/drawing/2014/main" id="{7D4D1360-1879-2E94-6ACE-4C10C418F427}"/>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bg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Stainless Steel &amp; Raw Materials in an Era of Uncertainty</a:t>
            </a:r>
          </a:p>
        </p:txBody>
      </p:sp>
      <p:sp>
        <p:nvSpPr>
          <p:cNvPr id="6" name="TextBox 5">
            <a:extLst>
              <a:ext uri="{FF2B5EF4-FFF2-40B4-BE49-F238E27FC236}">
                <a16:creationId xmlns:a16="http://schemas.microsoft.com/office/drawing/2014/main" id="{CBE953CF-6B13-24A5-8371-7579E2261CB0}"/>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bg1"/>
                </a:solidFill>
                <a:latin typeface="Garamond" panose="02020404030301010803" pitchFamily="18" charset="0"/>
                <a:ea typeface="Helvetica Neue UltraLight" panose="02000206000000020004" pitchFamily="2" charset="0"/>
              </a:rPr>
              <a:t>expert</a:t>
            </a:r>
            <a:r>
              <a:rPr lang="en-GB" sz="1000" b="0" i="0">
                <a:solidFill>
                  <a:schemeClr val="bg1"/>
                </a:solidFill>
                <a:latin typeface="Helvetica Neue UltraLight" panose="02000206000000020004" pitchFamily="2" charset="0"/>
                <a:ea typeface="Helvetica Neue UltraLight" panose="02000206000000020004" pitchFamily="2" charset="0"/>
              </a:rPr>
              <a:t> </a:t>
            </a:r>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8" name="Slide Number Placeholder 5">
            <a:extLst>
              <a:ext uri="{FF2B5EF4-FFF2-40B4-BE49-F238E27FC236}">
                <a16:creationId xmlns:a16="http://schemas.microsoft.com/office/drawing/2014/main" id="{5C563A37-4CD4-D956-51A3-F62DED14D195}"/>
              </a:ext>
            </a:extLst>
          </p:cNvPr>
          <p:cNvSpPr>
            <a:spLocks noGrp="1"/>
          </p:cNvSpPr>
          <p:nvPr>
            <p:ph type="sldNum" sz="quarter" idx="4"/>
          </p:nvPr>
        </p:nvSpPr>
        <p:spPr>
          <a:xfrm>
            <a:off x="10913166" y="6193231"/>
            <a:ext cx="1133060" cy="544512"/>
          </a:xfrm>
          <a:prstGeom prst="rect">
            <a:avLst/>
          </a:prstGeom>
          <a:ln>
            <a:noFill/>
          </a:ln>
        </p:spPr>
        <p:txBody>
          <a:bodyPr vert="horz" lIns="91440" tIns="45720" rIns="91440" bIns="45720" rtlCol="0" anchor="ctr"/>
          <a:lstStyle>
            <a:lvl1pPr algn="r">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562BA7E0-5F5E-EE41-AE8D-BD30ED9E17AD}" type="slidenum">
              <a:rPr lang="en-GB" smtClean="0"/>
              <a:pPr/>
              <a:t>‹#›</a:t>
            </a:fld>
            <a:endParaRPr lang="en-GB"/>
          </a:p>
        </p:txBody>
      </p:sp>
      <p:sp>
        <p:nvSpPr>
          <p:cNvPr id="5" name="Date Placeholder 3">
            <a:extLst>
              <a:ext uri="{FF2B5EF4-FFF2-40B4-BE49-F238E27FC236}">
                <a16:creationId xmlns:a16="http://schemas.microsoft.com/office/drawing/2014/main" id="{B59CC9A3-027C-D14A-38CB-4117C86C715C}"/>
              </a:ext>
            </a:extLst>
          </p:cNvPr>
          <p:cNvSpPr>
            <a:spLocks noGrp="1"/>
          </p:cNvSpPr>
          <p:nvPr>
            <p:ph type="dt" sz="half" idx="2"/>
          </p:nvPr>
        </p:nvSpPr>
        <p:spPr>
          <a:xfrm>
            <a:off x="5406889" y="6429965"/>
            <a:ext cx="1706400" cy="307778"/>
          </a:xfrm>
          <a:prstGeom prst="rect">
            <a:avLst/>
          </a:prstGeom>
          <a:ln>
            <a:noFill/>
          </a:ln>
        </p:spPr>
        <p:txBody>
          <a:bodyPr vert="horz" lIns="91440" tIns="45720" rIns="91440" bIns="45720" rtlCol="0" anchor="ctr"/>
          <a:lstStyle>
            <a:lvl1pPr algn="l">
              <a:defRPr sz="1200" b="0" i="1">
                <a:solidFill>
                  <a:schemeClr val="bg1"/>
                </a:solidFill>
                <a:latin typeface="Garamond" panose="02020404030301010803" pitchFamily="18" charset="0"/>
                <a:ea typeface="Helvetica Neue" panose="02000503000000020004" pitchFamily="2" charset="0"/>
                <a:cs typeface="Helvetica Neue" panose="02000503000000020004" pitchFamily="2" charset="0"/>
              </a:defRPr>
            </a:lvl1pPr>
          </a:lstStyle>
          <a:p>
            <a:r>
              <a:rPr lang="en-US"/>
              <a:t>October 2025</a:t>
            </a:r>
            <a:endParaRPr lang="en-GB"/>
          </a:p>
        </p:txBody>
      </p:sp>
    </p:spTree>
    <p:extLst>
      <p:ext uri="{BB962C8B-B14F-4D97-AF65-F5344CB8AC3E}">
        <p14:creationId xmlns:p14="http://schemas.microsoft.com/office/powerpoint/2010/main" val="418422608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8_Divider 4">
    <p:spTree>
      <p:nvGrpSpPr>
        <p:cNvPr id="1" name=""/>
        <p:cNvGrpSpPr/>
        <p:nvPr/>
      </p:nvGrpSpPr>
      <p:grpSpPr>
        <a:xfrm>
          <a:off x="0" y="0"/>
          <a:ext cx="0" cy="0"/>
          <a:chOff x="0" y="0"/>
          <a:chExt cx="0" cy="0"/>
        </a:xfrm>
      </p:grpSpPr>
      <p:pic>
        <p:nvPicPr>
          <p:cNvPr id="4" name="Picture 3" descr="A person welding a metal piece&#10;&#10;Description automatically generated">
            <a:extLst>
              <a:ext uri="{FF2B5EF4-FFF2-40B4-BE49-F238E27FC236}">
                <a16:creationId xmlns:a16="http://schemas.microsoft.com/office/drawing/2014/main" id="{B0972B88-04B4-E375-1A56-C449DF9C8AD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34BA1656-A1F4-C928-82D9-3E90CABC9B58}"/>
              </a:ext>
            </a:extLst>
          </p:cNvPr>
          <p:cNvSpPr/>
          <p:nvPr userDrawn="1"/>
        </p:nvSpPr>
        <p:spPr>
          <a:xfrm>
            <a:off x="0" y="0"/>
            <a:ext cx="12192000" cy="6858000"/>
          </a:xfrm>
          <a:prstGeom prst="rect">
            <a:avLst/>
          </a:prstGeom>
          <a:gradFill flip="none" rotWithShape="1">
            <a:gsLst>
              <a:gs pos="0">
                <a:srgbClr val="040010"/>
              </a:gs>
              <a:gs pos="99000">
                <a:srgbClr val="E1E6EB">
                  <a:alpha val="0"/>
                </a:srgb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F5470F66-68CB-5759-B6F7-6E9BCAB6C367}"/>
              </a:ext>
            </a:extLst>
          </p:cNvPr>
          <p:cNvSpPr>
            <a:spLocks noGrp="1"/>
          </p:cNvSpPr>
          <p:nvPr>
            <p:ph type="body" sz="quarter" idx="13"/>
          </p:nvPr>
        </p:nvSpPr>
        <p:spPr>
          <a:xfrm>
            <a:off x="1419617" y="1974233"/>
            <a:ext cx="8074025" cy="2971800"/>
          </a:xfrm>
          <a:prstGeom prst="rect">
            <a:avLst/>
          </a:prstGeom>
        </p:spPr>
        <p:txBody>
          <a:bodyPr>
            <a:noAutofit/>
          </a:bodyPr>
          <a:lstStyle>
            <a:lvl1pPr>
              <a:defRPr sz="3200"/>
            </a:lvl1pPr>
            <a:lvl2pPr>
              <a:defRPr sz="2800"/>
            </a:lvl2pPr>
            <a:lvl3pPr>
              <a:defRPr sz="2400"/>
            </a:lvl3pPr>
            <a:lvl4pPr>
              <a:defRPr sz="2000"/>
            </a:lvl4pPr>
            <a:lvl5pP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8" name="Straight Connector 17">
            <a:extLst>
              <a:ext uri="{FF2B5EF4-FFF2-40B4-BE49-F238E27FC236}">
                <a16:creationId xmlns:a16="http://schemas.microsoft.com/office/drawing/2014/main" id="{2281AFFB-9450-87C4-EC5E-9F3098E21E8B}"/>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D344B035-4975-BB69-BA44-C6C8A458112E}"/>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0E56A41D-9230-93EC-4D25-1DE55291070C}"/>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white text&#10;&#10;Description automatically generated">
            <a:extLst>
              <a:ext uri="{FF2B5EF4-FFF2-40B4-BE49-F238E27FC236}">
                <a16:creationId xmlns:a16="http://schemas.microsoft.com/office/drawing/2014/main" id="{8828859D-C46D-ECC7-BBF0-2E5698D538AE}"/>
              </a:ext>
            </a:extLst>
          </p:cNvPr>
          <p:cNvPicPr>
            <a:picLocks noChangeAspect="1"/>
          </p:cNvPicPr>
          <p:nvPr userDrawn="1"/>
        </p:nvPicPr>
        <p:blipFill rotWithShape="1">
          <a:blip r:embed="rId3"/>
          <a:srcRect l="15089" t="30009" r="30562" b="32708"/>
          <a:stretch/>
        </p:blipFill>
        <p:spPr>
          <a:xfrm>
            <a:off x="258416" y="241982"/>
            <a:ext cx="2405271" cy="928152"/>
          </a:xfrm>
          <a:prstGeom prst="rect">
            <a:avLst/>
          </a:prstGeom>
        </p:spPr>
      </p:pic>
      <p:sp>
        <p:nvSpPr>
          <p:cNvPr id="2" name="Footer Placeholder 4">
            <a:extLst>
              <a:ext uri="{FF2B5EF4-FFF2-40B4-BE49-F238E27FC236}">
                <a16:creationId xmlns:a16="http://schemas.microsoft.com/office/drawing/2014/main" id="{80761AAA-683C-2049-9617-50F0AE41ED2F}"/>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bg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Stainless Steel &amp; Raw Materials in an Era of Uncertainty</a:t>
            </a:r>
          </a:p>
        </p:txBody>
      </p:sp>
      <p:sp>
        <p:nvSpPr>
          <p:cNvPr id="6" name="TextBox 5">
            <a:extLst>
              <a:ext uri="{FF2B5EF4-FFF2-40B4-BE49-F238E27FC236}">
                <a16:creationId xmlns:a16="http://schemas.microsoft.com/office/drawing/2014/main" id="{C1D47B6D-3D0A-D37A-C18D-42FCB2C123BC}"/>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bg1"/>
                </a:solidFill>
                <a:latin typeface="Garamond" panose="02020404030301010803" pitchFamily="18" charset="0"/>
                <a:ea typeface="Helvetica Neue UltraLight" panose="02000206000000020004" pitchFamily="2" charset="0"/>
              </a:rPr>
              <a:t>expert</a:t>
            </a:r>
            <a:r>
              <a:rPr lang="en-GB" sz="1000" b="0" i="0">
                <a:solidFill>
                  <a:schemeClr val="bg1"/>
                </a:solidFill>
                <a:latin typeface="Helvetica Neue UltraLight" panose="02000206000000020004" pitchFamily="2" charset="0"/>
                <a:ea typeface="Helvetica Neue UltraLight" panose="02000206000000020004" pitchFamily="2" charset="0"/>
              </a:rPr>
              <a:t> </a:t>
            </a:r>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8" name="Slide Number Placeholder 5">
            <a:extLst>
              <a:ext uri="{FF2B5EF4-FFF2-40B4-BE49-F238E27FC236}">
                <a16:creationId xmlns:a16="http://schemas.microsoft.com/office/drawing/2014/main" id="{E8F25637-EB8E-8676-BBEA-2364CA29A03D}"/>
              </a:ext>
            </a:extLst>
          </p:cNvPr>
          <p:cNvSpPr>
            <a:spLocks noGrp="1"/>
          </p:cNvSpPr>
          <p:nvPr>
            <p:ph type="sldNum" sz="quarter" idx="4"/>
          </p:nvPr>
        </p:nvSpPr>
        <p:spPr>
          <a:xfrm>
            <a:off x="10913166" y="6193231"/>
            <a:ext cx="1133060" cy="544512"/>
          </a:xfrm>
          <a:prstGeom prst="rect">
            <a:avLst/>
          </a:prstGeom>
          <a:ln>
            <a:noFill/>
          </a:ln>
        </p:spPr>
        <p:txBody>
          <a:bodyPr vert="horz" lIns="91440" tIns="45720" rIns="91440" bIns="45720" rtlCol="0" anchor="ctr"/>
          <a:lstStyle>
            <a:lvl1pPr algn="r">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562BA7E0-5F5E-EE41-AE8D-BD30ED9E17AD}" type="slidenum">
              <a:rPr lang="en-GB" smtClean="0"/>
              <a:pPr/>
              <a:t>‹#›</a:t>
            </a:fld>
            <a:endParaRPr lang="en-GB"/>
          </a:p>
        </p:txBody>
      </p:sp>
      <p:sp>
        <p:nvSpPr>
          <p:cNvPr id="5" name="Date Placeholder 3">
            <a:extLst>
              <a:ext uri="{FF2B5EF4-FFF2-40B4-BE49-F238E27FC236}">
                <a16:creationId xmlns:a16="http://schemas.microsoft.com/office/drawing/2014/main" id="{4266752F-AE37-3614-4D4F-E08623946CBD}"/>
              </a:ext>
            </a:extLst>
          </p:cNvPr>
          <p:cNvSpPr>
            <a:spLocks noGrp="1"/>
          </p:cNvSpPr>
          <p:nvPr>
            <p:ph type="dt" sz="half" idx="2"/>
          </p:nvPr>
        </p:nvSpPr>
        <p:spPr>
          <a:xfrm>
            <a:off x="5406889" y="6429965"/>
            <a:ext cx="1706400" cy="307778"/>
          </a:xfrm>
          <a:prstGeom prst="rect">
            <a:avLst/>
          </a:prstGeom>
          <a:ln>
            <a:noFill/>
          </a:ln>
        </p:spPr>
        <p:txBody>
          <a:bodyPr vert="horz" lIns="91440" tIns="45720" rIns="91440" bIns="45720" rtlCol="0" anchor="ctr"/>
          <a:lstStyle>
            <a:lvl1pPr algn="l">
              <a:defRPr sz="1200" b="0" i="1">
                <a:solidFill>
                  <a:schemeClr val="bg1"/>
                </a:solidFill>
                <a:latin typeface="Garamond" panose="02020404030301010803" pitchFamily="18" charset="0"/>
                <a:ea typeface="Helvetica Neue" panose="02000503000000020004" pitchFamily="2" charset="0"/>
                <a:cs typeface="Helvetica Neue" panose="02000503000000020004" pitchFamily="2" charset="0"/>
              </a:defRPr>
            </a:lvl1pPr>
          </a:lstStyle>
          <a:p>
            <a:r>
              <a:rPr lang="en-US"/>
              <a:t>October 2025</a:t>
            </a:r>
            <a:endParaRPr lang="en-GB"/>
          </a:p>
        </p:txBody>
      </p:sp>
    </p:spTree>
    <p:extLst>
      <p:ext uri="{BB962C8B-B14F-4D97-AF65-F5344CB8AC3E}">
        <p14:creationId xmlns:p14="http://schemas.microsoft.com/office/powerpoint/2010/main" val="180651847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9_Divider 4">
    <p:spTree>
      <p:nvGrpSpPr>
        <p:cNvPr id="1" name=""/>
        <p:cNvGrpSpPr/>
        <p:nvPr/>
      </p:nvGrpSpPr>
      <p:grpSpPr>
        <a:xfrm>
          <a:off x="0" y="0"/>
          <a:ext cx="0" cy="0"/>
          <a:chOff x="0" y="0"/>
          <a:chExt cx="0" cy="0"/>
        </a:xfrm>
      </p:grpSpPr>
      <p:pic>
        <p:nvPicPr>
          <p:cNvPr id="4" name="Picture 3" descr="Silhouette of a construction site with cranes&#10;&#10;Description automatically generated">
            <a:extLst>
              <a:ext uri="{FF2B5EF4-FFF2-40B4-BE49-F238E27FC236}">
                <a16:creationId xmlns:a16="http://schemas.microsoft.com/office/drawing/2014/main" id="{C8AF3974-A7CE-3DAB-404F-E931A370707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34BA1656-A1F4-C928-82D9-3E90CABC9B58}"/>
              </a:ext>
            </a:extLst>
          </p:cNvPr>
          <p:cNvSpPr/>
          <p:nvPr userDrawn="1"/>
        </p:nvSpPr>
        <p:spPr>
          <a:xfrm>
            <a:off x="0" y="0"/>
            <a:ext cx="12192000" cy="6858000"/>
          </a:xfrm>
          <a:prstGeom prst="rect">
            <a:avLst/>
          </a:prstGeom>
          <a:gradFill flip="none" rotWithShape="1">
            <a:gsLst>
              <a:gs pos="0">
                <a:srgbClr val="040010"/>
              </a:gs>
              <a:gs pos="99000">
                <a:srgbClr val="E1E6EB">
                  <a:alpha val="0"/>
                </a:srgb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F5470F66-68CB-5759-B6F7-6E9BCAB6C367}"/>
              </a:ext>
            </a:extLst>
          </p:cNvPr>
          <p:cNvSpPr>
            <a:spLocks noGrp="1"/>
          </p:cNvSpPr>
          <p:nvPr>
            <p:ph type="body" sz="quarter" idx="13"/>
          </p:nvPr>
        </p:nvSpPr>
        <p:spPr>
          <a:xfrm>
            <a:off x="1419617" y="1974233"/>
            <a:ext cx="8074025" cy="2971800"/>
          </a:xfrm>
          <a:prstGeom prst="rect">
            <a:avLst/>
          </a:prstGeom>
        </p:spPr>
        <p:txBody>
          <a:bodyPr>
            <a:noAutofit/>
          </a:bodyPr>
          <a:lstStyle>
            <a:lvl1pPr>
              <a:defRPr sz="3200"/>
            </a:lvl1pPr>
            <a:lvl2pPr>
              <a:defRPr sz="2800"/>
            </a:lvl2pPr>
            <a:lvl3pPr>
              <a:defRPr sz="2400"/>
            </a:lvl3pPr>
            <a:lvl4pPr>
              <a:defRPr sz="2000"/>
            </a:lvl4pPr>
            <a:lvl5pP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8" name="Straight Connector 17">
            <a:extLst>
              <a:ext uri="{FF2B5EF4-FFF2-40B4-BE49-F238E27FC236}">
                <a16:creationId xmlns:a16="http://schemas.microsoft.com/office/drawing/2014/main" id="{2281AFFB-9450-87C4-EC5E-9F3098E21E8B}"/>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D344B035-4975-BB69-BA44-C6C8A458112E}"/>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0E56A41D-9230-93EC-4D25-1DE55291070C}"/>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white text&#10;&#10;Description automatically generated">
            <a:extLst>
              <a:ext uri="{FF2B5EF4-FFF2-40B4-BE49-F238E27FC236}">
                <a16:creationId xmlns:a16="http://schemas.microsoft.com/office/drawing/2014/main" id="{8828859D-C46D-ECC7-BBF0-2E5698D538AE}"/>
              </a:ext>
            </a:extLst>
          </p:cNvPr>
          <p:cNvPicPr>
            <a:picLocks noChangeAspect="1"/>
          </p:cNvPicPr>
          <p:nvPr userDrawn="1"/>
        </p:nvPicPr>
        <p:blipFill rotWithShape="1">
          <a:blip r:embed="rId3"/>
          <a:srcRect l="15089" t="30009" r="30562" b="32708"/>
          <a:stretch/>
        </p:blipFill>
        <p:spPr>
          <a:xfrm>
            <a:off x="258416" y="241982"/>
            <a:ext cx="2405271" cy="928152"/>
          </a:xfrm>
          <a:prstGeom prst="rect">
            <a:avLst/>
          </a:prstGeom>
        </p:spPr>
      </p:pic>
      <p:sp>
        <p:nvSpPr>
          <p:cNvPr id="2" name="Footer Placeholder 4">
            <a:extLst>
              <a:ext uri="{FF2B5EF4-FFF2-40B4-BE49-F238E27FC236}">
                <a16:creationId xmlns:a16="http://schemas.microsoft.com/office/drawing/2014/main" id="{356BAACB-45AB-B020-A7B1-91461F49F7E7}"/>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bg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Stainless Steel &amp; Raw Materials in an Era of Uncertainty</a:t>
            </a:r>
          </a:p>
        </p:txBody>
      </p:sp>
      <p:sp>
        <p:nvSpPr>
          <p:cNvPr id="6" name="TextBox 5">
            <a:extLst>
              <a:ext uri="{FF2B5EF4-FFF2-40B4-BE49-F238E27FC236}">
                <a16:creationId xmlns:a16="http://schemas.microsoft.com/office/drawing/2014/main" id="{FE28904C-9134-FB3B-ED29-422A63AC981E}"/>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bg1"/>
                </a:solidFill>
                <a:latin typeface="Garamond" panose="02020404030301010803" pitchFamily="18" charset="0"/>
                <a:ea typeface="Helvetica Neue UltraLight" panose="02000206000000020004" pitchFamily="2" charset="0"/>
              </a:rPr>
              <a:t>expert</a:t>
            </a:r>
            <a:r>
              <a:rPr lang="en-GB" sz="1000" b="0" i="0">
                <a:solidFill>
                  <a:schemeClr val="bg1"/>
                </a:solidFill>
                <a:latin typeface="Helvetica Neue UltraLight" panose="02000206000000020004" pitchFamily="2" charset="0"/>
                <a:ea typeface="Helvetica Neue UltraLight" panose="02000206000000020004" pitchFamily="2" charset="0"/>
              </a:rPr>
              <a:t> </a:t>
            </a:r>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8" name="Slide Number Placeholder 5">
            <a:extLst>
              <a:ext uri="{FF2B5EF4-FFF2-40B4-BE49-F238E27FC236}">
                <a16:creationId xmlns:a16="http://schemas.microsoft.com/office/drawing/2014/main" id="{CE912CC0-EB82-F6D0-ACFA-E36D661590B2}"/>
              </a:ext>
            </a:extLst>
          </p:cNvPr>
          <p:cNvSpPr>
            <a:spLocks noGrp="1"/>
          </p:cNvSpPr>
          <p:nvPr>
            <p:ph type="sldNum" sz="quarter" idx="4"/>
          </p:nvPr>
        </p:nvSpPr>
        <p:spPr>
          <a:xfrm>
            <a:off x="10913166" y="6193231"/>
            <a:ext cx="1133060" cy="544512"/>
          </a:xfrm>
          <a:prstGeom prst="rect">
            <a:avLst/>
          </a:prstGeom>
          <a:ln>
            <a:noFill/>
          </a:ln>
        </p:spPr>
        <p:txBody>
          <a:bodyPr vert="horz" lIns="91440" tIns="45720" rIns="91440" bIns="45720" rtlCol="0" anchor="ctr"/>
          <a:lstStyle>
            <a:lvl1pPr algn="r">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562BA7E0-5F5E-EE41-AE8D-BD30ED9E17AD}" type="slidenum">
              <a:rPr lang="en-GB" smtClean="0"/>
              <a:pPr/>
              <a:t>‹#›</a:t>
            </a:fld>
            <a:endParaRPr lang="en-GB"/>
          </a:p>
        </p:txBody>
      </p:sp>
      <p:sp>
        <p:nvSpPr>
          <p:cNvPr id="5" name="Date Placeholder 3">
            <a:extLst>
              <a:ext uri="{FF2B5EF4-FFF2-40B4-BE49-F238E27FC236}">
                <a16:creationId xmlns:a16="http://schemas.microsoft.com/office/drawing/2014/main" id="{F59A3220-0D8D-0BF4-A690-80E3EA7F81EC}"/>
              </a:ext>
            </a:extLst>
          </p:cNvPr>
          <p:cNvSpPr>
            <a:spLocks noGrp="1"/>
          </p:cNvSpPr>
          <p:nvPr>
            <p:ph type="dt" sz="half" idx="2"/>
          </p:nvPr>
        </p:nvSpPr>
        <p:spPr>
          <a:xfrm>
            <a:off x="5406889" y="6429965"/>
            <a:ext cx="1706400" cy="307778"/>
          </a:xfrm>
          <a:prstGeom prst="rect">
            <a:avLst/>
          </a:prstGeom>
          <a:ln>
            <a:noFill/>
          </a:ln>
        </p:spPr>
        <p:txBody>
          <a:bodyPr vert="horz" lIns="91440" tIns="45720" rIns="91440" bIns="45720" rtlCol="0" anchor="ctr"/>
          <a:lstStyle>
            <a:lvl1pPr algn="l">
              <a:defRPr sz="1200" b="0" i="1">
                <a:solidFill>
                  <a:schemeClr val="bg1"/>
                </a:solidFill>
                <a:latin typeface="Garamond" panose="02020404030301010803" pitchFamily="18" charset="0"/>
                <a:ea typeface="Helvetica Neue" panose="02000503000000020004" pitchFamily="2" charset="0"/>
                <a:cs typeface="Helvetica Neue" panose="02000503000000020004" pitchFamily="2" charset="0"/>
              </a:defRPr>
            </a:lvl1pPr>
          </a:lstStyle>
          <a:p>
            <a:r>
              <a:rPr lang="en-US"/>
              <a:t>October 2025</a:t>
            </a:r>
            <a:endParaRPr lang="en-GB"/>
          </a:p>
        </p:txBody>
      </p:sp>
    </p:spTree>
    <p:extLst>
      <p:ext uri="{BB962C8B-B14F-4D97-AF65-F5344CB8AC3E}">
        <p14:creationId xmlns:p14="http://schemas.microsoft.com/office/powerpoint/2010/main" val="201510156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0_Divider 4">
    <p:spTree>
      <p:nvGrpSpPr>
        <p:cNvPr id="1" name=""/>
        <p:cNvGrpSpPr/>
        <p:nvPr/>
      </p:nvGrpSpPr>
      <p:grpSpPr>
        <a:xfrm>
          <a:off x="0" y="0"/>
          <a:ext cx="0" cy="0"/>
          <a:chOff x="0" y="0"/>
          <a:chExt cx="0" cy="0"/>
        </a:xfrm>
      </p:grpSpPr>
      <p:pic>
        <p:nvPicPr>
          <p:cNvPr id="4" name="Picture 3" descr="Sparks flying from a machine&#10;&#10;Description automatically generated">
            <a:extLst>
              <a:ext uri="{FF2B5EF4-FFF2-40B4-BE49-F238E27FC236}">
                <a16:creationId xmlns:a16="http://schemas.microsoft.com/office/drawing/2014/main" id="{E7F1A19B-E776-CF2C-B82F-3AC5656717FC}"/>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34BA1656-A1F4-C928-82D9-3E90CABC9B58}"/>
              </a:ext>
            </a:extLst>
          </p:cNvPr>
          <p:cNvSpPr/>
          <p:nvPr userDrawn="1"/>
        </p:nvSpPr>
        <p:spPr>
          <a:xfrm>
            <a:off x="0" y="0"/>
            <a:ext cx="12192000" cy="6858000"/>
          </a:xfrm>
          <a:prstGeom prst="rect">
            <a:avLst/>
          </a:prstGeom>
          <a:gradFill flip="none" rotWithShape="1">
            <a:gsLst>
              <a:gs pos="0">
                <a:srgbClr val="040010"/>
              </a:gs>
              <a:gs pos="99000">
                <a:srgbClr val="E1E6EB">
                  <a:alpha val="0"/>
                </a:srgb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F5470F66-68CB-5759-B6F7-6E9BCAB6C367}"/>
              </a:ext>
            </a:extLst>
          </p:cNvPr>
          <p:cNvSpPr>
            <a:spLocks noGrp="1"/>
          </p:cNvSpPr>
          <p:nvPr>
            <p:ph type="body" sz="quarter" idx="13"/>
          </p:nvPr>
        </p:nvSpPr>
        <p:spPr>
          <a:xfrm>
            <a:off x="1419617" y="1974233"/>
            <a:ext cx="8074025" cy="2971800"/>
          </a:xfrm>
          <a:prstGeom prst="rect">
            <a:avLst/>
          </a:prstGeom>
        </p:spPr>
        <p:txBody>
          <a:bodyPr>
            <a:noAutofit/>
          </a:bodyPr>
          <a:lstStyle>
            <a:lvl1pPr>
              <a:defRPr sz="3200"/>
            </a:lvl1pPr>
            <a:lvl2pPr>
              <a:defRPr sz="2800"/>
            </a:lvl2pPr>
            <a:lvl3pPr>
              <a:defRPr sz="2400"/>
            </a:lvl3pPr>
            <a:lvl4pPr>
              <a:defRPr sz="2000"/>
            </a:lvl4pPr>
            <a:lvl5pP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8" name="Straight Connector 17">
            <a:extLst>
              <a:ext uri="{FF2B5EF4-FFF2-40B4-BE49-F238E27FC236}">
                <a16:creationId xmlns:a16="http://schemas.microsoft.com/office/drawing/2014/main" id="{2281AFFB-9450-87C4-EC5E-9F3098E21E8B}"/>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D344B035-4975-BB69-BA44-C6C8A458112E}"/>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0E56A41D-9230-93EC-4D25-1DE55291070C}"/>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white text&#10;&#10;Description automatically generated">
            <a:extLst>
              <a:ext uri="{FF2B5EF4-FFF2-40B4-BE49-F238E27FC236}">
                <a16:creationId xmlns:a16="http://schemas.microsoft.com/office/drawing/2014/main" id="{8828859D-C46D-ECC7-BBF0-2E5698D538AE}"/>
              </a:ext>
            </a:extLst>
          </p:cNvPr>
          <p:cNvPicPr>
            <a:picLocks noChangeAspect="1"/>
          </p:cNvPicPr>
          <p:nvPr userDrawn="1"/>
        </p:nvPicPr>
        <p:blipFill rotWithShape="1">
          <a:blip r:embed="rId3"/>
          <a:srcRect l="15089" t="30009" r="30562" b="32708"/>
          <a:stretch/>
        </p:blipFill>
        <p:spPr>
          <a:xfrm>
            <a:off x="258416" y="241982"/>
            <a:ext cx="2405271" cy="928152"/>
          </a:xfrm>
          <a:prstGeom prst="rect">
            <a:avLst/>
          </a:prstGeom>
        </p:spPr>
      </p:pic>
      <p:sp>
        <p:nvSpPr>
          <p:cNvPr id="2" name="Footer Placeholder 4">
            <a:extLst>
              <a:ext uri="{FF2B5EF4-FFF2-40B4-BE49-F238E27FC236}">
                <a16:creationId xmlns:a16="http://schemas.microsoft.com/office/drawing/2014/main" id="{972D146F-EB50-D686-6EFF-48E082770057}"/>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bg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Stainless Steel &amp; Raw Materials in an Era of Uncertainty</a:t>
            </a:r>
          </a:p>
        </p:txBody>
      </p:sp>
      <p:sp>
        <p:nvSpPr>
          <p:cNvPr id="6" name="TextBox 5">
            <a:extLst>
              <a:ext uri="{FF2B5EF4-FFF2-40B4-BE49-F238E27FC236}">
                <a16:creationId xmlns:a16="http://schemas.microsoft.com/office/drawing/2014/main" id="{E270CF26-E91B-17E2-FD89-FDA2CB6EEA82}"/>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bg1"/>
                </a:solidFill>
                <a:latin typeface="Garamond" panose="02020404030301010803" pitchFamily="18" charset="0"/>
                <a:ea typeface="Helvetica Neue UltraLight" panose="02000206000000020004" pitchFamily="2" charset="0"/>
              </a:rPr>
              <a:t>expert</a:t>
            </a:r>
            <a:r>
              <a:rPr lang="en-GB" sz="1000" b="0" i="0">
                <a:solidFill>
                  <a:schemeClr val="bg1"/>
                </a:solidFill>
                <a:latin typeface="Helvetica Neue UltraLight" panose="02000206000000020004" pitchFamily="2" charset="0"/>
                <a:ea typeface="Helvetica Neue UltraLight" panose="02000206000000020004" pitchFamily="2" charset="0"/>
              </a:rPr>
              <a:t> </a:t>
            </a:r>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8" name="Slide Number Placeholder 5">
            <a:extLst>
              <a:ext uri="{FF2B5EF4-FFF2-40B4-BE49-F238E27FC236}">
                <a16:creationId xmlns:a16="http://schemas.microsoft.com/office/drawing/2014/main" id="{6FC3F7D6-8232-2650-1339-F82A96B8AA77}"/>
              </a:ext>
            </a:extLst>
          </p:cNvPr>
          <p:cNvSpPr>
            <a:spLocks noGrp="1"/>
          </p:cNvSpPr>
          <p:nvPr>
            <p:ph type="sldNum" sz="quarter" idx="4"/>
          </p:nvPr>
        </p:nvSpPr>
        <p:spPr>
          <a:xfrm>
            <a:off x="10913166" y="6193231"/>
            <a:ext cx="1133060" cy="544512"/>
          </a:xfrm>
          <a:prstGeom prst="rect">
            <a:avLst/>
          </a:prstGeom>
          <a:ln>
            <a:noFill/>
          </a:ln>
        </p:spPr>
        <p:txBody>
          <a:bodyPr vert="horz" lIns="91440" tIns="45720" rIns="91440" bIns="45720" rtlCol="0" anchor="ctr"/>
          <a:lstStyle>
            <a:lvl1pPr algn="r">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562BA7E0-5F5E-EE41-AE8D-BD30ED9E17AD}" type="slidenum">
              <a:rPr lang="en-GB" smtClean="0"/>
              <a:pPr/>
              <a:t>‹#›</a:t>
            </a:fld>
            <a:endParaRPr lang="en-GB"/>
          </a:p>
        </p:txBody>
      </p:sp>
      <p:sp>
        <p:nvSpPr>
          <p:cNvPr id="5" name="Date Placeholder 3">
            <a:extLst>
              <a:ext uri="{FF2B5EF4-FFF2-40B4-BE49-F238E27FC236}">
                <a16:creationId xmlns:a16="http://schemas.microsoft.com/office/drawing/2014/main" id="{899CD440-5E17-4CA3-F02F-E3F3923FD8AF}"/>
              </a:ext>
            </a:extLst>
          </p:cNvPr>
          <p:cNvSpPr>
            <a:spLocks noGrp="1"/>
          </p:cNvSpPr>
          <p:nvPr>
            <p:ph type="dt" sz="half" idx="2"/>
          </p:nvPr>
        </p:nvSpPr>
        <p:spPr>
          <a:xfrm>
            <a:off x="5406889" y="6429965"/>
            <a:ext cx="1706400" cy="307778"/>
          </a:xfrm>
          <a:prstGeom prst="rect">
            <a:avLst/>
          </a:prstGeom>
          <a:ln>
            <a:noFill/>
          </a:ln>
        </p:spPr>
        <p:txBody>
          <a:bodyPr vert="horz" lIns="91440" tIns="45720" rIns="91440" bIns="45720" rtlCol="0" anchor="ctr"/>
          <a:lstStyle>
            <a:lvl1pPr algn="l">
              <a:defRPr sz="1200" b="0" i="1">
                <a:solidFill>
                  <a:schemeClr val="bg1"/>
                </a:solidFill>
                <a:latin typeface="Garamond" panose="02020404030301010803" pitchFamily="18" charset="0"/>
                <a:ea typeface="Helvetica Neue" panose="02000503000000020004" pitchFamily="2" charset="0"/>
                <a:cs typeface="Helvetica Neue" panose="02000503000000020004" pitchFamily="2" charset="0"/>
              </a:defRPr>
            </a:lvl1pPr>
          </a:lstStyle>
          <a:p>
            <a:r>
              <a:rPr lang="en-US"/>
              <a:t>October 2025</a:t>
            </a:r>
            <a:endParaRPr lang="en-GB"/>
          </a:p>
        </p:txBody>
      </p:sp>
    </p:spTree>
    <p:extLst>
      <p:ext uri="{BB962C8B-B14F-4D97-AF65-F5344CB8AC3E}">
        <p14:creationId xmlns:p14="http://schemas.microsoft.com/office/powerpoint/2010/main" val="123426599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1_Divider 4">
    <p:spTree>
      <p:nvGrpSpPr>
        <p:cNvPr id="1" name=""/>
        <p:cNvGrpSpPr/>
        <p:nvPr/>
      </p:nvGrpSpPr>
      <p:grpSpPr>
        <a:xfrm>
          <a:off x="0" y="0"/>
          <a:ext cx="0" cy="0"/>
          <a:chOff x="0" y="0"/>
          <a:chExt cx="0" cy="0"/>
        </a:xfrm>
      </p:grpSpPr>
      <p:pic>
        <p:nvPicPr>
          <p:cNvPr id="4" name="Picture 3" descr="Several batteries in rows&#10;&#10;Description automatically generated">
            <a:extLst>
              <a:ext uri="{FF2B5EF4-FFF2-40B4-BE49-F238E27FC236}">
                <a16:creationId xmlns:a16="http://schemas.microsoft.com/office/drawing/2014/main" id="{D2BAECAE-CC89-B20B-2C5D-F13FB19670E5}"/>
              </a:ext>
            </a:extLst>
          </p:cNvPr>
          <p:cNvPicPr>
            <a:picLocks noChangeAspect="1"/>
          </p:cNvPicPr>
          <p:nvPr userDrawn="1"/>
        </p:nvPicPr>
        <p:blipFill>
          <a:blip r:embed="rId2"/>
          <a:stretch>
            <a:fillRect/>
          </a:stretch>
        </p:blipFill>
        <p:spPr>
          <a:xfrm>
            <a:off x="0" y="-1"/>
            <a:ext cx="12191998" cy="6857999"/>
          </a:xfrm>
          <a:prstGeom prst="rect">
            <a:avLst/>
          </a:prstGeom>
        </p:spPr>
      </p:pic>
      <p:sp>
        <p:nvSpPr>
          <p:cNvPr id="12" name="Rectangle 11">
            <a:extLst>
              <a:ext uri="{FF2B5EF4-FFF2-40B4-BE49-F238E27FC236}">
                <a16:creationId xmlns:a16="http://schemas.microsoft.com/office/drawing/2014/main" id="{34BA1656-A1F4-C928-82D9-3E90CABC9B58}"/>
              </a:ext>
            </a:extLst>
          </p:cNvPr>
          <p:cNvSpPr/>
          <p:nvPr userDrawn="1"/>
        </p:nvSpPr>
        <p:spPr>
          <a:xfrm>
            <a:off x="0" y="0"/>
            <a:ext cx="12192000" cy="6858000"/>
          </a:xfrm>
          <a:prstGeom prst="rect">
            <a:avLst/>
          </a:prstGeom>
          <a:gradFill flip="none" rotWithShape="1">
            <a:gsLst>
              <a:gs pos="0">
                <a:srgbClr val="040010"/>
              </a:gs>
              <a:gs pos="99000">
                <a:srgbClr val="E1E6EB">
                  <a:alpha val="0"/>
                </a:srgb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F5470F66-68CB-5759-B6F7-6E9BCAB6C367}"/>
              </a:ext>
            </a:extLst>
          </p:cNvPr>
          <p:cNvSpPr>
            <a:spLocks noGrp="1"/>
          </p:cNvSpPr>
          <p:nvPr>
            <p:ph type="body" sz="quarter" idx="13"/>
          </p:nvPr>
        </p:nvSpPr>
        <p:spPr>
          <a:xfrm>
            <a:off x="1419617" y="1974233"/>
            <a:ext cx="8074025" cy="2971800"/>
          </a:xfrm>
          <a:prstGeom prst="rect">
            <a:avLst/>
          </a:prstGeom>
        </p:spPr>
        <p:txBody>
          <a:bodyPr>
            <a:noAutofit/>
          </a:bodyPr>
          <a:lstStyle>
            <a:lvl1pPr>
              <a:defRPr sz="3200"/>
            </a:lvl1pPr>
            <a:lvl2pPr>
              <a:defRPr sz="2800"/>
            </a:lvl2pPr>
            <a:lvl3pPr>
              <a:defRPr sz="2400"/>
            </a:lvl3pPr>
            <a:lvl4pPr>
              <a:defRPr sz="2000"/>
            </a:lvl4pPr>
            <a:lvl5pP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8" name="Straight Connector 17">
            <a:extLst>
              <a:ext uri="{FF2B5EF4-FFF2-40B4-BE49-F238E27FC236}">
                <a16:creationId xmlns:a16="http://schemas.microsoft.com/office/drawing/2014/main" id="{2281AFFB-9450-87C4-EC5E-9F3098E21E8B}"/>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D344B035-4975-BB69-BA44-C6C8A458112E}"/>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0E56A41D-9230-93EC-4D25-1DE55291070C}"/>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white text&#10;&#10;Description automatically generated">
            <a:extLst>
              <a:ext uri="{FF2B5EF4-FFF2-40B4-BE49-F238E27FC236}">
                <a16:creationId xmlns:a16="http://schemas.microsoft.com/office/drawing/2014/main" id="{8828859D-C46D-ECC7-BBF0-2E5698D538AE}"/>
              </a:ext>
            </a:extLst>
          </p:cNvPr>
          <p:cNvPicPr>
            <a:picLocks noChangeAspect="1"/>
          </p:cNvPicPr>
          <p:nvPr userDrawn="1"/>
        </p:nvPicPr>
        <p:blipFill rotWithShape="1">
          <a:blip r:embed="rId3"/>
          <a:srcRect l="15089" t="30009" r="30562" b="32708"/>
          <a:stretch/>
        </p:blipFill>
        <p:spPr>
          <a:xfrm>
            <a:off x="258416" y="241982"/>
            <a:ext cx="2405271" cy="928152"/>
          </a:xfrm>
          <a:prstGeom prst="rect">
            <a:avLst/>
          </a:prstGeom>
        </p:spPr>
      </p:pic>
      <p:sp>
        <p:nvSpPr>
          <p:cNvPr id="2" name="Footer Placeholder 4">
            <a:extLst>
              <a:ext uri="{FF2B5EF4-FFF2-40B4-BE49-F238E27FC236}">
                <a16:creationId xmlns:a16="http://schemas.microsoft.com/office/drawing/2014/main" id="{FA65FEE1-1D0E-1F9F-BC06-297C4B38700A}"/>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bg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Stainless Steel &amp; Raw Materials in an Era of Uncertainty</a:t>
            </a:r>
          </a:p>
        </p:txBody>
      </p:sp>
      <p:sp>
        <p:nvSpPr>
          <p:cNvPr id="6" name="TextBox 5">
            <a:extLst>
              <a:ext uri="{FF2B5EF4-FFF2-40B4-BE49-F238E27FC236}">
                <a16:creationId xmlns:a16="http://schemas.microsoft.com/office/drawing/2014/main" id="{7E976442-8D10-845E-E4F7-CA786088D6F2}"/>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bg1"/>
                </a:solidFill>
                <a:latin typeface="Garamond" panose="02020404030301010803" pitchFamily="18" charset="0"/>
                <a:ea typeface="Helvetica Neue UltraLight" panose="02000206000000020004" pitchFamily="2" charset="0"/>
              </a:rPr>
              <a:t>expert</a:t>
            </a:r>
            <a:r>
              <a:rPr lang="en-GB" sz="1000" b="0" i="0">
                <a:solidFill>
                  <a:schemeClr val="bg1"/>
                </a:solidFill>
                <a:latin typeface="Helvetica Neue UltraLight" panose="02000206000000020004" pitchFamily="2" charset="0"/>
                <a:ea typeface="Helvetica Neue UltraLight" panose="02000206000000020004" pitchFamily="2" charset="0"/>
              </a:rPr>
              <a:t> </a:t>
            </a:r>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8" name="Slide Number Placeholder 5">
            <a:extLst>
              <a:ext uri="{FF2B5EF4-FFF2-40B4-BE49-F238E27FC236}">
                <a16:creationId xmlns:a16="http://schemas.microsoft.com/office/drawing/2014/main" id="{B7633B1E-F2F6-F3CD-2840-23CB6E83E45D}"/>
              </a:ext>
            </a:extLst>
          </p:cNvPr>
          <p:cNvSpPr>
            <a:spLocks noGrp="1"/>
          </p:cNvSpPr>
          <p:nvPr>
            <p:ph type="sldNum" sz="quarter" idx="4"/>
          </p:nvPr>
        </p:nvSpPr>
        <p:spPr>
          <a:xfrm>
            <a:off x="10913166" y="6193231"/>
            <a:ext cx="1133060" cy="544512"/>
          </a:xfrm>
          <a:prstGeom prst="rect">
            <a:avLst/>
          </a:prstGeom>
          <a:ln>
            <a:noFill/>
          </a:ln>
        </p:spPr>
        <p:txBody>
          <a:bodyPr vert="horz" lIns="91440" tIns="45720" rIns="91440" bIns="45720" rtlCol="0" anchor="ctr"/>
          <a:lstStyle>
            <a:lvl1pPr algn="r">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562BA7E0-5F5E-EE41-AE8D-BD30ED9E17AD}" type="slidenum">
              <a:rPr lang="en-GB" smtClean="0"/>
              <a:pPr/>
              <a:t>‹#›</a:t>
            </a:fld>
            <a:endParaRPr lang="en-GB"/>
          </a:p>
        </p:txBody>
      </p:sp>
      <p:sp>
        <p:nvSpPr>
          <p:cNvPr id="5" name="Date Placeholder 3">
            <a:extLst>
              <a:ext uri="{FF2B5EF4-FFF2-40B4-BE49-F238E27FC236}">
                <a16:creationId xmlns:a16="http://schemas.microsoft.com/office/drawing/2014/main" id="{AC597AAF-5ADB-179D-8997-DE1F9247F1A9}"/>
              </a:ext>
            </a:extLst>
          </p:cNvPr>
          <p:cNvSpPr>
            <a:spLocks noGrp="1"/>
          </p:cNvSpPr>
          <p:nvPr>
            <p:ph type="dt" sz="half" idx="2"/>
          </p:nvPr>
        </p:nvSpPr>
        <p:spPr>
          <a:xfrm>
            <a:off x="5406889" y="6429965"/>
            <a:ext cx="1706400" cy="307778"/>
          </a:xfrm>
          <a:prstGeom prst="rect">
            <a:avLst/>
          </a:prstGeom>
          <a:ln>
            <a:noFill/>
          </a:ln>
        </p:spPr>
        <p:txBody>
          <a:bodyPr vert="horz" lIns="91440" tIns="45720" rIns="91440" bIns="45720" rtlCol="0" anchor="ctr"/>
          <a:lstStyle>
            <a:lvl1pPr algn="l">
              <a:defRPr sz="1200" b="0" i="1">
                <a:solidFill>
                  <a:schemeClr val="bg1"/>
                </a:solidFill>
                <a:latin typeface="Garamond" panose="02020404030301010803" pitchFamily="18" charset="0"/>
                <a:ea typeface="Helvetica Neue" panose="02000503000000020004" pitchFamily="2" charset="0"/>
                <a:cs typeface="Helvetica Neue" panose="02000503000000020004" pitchFamily="2" charset="0"/>
              </a:defRPr>
            </a:lvl1pPr>
          </a:lstStyle>
          <a:p>
            <a:r>
              <a:rPr lang="en-US"/>
              <a:t>October 2025</a:t>
            </a:r>
            <a:endParaRPr lang="en-GB"/>
          </a:p>
        </p:txBody>
      </p:sp>
    </p:spTree>
    <p:extLst>
      <p:ext uri="{BB962C8B-B14F-4D97-AF65-F5344CB8AC3E}">
        <p14:creationId xmlns:p14="http://schemas.microsoft.com/office/powerpoint/2010/main" val="429235364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2_Divider 4">
    <p:spTree>
      <p:nvGrpSpPr>
        <p:cNvPr id="1" name=""/>
        <p:cNvGrpSpPr/>
        <p:nvPr/>
      </p:nvGrpSpPr>
      <p:grpSpPr>
        <a:xfrm>
          <a:off x="0" y="0"/>
          <a:ext cx="0" cy="0"/>
          <a:chOff x="0" y="0"/>
          <a:chExt cx="0" cy="0"/>
        </a:xfrm>
      </p:grpSpPr>
      <p:pic>
        <p:nvPicPr>
          <p:cNvPr id="4" name="Picture 3" descr="Close up of water droplets on a leaf&#10;&#10;Description automatically generated">
            <a:extLst>
              <a:ext uri="{FF2B5EF4-FFF2-40B4-BE49-F238E27FC236}">
                <a16:creationId xmlns:a16="http://schemas.microsoft.com/office/drawing/2014/main" id="{215D85A5-FB87-82C2-837D-EAB337049D13}"/>
              </a:ext>
            </a:extLst>
          </p:cNvPr>
          <p:cNvPicPr>
            <a:picLocks noChangeAspect="1"/>
          </p:cNvPicPr>
          <p:nvPr userDrawn="1"/>
        </p:nvPicPr>
        <p:blipFill>
          <a:blip r:embed="rId2"/>
          <a:stretch>
            <a:fillRect/>
          </a:stretch>
        </p:blipFill>
        <p:spPr>
          <a:xfrm>
            <a:off x="0" y="-1"/>
            <a:ext cx="12191998" cy="6857999"/>
          </a:xfrm>
          <a:prstGeom prst="rect">
            <a:avLst/>
          </a:prstGeom>
        </p:spPr>
      </p:pic>
      <p:sp>
        <p:nvSpPr>
          <p:cNvPr id="12" name="Rectangle 11">
            <a:extLst>
              <a:ext uri="{FF2B5EF4-FFF2-40B4-BE49-F238E27FC236}">
                <a16:creationId xmlns:a16="http://schemas.microsoft.com/office/drawing/2014/main" id="{34BA1656-A1F4-C928-82D9-3E90CABC9B58}"/>
              </a:ext>
            </a:extLst>
          </p:cNvPr>
          <p:cNvSpPr/>
          <p:nvPr userDrawn="1"/>
        </p:nvSpPr>
        <p:spPr>
          <a:xfrm>
            <a:off x="0" y="0"/>
            <a:ext cx="12192000" cy="6858000"/>
          </a:xfrm>
          <a:prstGeom prst="rect">
            <a:avLst/>
          </a:prstGeom>
          <a:gradFill flip="none" rotWithShape="1">
            <a:gsLst>
              <a:gs pos="0">
                <a:srgbClr val="040010"/>
              </a:gs>
              <a:gs pos="99000">
                <a:srgbClr val="E1E6EB">
                  <a:alpha val="0"/>
                </a:srgb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F5470F66-68CB-5759-B6F7-6E9BCAB6C367}"/>
              </a:ext>
            </a:extLst>
          </p:cNvPr>
          <p:cNvSpPr>
            <a:spLocks noGrp="1"/>
          </p:cNvSpPr>
          <p:nvPr>
            <p:ph type="body" sz="quarter" idx="13"/>
          </p:nvPr>
        </p:nvSpPr>
        <p:spPr>
          <a:xfrm>
            <a:off x="1419617" y="1974233"/>
            <a:ext cx="8074025" cy="2971800"/>
          </a:xfrm>
          <a:prstGeom prst="rect">
            <a:avLst/>
          </a:prstGeom>
        </p:spPr>
        <p:txBody>
          <a:bodyPr>
            <a:noAutofit/>
          </a:bodyPr>
          <a:lstStyle>
            <a:lvl1pPr>
              <a:defRPr sz="3200"/>
            </a:lvl1pPr>
            <a:lvl2pPr>
              <a:defRPr sz="2800"/>
            </a:lvl2pPr>
            <a:lvl3pPr>
              <a:defRPr sz="2400"/>
            </a:lvl3pPr>
            <a:lvl4pPr>
              <a:defRPr sz="2000"/>
            </a:lvl4pPr>
            <a:lvl5pP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8" name="Straight Connector 17">
            <a:extLst>
              <a:ext uri="{FF2B5EF4-FFF2-40B4-BE49-F238E27FC236}">
                <a16:creationId xmlns:a16="http://schemas.microsoft.com/office/drawing/2014/main" id="{2281AFFB-9450-87C4-EC5E-9F3098E21E8B}"/>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D344B035-4975-BB69-BA44-C6C8A458112E}"/>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0E56A41D-9230-93EC-4D25-1DE55291070C}"/>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white text&#10;&#10;Description automatically generated">
            <a:extLst>
              <a:ext uri="{FF2B5EF4-FFF2-40B4-BE49-F238E27FC236}">
                <a16:creationId xmlns:a16="http://schemas.microsoft.com/office/drawing/2014/main" id="{8828859D-C46D-ECC7-BBF0-2E5698D538AE}"/>
              </a:ext>
            </a:extLst>
          </p:cNvPr>
          <p:cNvPicPr>
            <a:picLocks noChangeAspect="1"/>
          </p:cNvPicPr>
          <p:nvPr userDrawn="1"/>
        </p:nvPicPr>
        <p:blipFill rotWithShape="1">
          <a:blip r:embed="rId3"/>
          <a:srcRect l="15089" t="30009" r="30562" b="32708"/>
          <a:stretch/>
        </p:blipFill>
        <p:spPr>
          <a:xfrm>
            <a:off x="258416" y="241982"/>
            <a:ext cx="2405271" cy="928152"/>
          </a:xfrm>
          <a:prstGeom prst="rect">
            <a:avLst/>
          </a:prstGeom>
        </p:spPr>
      </p:pic>
      <p:sp>
        <p:nvSpPr>
          <p:cNvPr id="2" name="Footer Placeholder 4">
            <a:extLst>
              <a:ext uri="{FF2B5EF4-FFF2-40B4-BE49-F238E27FC236}">
                <a16:creationId xmlns:a16="http://schemas.microsoft.com/office/drawing/2014/main" id="{6D1D7E32-86B2-4B45-054F-8485F238CABF}"/>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bg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Stainless Steel &amp; Raw Materials in an Era of Uncertainty</a:t>
            </a:r>
          </a:p>
        </p:txBody>
      </p:sp>
      <p:sp>
        <p:nvSpPr>
          <p:cNvPr id="6" name="TextBox 5">
            <a:extLst>
              <a:ext uri="{FF2B5EF4-FFF2-40B4-BE49-F238E27FC236}">
                <a16:creationId xmlns:a16="http://schemas.microsoft.com/office/drawing/2014/main" id="{1B9C91F9-055B-D107-B422-4A0CECEF86DE}"/>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bg1"/>
                </a:solidFill>
                <a:latin typeface="Garamond" panose="02020404030301010803" pitchFamily="18" charset="0"/>
                <a:ea typeface="Helvetica Neue UltraLight" panose="02000206000000020004" pitchFamily="2" charset="0"/>
              </a:rPr>
              <a:t>expert</a:t>
            </a:r>
            <a:r>
              <a:rPr lang="en-GB" sz="1000" b="0" i="0">
                <a:solidFill>
                  <a:schemeClr val="bg1"/>
                </a:solidFill>
                <a:latin typeface="Helvetica Neue UltraLight" panose="02000206000000020004" pitchFamily="2" charset="0"/>
                <a:ea typeface="Helvetica Neue UltraLight" panose="02000206000000020004" pitchFamily="2" charset="0"/>
              </a:rPr>
              <a:t> </a:t>
            </a:r>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8" name="Slide Number Placeholder 5">
            <a:extLst>
              <a:ext uri="{FF2B5EF4-FFF2-40B4-BE49-F238E27FC236}">
                <a16:creationId xmlns:a16="http://schemas.microsoft.com/office/drawing/2014/main" id="{916C5D98-DEF9-ADF3-C478-D7BBBDA10D0B}"/>
              </a:ext>
            </a:extLst>
          </p:cNvPr>
          <p:cNvSpPr>
            <a:spLocks noGrp="1"/>
          </p:cNvSpPr>
          <p:nvPr>
            <p:ph type="sldNum" sz="quarter" idx="4"/>
          </p:nvPr>
        </p:nvSpPr>
        <p:spPr>
          <a:xfrm>
            <a:off x="10913166" y="6193231"/>
            <a:ext cx="1133060" cy="544512"/>
          </a:xfrm>
          <a:prstGeom prst="rect">
            <a:avLst/>
          </a:prstGeom>
          <a:ln>
            <a:noFill/>
          </a:ln>
        </p:spPr>
        <p:txBody>
          <a:bodyPr vert="horz" lIns="91440" tIns="45720" rIns="91440" bIns="45720" rtlCol="0" anchor="ctr"/>
          <a:lstStyle>
            <a:lvl1pPr algn="r">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562BA7E0-5F5E-EE41-AE8D-BD30ED9E17AD}" type="slidenum">
              <a:rPr lang="en-GB" smtClean="0"/>
              <a:pPr/>
              <a:t>‹#›</a:t>
            </a:fld>
            <a:endParaRPr lang="en-GB"/>
          </a:p>
        </p:txBody>
      </p:sp>
      <p:sp>
        <p:nvSpPr>
          <p:cNvPr id="5" name="Date Placeholder 3">
            <a:extLst>
              <a:ext uri="{FF2B5EF4-FFF2-40B4-BE49-F238E27FC236}">
                <a16:creationId xmlns:a16="http://schemas.microsoft.com/office/drawing/2014/main" id="{FBECEE11-9C2E-EB9F-DA9B-B5DF030A12A0}"/>
              </a:ext>
            </a:extLst>
          </p:cNvPr>
          <p:cNvSpPr>
            <a:spLocks noGrp="1"/>
          </p:cNvSpPr>
          <p:nvPr>
            <p:ph type="dt" sz="half" idx="2"/>
          </p:nvPr>
        </p:nvSpPr>
        <p:spPr>
          <a:xfrm>
            <a:off x="5406889" y="6429965"/>
            <a:ext cx="1706400" cy="307778"/>
          </a:xfrm>
          <a:prstGeom prst="rect">
            <a:avLst/>
          </a:prstGeom>
          <a:ln>
            <a:noFill/>
          </a:ln>
        </p:spPr>
        <p:txBody>
          <a:bodyPr vert="horz" lIns="91440" tIns="45720" rIns="91440" bIns="45720" rtlCol="0" anchor="ctr"/>
          <a:lstStyle>
            <a:lvl1pPr algn="l">
              <a:defRPr sz="1200" b="0" i="1">
                <a:solidFill>
                  <a:schemeClr val="bg1"/>
                </a:solidFill>
                <a:latin typeface="Garamond" panose="02020404030301010803" pitchFamily="18" charset="0"/>
                <a:ea typeface="Helvetica Neue" panose="02000503000000020004" pitchFamily="2" charset="0"/>
                <a:cs typeface="Helvetica Neue" panose="02000503000000020004" pitchFamily="2" charset="0"/>
              </a:defRPr>
            </a:lvl1pPr>
          </a:lstStyle>
          <a:p>
            <a:r>
              <a:rPr lang="en-US"/>
              <a:t>October 2025</a:t>
            </a:r>
            <a:endParaRPr lang="en-GB"/>
          </a:p>
        </p:txBody>
      </p:sp>
    </p:spTree>
    <p:extLst>
      <p:ext uri="{BB962C8B-B14F-4D97-AF65-F5344CB8AC3E}">
        <p14:creationId xmlns:p14="http://schemas.microsoft.com/office/powerpoint/2010/main" val="415099534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3_Divider 4">
    <p:spTree>
      <p:nvGrpSpPr>
        <p:cNvPr id="1" name=""/>
        <p:cNvGrpSpPr/>
        <p:nvPr/>
      </p:nvGrpSpPr>
      <p:grpSpPr>
        <a:xfrm>
          <a:off x="0" y="0"/>
          <a:ext cx="0" cy="0"/>
          <a:chOff x="0" y="0"/>
          <a:chExt cx="0" cy="0"/>
        </a:xfrm>
      </p:grpSpPr>
      <p:pic>
        <p:nvPicPr>
          <p:cNvPr id="4" name="Picture 3" descr="A planet with a blue light&#10;&#10;Description automatically generated with medium confidence">
            <a:extLst>
              <a:ext uri="{FF2B5EF4-FFF2-40B4-BE49-F238E27FC236}">
                <a16:creationId xmlns:a16="http://schemas.microsoft.com/office/drawing/2014/main" id="{8B929C64-C7E4-4060-7939-BBCF932A2E2C}"/>
              </a:ext>
            </a:extLst>
          </p:cNvPr>
          <p:cNvPicPr>
            <a:picLocks noChangeAspect="1"/>
          </p:cNvPicPr>
          <p:nvPr userDrawn="1"/>
        </p:nvPicPr>
        <p:blipFill>
          <a:blip r:embed="rId2"/>
          <a:stretch>
            <a:fillRect/>
          </a:stretch>
        </p:blipFill>
        <p:spPr>
          <a:xfrm>
            <a:off x="0" y="0"/>
            <a:ext cx="12191998" cy="6857999"/>
          </a:xfrm>
          <a:prstGeom prst="rect">
            <a:avLst/>
          </a:prstGeom>
        </p:spPr>
      </p:pic>
      <p:sp>
        <p:nvSpPr>
          <p:cNvPr id="12" name="Rectangle 11">
            <a:extLst>
              <a:ext uri="{FF2B5EF4-FFF2-40B4-BE49-F238E27FC236}">
                <a16:creationId xmlns:a16="http://schemas.microsoft.com/office/drawing/2014/main" id="{34BA1656-A1F4-C928-82D9-3E90CABC9B58}"/>
              </a:ext>
            </a:extLst>
          </p:cNvPr>
          <p:cNvSpPr/>
          <p:nvPr userDrawn="1"/>
        </p:nvSpPr>
        <p:spPr>
          <a:xfrm>
            <a:off x="0" y="0"/>
            <a:ext cx="12192000" cy="6858000"/>
          </a:xfrm>
          <a:prstGeom prst="rect">
            <a:avLst/>
          </a:prstGeom>
          <a:gradFill flip="none" rotWithShape="1">
            <a:gsLst>
              <a:gs pos="0">
                <a:srgbClr val="040010"/>
              </a:gs>
              <a:gs pos="99000">
                <a:srgbClr val="E1E6EB">
                  <a:alpha val="0"/>
                </a:srgb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F5470F66-68CB-5759-B6F7-6E9BCAB6C367}"/>
              </a:ext>
            </a:extLst>
          </p:cNvPr>
          <p:cNvSpPr>
            <a:spLocks noGrp="1"/>
          </p:cNvSpPr>
          <p:nvPr>
            <p:ph type="body" sz="quarter" idx="13"/>
          </p:nvPr>
        </p:nvSpPr>
        <p:spPr>
          <a:xfrm>
            <a:off x="1419617" y="1974233"/>
            <a:ext cx="8074025" cy="2971800"/>
          </a:xfrm>
          <a:prstGeom prst="rect">
            <a:avLst/>
          </a:prstGeom>
        </p:spPr>
        <p:txBody>
          <a:bodyPr>
            <a:noAutofit/>
          </a:bodyPr>
          <a:lstStyle>
            <a:lvl1pPr>
              <a:defRPr sz="3200"/>
            </a:lvl1pPr>
            <a:lvl2pPr>
              <a:defRPr sz="2800"/>
            </a:lvl2pPr>
            <a:lvl3pPr>
              <a:defRPr sz="2400"/>
            </a:lvl3pPr>
            <a:lvl4pPr>
              <a:defRPr sz="2000"/>
            </a:lvl4pPr>
            <a:lvl5pP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8" name="Straight Connector 17">
            <a:extLst>
              <a:ext uri="{FF2B5EF4-FFF2-40B4-BE49-F238E27FC236}">
                <a16:creationId xmlns:a16="http://schemas.microsoft.com/office/drawing/2014/main" id="{2281AFFB-9450-87C4-EC5E-9F3098E21E8B}"/>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D344B035-4975-BB69-BA44-C6C8A458112E}"/>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0E56A41D-9230-93EC-4D25-1DE55291070C}"/>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white text&#10;&#10;Description automatically generated">
            <a:extLst>
              <a:ext uri="{FF2B5EF4-FFF2-40B4-BE49-F238E27FC236}">
                <a16:creationId xmlns:a16="http://schemas.microsoft.com/office/drawing/2014/main" id="{8828859D-C46D-ECC7-BBF0-2E5698D538AE}"/>
              </a:ext>
            </a:extLst>
          </p:cNvPr>
          <p:cNvPicPr>
            <a:picLocks noChangeAspect="1"/>
          </p:cNvPicPr>
          <p:nvPr userDrawn="1"/>
        </p:nvPicPr>
        <p:blipFill rotWithShape="1">
          <a:blip r:embed="rId3"/>
          <a:srcRect l="15089" t="30009" r="30562" b="32708"/>
          <a:stretch/>
        </p:blipFill>
        <p:spPr>
          <a:xfrm>
            <a:off x="258416" y="241982"/>
            <a:ext cx="2405271" cy="928152"/>
          </a:xfrm>
          <a:prstGeom prst="rect">
            <a:avLst/>
          </a:prstGeom>
        </p:spPr>
      </p:pic>
      <p:sp>
        <p:nvSpPr>
          <p:cNvPr id="2" name="Footer Placeholder 4">
            <a:extLst>
              <a:ext uri="{FF2B5EF4-FFF2-40B4-BE49-F238E27FC236}">
                <a16:creationId xmlns:a16="http://schemas.microsoft.com/office/drawing/2014/main" id="{806FE38A-04A9-D697-2974-4432EF0095BC}"/>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bg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Stainless Steel &amp; Raw Materials in an Era of Uncertainty</a:t>
            </a:r>
          </a:p>
        </p:txBody>
      </p:sp>
      <p:sp>
        <p:nvSpPr>
          <p:cNvPr id="6" name="TextBox 5">
            <a:extLst>
              <a:ext uri="{FF2B5EF4-FFF2-40B4-BE49-F238E27FC236}">
                <a16:creationId xmlns:a16="http://schemas.microsoft.com/office/drawing/2014/main" id="{73612313-6A4E-A007-592A-770BCB2DA9BD}"/>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bg1"/>
                </a:solidFill>
                <a:latin typeface="Garamond" panose="02020404030301010803" pitchFamily="18" charset="0"/>
                <a:ea typeface="Helvetica Neue UltraLight" panose="02000206000000020004" pitchFamily="2" charset="0"/>
              </a:rPr>
              <a:t>expert</a:t>
            </a:r>
            <a:r>
              <a:rPr lang="en-GB" sz="1000" b="0" i="0">
                <a:solidFill>
                  <a:schemeClr val="bg1"/>
                </a:solidFill>
                <a:latin typeface="Helvetica Neue UltraLight" panose="02000206000000020004" pitchFamily="2" charset="0"/>
                <a:ea typeface="Helvetica Neue UltraLight" panose="02000206000000020004" pitchFamily="2" charset="0"/>
              </a:rPr>
              <a:t> </a:t>
            </a:r>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8" name="Slide Number Placeholder 5">
            <a:extLst>
              <a:ext uri="{FF2B5EF4-FFF2-40B4-BE49-F238E27FC236}">
                <a16:creationId xmlns:a16="http://schemas.microsoft.com/office/drawing/2014/main" id="{AC129AE7-197B-5999-653E-0987B6FE72B8}"/>
              </a:ext>
            </a:extLst>
          </p:cNvPr>
          <p:cNvSpPr>
            <a:spLocks noGrp="1"/>
          </p:cNvSpPr>
          <p:nvPr>
            <p:ph type="sldNum" sz="quarter" idx="4"/>
          </p:nvPr>
        </p:nvSpPr>
        <p:spPr>
          <a:xfrm>
            <a:off x="10913166" y="6193231"/>
            <a:ext cx="1133060" cy="544512"/>
          </a:xfrm>
          <a:prstGeom prst="rect">
            <a:avLst/>
          </a:prstGeom>
          <a:ln>
            <a:noFill/>
          </a:ln>
        </p:spPr>
        <p:txBody>
          <a:bodyPr vert="horz" lIns="91440" tIns="45720" rIns="91440" bIns="45720" rtlCol="0" anchor="ctr"/>
          <a:lstStyle>
            <a:lvl1pPr algn="r">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562BA7E0-5F5E-EE41-AE8D-BD30ED9E17AD}" type="slidenum">
              <a:rPr lang="en-GB" smtClean="0"/>
              <a:pPr/>
              <a:t>‹#›</a:t>
            </a:fld>
            <a:endParaRPr lang="en-GB"/>
          </a:p>
        </p:txBody>
      </p:sp>
      <p:sp>
        <p:nvSpPr>
          <p:cNvPr id="5" name="Date Placeholder 3">
            <a:extLst>
              <a:ext uri="{FF2B5EF4-FFF2-40B4-BE49-F238E27FC236}">
                <a16:creationId xmlns:a16="http://schemas.microsoft.com/office/drawing/2014/main" id="{F510862A-A9CF-A132-1D07-AF13953B0B22}"/>
              </a:ext>
            </a:extLst>
          </p:cNvPr>
          <p:cNvSpPr>
            <a:spLocks noGrp="1"/>
          </p:cNvSpPr>
          <p:nvPr>
            <p:ph type="dt" sz="half" idx="2"/>
          </p:nvPr>
        </p:nvSpPr>
        <p:spPr>
          <a:xfrm>
            <a:off x="5406889" y="6429965"/>
            <a:ext cx="1706400" cy="307778"/>
          </a:xfrm>
          <a:prstGeom prst="rect">
            <a:avLst/>
          </a:prstGeom>
          <a:ln>
            <a:noFill/>
          </a:ln>
        </p:spPr>
        <p:txBody>
          <a:bodyPr vert="horz" lIns="91440" tIns="45720" rIns="91440" bIns="45720" rtlCol="0" anchor="ctr"/>
          <a:lstStyle>
            <a:lvl1pPr algn="l">
              <a:defRPr sz="1200" b="0" i="1">
                <a:solidFill>
                  <a:schemeClr val="bg1"/>
                </a:solidFill>
                <a:latin typeface="Garamond" panose="02020404030301010803" pitchFamily="18" charset="0"/>
                <a:ea typeface="Helvetica Neue" panose="02000503000000020004" pitchFamily="2" charset="0"/>
                <a:cs typeface="Helvetica Neue" panose="02000503000000020004" pitchFamily="2" charset="0"/>
              </a:defRPr>
            </a:lvl1pPr>
          </a:lstStyle>
          <a:p>
            <a:r>
              <a:rPr lang="en-US"/>
              <a:t>October 2025</a:t>
            </a:r>
            <a:endParaRPr lang="en-GB"/>
          </a:p>
        </p:txBody>
      </p:sp>
    </p:spTree>
    <p:extLst>
      <p:ext uri="{BB962C8B-B14F-4D97-AF65-F5344CB8AC3E}">
        <p14:creationId xmlns:p14="http://schemas.microsoft.com/office/powerpoint/2010/main" val="4117589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4_Divider 4">
    <p:spTree>
      <p:nvGrpSpPr>
        <p:cNvPr id="1" name=""/>
        <p:cNvGrpSpPr/>
        <p:nvPr/>
      </p:nvGrpSpPr>
      <p:grpSpPr>
        <a:xfrm>
          <a:off x="0" y="0"/>
          <a:ext cx="0" cy="0"/>
          <a:chOff x="0" y="0"/>
          <a:chExt cx="0" cy="0"/>
        </a:xfrm>
      </p:grpSpPr>
      <p:pic>
        <p:nvPicPr>
          <p:cNvPr id="4" name="Picture 3" descr="Bubbles in the water with the sun shining through&#10;&#10;Description automatically generated">
            <a:extLst>
              <a:ext uri="{FF2B5EF4-FFF2-40B4-BE49-F238E27FC236}">
                <a16:creationId xmlns:a16="http://schemas.microsoft.com/office/drawing/2014/main" id="{9A74FF93-50B1-649A-19F8-373F5ED6EBE8}"/>
              </a:ext>
            </a:extLst>
          </p:cNvPr>
          <p:cNvPicPr>
            <a:picLocks noChangeAspect="1"/>
          </p:cNvPicPr>
          <p:nvPr userDrawn="1"/>
        </p:nvPicPr>
        <p:blipFill>
          <a:blip r:embed="rId2"/>
          <a:stretch>
            <a:fillRect/>
          </a:stretch>
        </p:blipFill>
        <p:spPr>
          <a:xfrm>
            <a:off x="0" y="-1"/>
            <a:ext cx="12191998" cy="6857999"/>
          </a:xfrm>
          <a:prstGeom prst="rect">
            <a:avLst/>
          </a:prstGeom>
        </p:spPr>
      </p:pic>
      <p:sp>
        <p:nvSpPr>
          <p:cNvPr id="12" name="Rectangle 11">
            <a:extLst>
              <a:ext uri="{FF2B5EF4-FFF2-40B4-BE49-F238E27FC236}">
                <a16:creationId xmlns:a16="http://schemas.microsoft.com/office/drawing/2014/main" id="{34BA1656-A1F4-C928-82D9-3E90CABC9B58}"/>
              </a:ext>
            </a:extLst>
          </p:cNvPr>
          <p:cNvSpPr/>
          <p:nvPr userDrawn="1"/>
        </p:nvSpPr>
        <p:spPr>
          <a:xfrm>
            <a:off x="0" y="0"/>
            <a:ext cx="12192000" cy="6858000"/>
          </a:xfrm>
          <a:prstGeom prst="rect">
            <a:avLst/>
          </a:prstGeom>
          <a:gradFill flip="none" rotWithShape="1">
            <a:gsLst>
              <a:gs pos="0">
                <a:srgbClr val="040010"/>
              </a:gs>
              <a:gs pos="99000">
                <a:srgbClr val="E1E6EB">
                  <a:alpha val="0"/>
                </a:srgb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14" name="Text Placeholder 13">
            <a:extLst>
              <a:ext uri="{FF2B5EF4-FFF2-40B4-BE49-F238E27FC236}">
                <a16:creationId xmlns:a16="http://schemas.microsoft.com/office/drawing/2014/main" id="{F5470F66-68CB-5759-B6F7-6E9BCAB6C367}"/>
              </a:ext>
            </a:extLst>
          </p:cNvPr>
          <p:cNvSpPr>
            <a:spLocks noGrp="1"/>
          </p:cNvSpPr>
          <p:nvPr>
            <p:ph type="body" sz="quarter" idx="13"/>
          </p:nvPr>
        </p:nvSpPr>
        <p:spPr>
          <a:xfrm>
            <a:off x="1419617" y="1974233"/>
            <a:ext cx="8074025" cy="2971800"/>
          </a:xfrm>
          <a:prstGeom prst="rect">
            <a:avLst/>
          </a:prstGeom>
        </p:spPr>
        <p:txBody>
          <a:bodyPr>
            <a:noAutofit/>
          </a:bodyPr>
          <a:lstStyle>
            <a:lvl1pPr>
              <a:defRPr sz="3200"/>
            </a:lvl1pPr>
            <a:lvl2pPr>
              <a:defRPr sz="2800"/>
            </a:lvl2pPr>
            <a:lvl3pPr>
              <a:defRPr sz="2400"/>
            </a:lvl3pPr>
            <a:lvl4pPr>
              <a:defRPr sz="2000"/>
            </a:lvl4pPr>
            <a:lvl5pP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8" name="Straight Connector 17">
            <a:extLst>
              <a:ext uri="{FF2B5EF4-FFF2-40B4-BE49-F238E27FC236}">
                <a16:creationId xmlns:a16="http://schemas.microsoft.com/office/drawing/2014/main" id="{2281AFFB-9450-87C4-EC5E-9F3098E21E8B}"/>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D344B035-4975-BB69-BA44-C6C8A458112E}"/>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0E56A41D-9230-93EC-4D25-1DE55291070C}"/>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white text&#10;&#10;Description automatically generated">
            <a:extLst>
              <a:ext uri="{FF2B5EF4-FFF2-40B4-BE49-F238E27FC236}">
                <a16:creationId xmlns:a16="http://schemas.microsoft.com/office/drawing/2014/main" id="{8828859D-C46D-ECC7-BBF0-2E5698D538AE}"/>
              </a:ext>
            </a:extLst>
          </p:cNvPr>
          <p:cNvPicPr>
            <a:picLocks noChangeAspect="1"/>
          </p:cNvPicPr>
          <p:nvPr userDrawn="1"/>
        </p:nvPicPr>
        <p:blipFill rotWithShape="1">
          <a:blip r:embed="rId3"/>
          <a:srcRect l="15089" t="30009" r="30562" b="32708"/>
          <a:stretch/>
        </p:blipFill>
        <p:spPr>
          <a:xfrm>
            <a:off x="258416" y="241982"/>
            <a:ext cx="2405271" cy="928152"/>
          </a:xfrm>
          <a:prstGeom prst="rect">
            <a:avLst/>
          </a:prstGeom>
        </p:spPr>
      </p:pic>
      <p:sp>
        <p:nvSpPr>
          <p:cNvPr id="2" name="Footer Placeholder 4">
            <a:extLst>
              <a:ext uri="{FF2B5EF4-FFF2-40B4-BE49-F238E27FC236}">
                <a16:creationId xmlns:a16="http://schemas.microsoft.com/office/drawing/2014/main" id="{3C8E66E3-8AC6-F11E-5149-1E393C9E391C}"/>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bg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Stainless Steel &amp; Raw Materials in an Era of Uncertainty</a:t>
            </a:r>
          </a:p>
        </p:txBody>
      </p:sp>
      <p:sp>
        <p:nvSpPr>
          <p:cNvPr id="6" name="TextBox 5">
            <a:extLst>
              <a:ext uri="{FF2B5EF4-FFF2-40B4-BE49-F238E27FC236}">
                <a16:creationId xmlns:a16="http://schemas.microsoft.com/office/drawing/2014/main" id="{C406E930-C446-D7AD-C23E-CEF5B4F8E4C8}"/>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bg1"/>
                </a:solidFill>
                <a:latin typeface="Garamond" panose="02020404030301010803" pitchFamily="18" charset="0"/>
                <a:ea typeface="Helvetica Neue UltraLight" panose="02000206000000020004" pitchFamily="2" charset="0"/>
              </a:rPr>
              <a:t>expert</a:t>
            </a:r>
            <a:r>
              <a:rPr lang="en-GB" sz="1000" b="0" i="0">
                <a:solidFill>
                  <a:schemeClr val="bg1"/>
                </a:solidFill>
                <a:latin typeface="Helvetica Neue UltraLight" panose="02000206000000020004" pitchFamily="2" charset="0"/>
                <a:ea typeface="Helvetica Neue UltraLight" panose="02000206000000020004" pitchFamily="2" charset="0"/>
              </a:rPr>
              <a:t> </a:t>
            </a:r>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8" name="Slide Number Placeholder 5">
            <a:extLst>
              <a:ext uri="{FF2B5EF4-FFF2-40B4-BE49-F238E27FC236}">
                <a16:creationId xmlns:a16="http://schemas.microsoft.com/office/drawing/2014/main" id="{53FBDD26-24BE-58E8-2CDE-D040C2B36CD0}"/>
              </a:ext>
            </a:extLst>
          </p:cNvPr>
          <p:cNvSpPr>
            <a:spLocks noGrp="1"/>
          </p:cNvSpPr>
          <p:nvPr>
            <p:ph type="sldNum" sz="quarter" idx="4"/>
          </p:nvPr>
        </p:nvSpPr>
        <p:spPr>
          <a:xfrm>
            <a:off x="10913166" y="6193231"/>
            <a:ext cx="1133060" cy="544512"/>
          </a:xfrm>
          <a:prstGeom prst="rect">
            <a:avLst/>
          </a:prstGeom>
          <a:ln>
            <a:noFill/>
          </a:ln>
        </p:spPr>
        <p:txBody>
          <a:bodyPr vert="horz" lIns="91440" tIns="45720" rIns="91440" bIns="45720" rtlCol="0" anchor="ctr"/>
          <a:lstStyle>
            <a:lvl1pPr algn="r">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562BA7E0-5F5E-EE41-AE8D-BD30ED9E17AD}" type="slidenum">
              <a:rPr lang="en-GB" smtClean="0"/>
              <a:pPr/>
              <a:t>‹#›</a:t>
            </a:fld>
            <a:endParaRPr lang="en-GB"/>
          </a:p>
        </p:txBody>
      </p:sp>
      <p:sp>
        <p:nvSpPr>
          <p:cNvPr id="5" name="Date Placeholder 3">
            <a:extLst>
              <a:ext uri="{FF2B5EF4-FFF2-40B4-BE49-F238E27FC236}">
                <a16:creationId xmlns:a16="http://schemas.microsoft.com/office/drawing/2014/main" id="{7737D3D3-883A-10F5-AFF9-490A0CDEC17C}"/>
              </a:ext>
            </a:extLst>
          </p:cNvPr>
          <p:cNvSpPr txBox="1">
            <a:spLocks/>
          </p:cNvSpPr>
          <p:nvPr userDrawn="1"/>
        </p:nvSpPr>
        <p:spPr>
          <a:xfrm>
            <a:off x="5406889" y="6429965"/>
            <a:ext cx="1706400" cy="307778"/>
          </a:xfrm>
          <a:prstGeom prst="rect">
            <a:avLst/>
          </a:prstGeom>
          <a:ln>
            <a:noFill/>
          </a:ln>
        </p:spPr>
        <p:txBody>
          <a:bodyPr vert="horz" lIns="91440" tIns="45720" rIns="91440" bIns="45720" rtlCol="0" anchor="ctr"/>
          <a:lstStyle>
            <a:defPPr>
              <a:defRPr lang="en-US"/>
            </a:defPPr>
            <a:lvl1pPr marL="0" algn="l" defTabSz="914400" rtl="0" eaLnBrk="1" latinLnBrk="0" hangingPunct="1">
              <a:defRPr sz="1200" b="0" i="1" kern="1200">
                <a:solidFill>
                  <a:schemeClr val="bg1"/>
                </a:solidFill>
                <a:latin typeface="Garamond" panose="02020404030301010803" pitchFamily="18" charset="0"/>
                <a:ea typeface="Helvetica Neue" panose="02000503000000020004" pitchFamily="2" charset="0"/>
                <a:cs typeface="Helvetica Neue" panose="0200050300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t>Date: </a:t>
            </a:r>
            <a:fld id="{3FBC5742-4920-6148-BBB9-0169CD014D42}" type="datetime3">
              <a:rPr lang="en-GB" smtClean="0"/>
              <a:pPr/>
              <a:t>8 October, 2025</a:t>
            </a:fld>
            <a:endParaRPr lang="en-GB"/>
          </a:p>
        </p:txBody>
      </p:sp>
    </p:spTree>
    <p:extLst>
      <p:ext uri="{BB962C8B-B14F-4D97-AF65-F5344CB8AC3E}">
        <p14:creationId xmlns:p14="http://schemas.microsoft.com/office/powerpoint/2010/main" val="19763176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4 Content + Text -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p:nvPr>
        </p:nvSpPr>
        <p:spPr>
          <a:xfrm>
            <a:off x="413537" y="1251472"/>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4000" y="1618672"/>
            <a:ext cx="3780000" cy="4284000"/>
          </a:xfrm>
          <a:noFill/>
        </p:spPr>
        <p:txBody>
          <a:bodyPr/>
          <a:lstStyle>
            <a:lvl1pPr algn="ctr">
              <a:defRPr b="0"/>
            </a:lvl1pPr>
            <a:lvl5pPr>
              <a:defRPr/>
            </a:lvl5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hasCustomPrompt="1"/>
          </p:nvPr>
        </p:nvSpPr>
        <p:spPr>
          <a:xfrm>
            <a:off x="7998461" y="1251472"/>
            <a:ext cx="3780000" cy="4936100"/>
          </a:xfrm>
          <a:noFill/>
          <a:effectLst/>
        </p:spPr>
        <p:txBody>
          <a:bodyPr vert="horz" lIns="252000" tIns="252000" rIns="252000" bIns="252000" rtlCol="0" anchor="ctr" anchorCtr="0">
            <a:noAutofit/>
          </a:bodyPr>
          <a:lstStyle>
            <a:lvl1pPr>
              <a:defRPr lang="en-US"/>
            </a:lvl1pPr>
            <a:lvl2pPr>
              <a:defRPr lang="en-US"/>
            </a:lvl2pPr>
            <a:lvl3pPr>
              <a:defRPr lang="en-US"/>
            </a:lvl3pPr>
            <a:lvl4pPr>
              <a:defRPr lang="en-US"/>
            </a:lvl4pPr>
            <a:lvl5pPr>
              <a:defRPr lang="en-GB"/>
            </a:lvl5pPr>
          </a:lstStyle>
          <a:p>
            <a:pPr lvl="0"/>
            <a:r>
              <a:rPr lang="en-US"/>
              <a:t>Active Headline</a:t>
            </a:r>
          </a:p>
          <a:p>
            <a:pPr lvl="1"/>
            <a:r>
              <a:rPr lang="en-US"/>
              <a:t>Body text</a:t>
            </a:r>
          </a:p>
          <a:p>
            <a:pPr lvl="2"/>
            <a:r>
              <a:rPr lang="en-US"/>
              <a:t>Bullets</a:t>
            </a:r>
          </a:p>
          <a:p>
            <a:pPr lvl="3"/>
            <a:r>
              <a:rPr lang="en-US"/>
              <a:t>2nd level bullets</a:t>
            </a:r>
          </a:p>
          <a:p>
            <a:pPr lvl="4"/>
            <a:r>
              <a:rPr lang="en-US"/>
              <a:t>Notes tex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7560000" cy="215999"/>
          </a:xfrm>
          <a:noFill/>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13" name="Text Placeholder 5">
            <a:extLst>
              <a:ext uri="{FF2B5EF4-FFF2-40B4-BE49-F238E27FC236}">
                <a16:creationId xmlns:a16="http://schemas.microsoft.com/office/drawing/2014/main" id="{0F05E3CC-77D8-00D4-3892-43359D3D440D}"/>
              </a:ext>
            </a:extLst>
          </p:cNvPr>
          <p:cNvSpPr>
            <a:spLocks noGrp="1"/>
          </p:cNvSpPr>
          <p:nvPr>
            <p:ph type="body" sz="quarter" idx="20"/>
          </p:nvPr>
        </p:nvSpPr>
        <p:spPr>
          <a:xfrm>
            <a:off x="4212000" y="1251472"/>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14" name="Content Placeholder 7">
            <a:extLst>
              <a:ext uri="{FF2B5EF4-FFF2-40B4-BE49-F238E27FC236}">
                <a16:creationId xmlns:a16="http://schemas.microsoft.com/office/drawing/2014/main" id="{CB8F5FCB-FB91-1CC1-0B13-4616C17F6F8D}"/>
              </a:ext>
            </a:extLst>
          </p:cNvPr>
          <p:cNvSpPr>
            <a:spLocks noGrp="1"/>
          </p:cNvSpPr>
          <p:nvPr>
            <p:ph sz="quarter" idx="21" hasCustomPrompt="1"/>
          </p:nvPr>
        </p:nvSpPr>
        <p:spPr>
          <a:xfrm>
            <a:off x="4211999" y="1618672"/>
            <a:ext cx="3780000" cy="4284000"/>
          </a:xfrm>
          <a:noFill/>
        </p:spPr>
        <p:txBody>
          <a:bodyPr/>
          <a:lstStyle>
            <a:lvl1pPr algn="ctr">
              <a:defRPr b="0"/>
            </a:lvl1pPr>
            <a:lvl5pPr>
              <a:defRPr/>
            </a:lvl5pPr>
          </a:lstStyle>
          <a:p>
            <a:pPr lvl="0"/>
            <a:r>
              <a:rPr lang="en-US"/>
              <a:t>Insert Chart</a:t>
            </a:r>
            <a:endParaRPr lang="en-GB"/>
          </a:p>
        </p:txBody>
      </p:sp>
      <p:sp>
        <p:nvSpPr>
          <p:cNvPr id="19" name="Footer Placeholder 4">
            <a:extLst>
              <a:ext uri="{FF2B5EF4-FFF2-40B4-BE49-F238E27FC236}">
                <a16:creationId xmlns:a16="http://schemas.microsoft.com/office/drawing/2014/main" id="{A7EAE299-1F76-73EE-8745-EE23D4D11B09}"/>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Tree>
    <p:extLst>
      <p:ext uri="{BB962C8B-B14F-4D97-AF65-F5344CB8AC3E}">
        <p14:creationId xmlns:p14="http://schemas.microsoft.com/office/powerpoint/2010/main" val="3842463678"/>
      </p:ext>
    </p:extLst>
  </p:cSld>
  <p:clrMapOvr>
    <a:masterClrMapping/>
  </p:clrMapOvr>
  <p:extLst>
    <p:ext uri="{DCECCB84-F9BA-43D5-87BE-67443E8EF086}">
      <p15:sldGuideLst xmlns:p15="http://schemas.microsoft.com/office/powerpoint/2012/main">
        <p15:guide id="1" pos="665">
          <p15:clr>
            <a:srgbClr val="5ACBF0"/>
          </p15:clr>
        </p15:guide>
        <p15:guide id="2" pos="2434">
          <p15:clr>
            <a:srgbClr val="5ACBF0"/>
          </p15:clr>
        </p15:guide>
        <p15:guide id="3" pos="3069">
          <p15:clr>
            <a:srgbClr val="5ACBF0"/>
          </p15:clr>
        </p15:guide>
        <p15:guide id="4" pos="4838">
          <p15:clr>
            <a:srgbClr val="5ACBF0"/>
          </p15:clr>
        </p15:guide>
        <p15:guide id="5" orient="horz" pos="1253">
          <p15:clr>
            <a:srgbClr val="5ACBF0"/>
          </p15:clr>
        </p15:guide>
        <p15:guide id="7" orient="horz" pos="3271">
          <p15:clr>
            <a:srgbClr val="5ACBF0"/>
          </p15:clr>
        </p15:guide>
        <p15:guide id="9" orient="horz" pos="799">
          <p15:clr>
            <a:srgbClr val="F26B43"/>
          </p15:clr>
        </p15:guide>
        <p15:guide id="11" orient="horz" pos="3725">
          <p15:clr>
            <a:srgbClr val="F26B43"/>
          </p15:clr>
        </p15:guide>
        <p15:guide id="12" pos="5042">
          <p15:clr>
            <a:srgbClr val="F26B43"/>
          </p15:clr>
        </p15:guide>
        <p15:guide id="13" pos="2638">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5_Divider 4">
    <p:spTree>
      <p:nvGrpSpPr>
        <p:cNvPr id="1" name=""/>
        <p:cNvGrpSpPr/>
        <p:nvPr/>
      </p:nvGrpSpPr>
      <p:grpSpPr>
        <a:xfrm>
          <a:off x="0" y="0"/>
          <a:ext cx="0" cy="0"/>
          <a:chOff x="0" y="0"/>
          <a:chExt cx="0" cy="0"/>
        </a:xfrm>
      </p:grpSpPr>
      <p:pic>
        <p:nvPicPr>
          <p:cNvPr id="4" name="Picture 3" descr="Close-up of a microphone&#10;&#10;Description automatically generated">
            <a:extLst>
              <a:ext uri="{FF2B5EF4-FFF2-40B4-BE49-F238E27FC236}">
                <a16:creationId xmlns:a16="http://schemas.microsoft.com/office/drawing/2014/main" id="{6CB45A46-4740-8456-23A9-EE088A3313B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34BA1656-A1F4-C928-82D9-3E90CABC9B58}"/>
              </a:ext>
            </a:extLst>
          </p:cNvPr>
          <p:cNvSpPr/>
          <p:nvPr userDrawn="1"/>
        </p:nvSpPr>
        <p:spPr>
          <a:xfrm>
            <a:off x="0" y="0"/>
            <a:ext cx="12192000" cy="6858000"/>
          </a:xfrm>
          <a:prstGeom prst="rect">
            <a:avLst/>
          </a:prstGeom>
          <a:gradFill flip="none" rotWithShape="1">
            <a:gsLst>
              <a:gs pos="0">
                <a:srgbClr val="040010"/>
              </a:gs>
              <a:gs pos="99000">
                <a:srgbClr val="E1E6EB">
                  <a:alpha val="0"/>
                </a:srgb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F5470F66-68CB-5759-B6F7-6E9BCAB6C367}"/>
              </a:ext>
            </a:extLst>
          </p:cNvPr>
          <p:cNvSpPr>
            <a:spLocks noGrp="1"/>
          </p:cNvSpPr>
          <p:nvPr>
            <p:ph type="body" sz="quarter" idx="13"/>
          </p:nvPr>
        </p:nvSpPr>
        <p:spPr>
          <a:xfrm>
            <a:off x="1419617" y="1974233"/>
            <a:ext cx="8074025" cy="2971800"/>
          </a:xfrm>
          <a:prstGeom prst="rect">
            <a:avLst/>
          </a:prstGeom>
        </p:spPr>
        <p:txBody>
          <a:bodyPr>
            <a:noAutofit/>
          </a:bodyPr>
          <a:lstStyle>
            <a:lvl1pPr>
              <a:defRPr sz="3200"/>
            </a:lvl1pPr>
            <a:lvl2pPr>
              <a:defRPr sz="2800"/>
            </a:lvl2pPr>
            <a:lvl3pPr>
              <a:defRPr sz="2400"/>
            </a:lvl3pPr>
            <a:lvl4pPr>
              <a:defRPr sz="2000"/>
            </a:lvl4pPr>
            <a:lvl5pP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8" name="Straight Connector 17">
            <a:extLst>
              <a:ext uri="{FF2B5EF4-FFF2-40B4-BE49-F238E27FC236}">
                <a16:creationId xmlns:a16="http://schemas.microsoft.com/office/drawing/2014/main" id="{2281AFFB-9450-87C4-EC5E-9F3098E21E8B}"/>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D344B035-4975-BB69-BA44-C6C8A458112E}"/>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0E56A41D-9230-93EC-4D25-1DE55291070C}"/>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white text&#10;&#10;Description automatically generated">
            <a:extLst>
              <a:ext uri="{FF2B5EF4-FFF2-40B4-BE49-F238E27FC236}">
                <a16:creationId xmlns:a16="http://schemas.microsoft.com/office/drawing/2014/main" id="{8828859D-C46D-ECC7-BBF0-2E5698D538AE}"/>
              </a:ext>
            </a:extLst>
          </p:cNvPr>
          <p:cNvPicPr>
            <a:picLocks noChangeAspect="1"/>
          </p:cNvPicPr>
          <p:nvPr userDrawn="1"/>
        </p:nvPicPr>
        <p:blipFill rotWithShape="1">
          <a:blip r:embed="rId3"/>
          <a:srcRect l="15089" t="30009" r="30562" b="32708"/>
          <a:stretch/>
        </p:blipFill>
        <p:spPr>
          <a:xfrm>
            <a:off x="258416" y="241982"/>
            <a:ext cx="2405271" cy="928152"/>
          </a:xfrm>
          <a:prstGeom prst="rect">
            <a:avLst/>
          </a:prstGeom>
        </p:spPr>
      </p:pic>
      <p:sp>
        <p:nvSpPr>
          <p:cNvPr id="2" name="Footer Placeholder 4">
            <a:extLst>
              <a:ext uri="{FF2B5EF4-FFF2-40B4-BE49-F238E27FC236}">
                <a16:creationId xmlns:a16="http://schemas.microsoft.com/office/drawing/2014/main" id="{6D05953B-EDAF-6AFC-4794-C54D5B6B68DC}"/>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bg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Stainless Steel &amp; Raw Materials in an Era of Uncertainty</a:t>
            </a:r>
          </a:p>
        </p:txBody>
      </p:sp>
      <p:sp>
        <p:nvSpPr>
          <p:cNvPr id="6" name="TextBox 5">
            <a:extLst>
              <a:ext uri="{FF2B5EF4-FFF2-40B4-BE49-F238E27FC236}">
                <a16:creationId xmlns:a16="http://schemas.microsoft.com/office/drawing/2014/main" id="{6A3BC882-59AB-21B3-90E0-6B9412AA92B3}"/>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bg1"/>
                </a:solidFill>
                <a:latin typeface="Garamond" panose="02020404030301010803" pitchFamily="18" charset="0"/>
                <a:ea typeface="Helvetica Neue UltraLight" panose="02000206000000020004" pitchFamily="2" charset="0"/>
              </a:rPr>
              <a:t>expert</a:t>
            </a:r>
            <a:r>
              <a:rPr lang="en-GB" sz="1000" b="0" i="0">
                <a:solidFill>
                  <a:schemeClr val="bg1"/>
                </a:solidFill>
                <a:latin typeface="Helvetica Neue UltraLight" panose="02000206000000020004" pitchFamily="2" charset="0"/>
                <a:ea typeface="Helvetica Neue UltraLight" panose="02000206000000020004" pitchFamily="2" charset="0"/>
              </a:rPr>
              <a:t> </a:t>
            </a:r>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8" name="Slide Number Placeholder 5">
            <a:extLst>
              <a:ext uri="{FF2B5EF4-FFF2-40B4-BE49-F238E27FC236}">
                <a16:creationId xmlns:a16="http://schemas.microsoft.com/office/drawing/2014/main" id="{8763B74D-127D-0EB6-1295-914CBC0F1275}"/>
              </a:ext>
            </a:extLst>
          </p:cNvPr>
          <p:cNvSpPr>
            <a:spLocks noGrp="1"/>
          </p:cNvSpPr>
          <p:nvPr>
            <p:ph type="sldNum" sz="quarter" idx="4"/>
          </p:nvPr>
        </p:nvSpPr>
        <p:spPr>
          <a:xfrm>
            <a:off x="10913166" y="6193231"/>
            <a:ext cx="1133060" cy="544512"/>
          </a:xfrm>
          <a:prstGeom prst="rect">
            <a:avLst/>
          </a:prstGeom>
          <a:ln>
            <a:noFill/>
          </a:ln>
        </p:spPr>
        <p:txBody>
          <a:bodyPr vert="horz" lIns="91440" tIns="45720" rIns="91440" bIns="45720" rtlCol="0" anchor="ctr"/>
          <a:lstStyle>
            <a:lvl1pPr algn="r">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562BA7E0-5F5E-EE41-AE8D-BD30ED9E17AD}" type="slidenum">
              <a:rPr lang="en-GB" smtClean="0"/>
              <a:pPr/>
              <a:t>‹#›</a:t>
            </a:fld>
            <a:endParaRPr lang="en-GB"/>
          </a:p>
        </p:txBody>
      </p:sp>
      <p:sp>
        <p:nvSpPr>
          <p:cNvPr id="5" name="Date Placeholder 3">
            <a:extLst>
              <a:ext uri="{FF2B5EF4-FFF2-40B4-BE49-F238E27FC236}">
                <a16:creationId xmlns:a16="http://schemas.microsoft.com/office/drawing/2014/main" id="{BC3D7FD2-07DE-1D8F-D83D-1CD76E1ECCFD}"/>
              </a:ext>
            </a:extLst>
          </p:cNvPr>
          <p:cNvSpPr>
            <a:spLocks noGrp="1"/>
          </p:cNvSpPr>
          <p:nvPr>
            <p:ph type="dt" sz="half" idx="2"/>
          </p:nvPr>
        </p:nvSpPr>
        <p:spPr>
          <a:xfrm>
            <a:off x="5406889" y="6429965"/>
            <a:ext cx="1706400" cy="307778"/>
          </a:xfrm>
          <a:prstGeom prst="rect">
            <a:avLst/>
          </a:prstGeom>
          <a:ln>
            <a:noFill/>
          </a:ln>
        </p:spPr>
        <p:txBody>
          <a:bodyPr vert="horz" lIns="91440" tIns="45720" rIns="91440" bIns="45720" rtlCol="0" anchor="ctr"/>
          <a:lstStyle>
            <a:lvl1pPr algn="l">
              <a:defRPr sz="1200" b="0" i="1">
                <a:solidFill>
                  <a:schemeClr val="bg1"/>
                </a:solidFill>
                <a:latin typeface="Garamond" panose="02020404030301010803" pitchFamily="18" charset="0"/>
                <a:ea typeface="Helvetica Neue" panose="02000503000000020004" pitchFamily="2" charset="0"/>
                <a:cs typeface="Helvetica Neue" panose="02000503000000020004" pitchFamily="2" charset="0"/>
              </a:defRPr>
            </a:lvl1pPr>
          </a:lstStyle>
          <a:p>
            <a:r>
              <a:rPr lang="en-US"/>
              <a:t>October 2025</a:t>
            </a:r>
            <a:endParaRPr lang="en-GB"/>
          </a:p>
        </p:txBody>
      </p:sp>
    </p:spTree>
    <p:extLst>
      <p:ext uri="{BB962C8B-B14F-4D97-AF65-F5344CB8AC3E}">
        <p14:creationId xmlns:p14="http://schemas.microsoft.com/office/powerpoint/2010/main" val="88586640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6_Divider 4">
    <p:spTree>
      <p:nvGrpSpPr>
        <p:cNvPr id="1" name=""/>
        <p:cNvGrpSpPr/>
        <p:nvPr/>
      </p:nvGrpSpPr>
      <p:grpSpPr>
        <a:xfrm>
          <a:off x="0" y="0"/>
          <a:ext cx="0" cy="0"/>
          <a:chOff x="0" y="0"/>
          <a:chExt cx="0" cy="0"/>
        </a:xfrm>
      </p:grpSpPr>
      <p:pic>
        <p:nvPicPr>
          <p:cNvPr id="4" name="Picture 3" descr="Close-up of several round metal pipes&#10;&#10;Description automatically generated">
            <a:extLst>
              <a:ext uri="{FF2B5EF4-FFF2-40B4-BE49-F238E27FC236}">
                <a16:creationId xmlns:a16="http://schemas.microsoft.com/office/drawing/2014/main" id="{2654B930-DBE2-69F9-7F9D-B03E5D8EBC56}"/>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34BA1656-A1F4-C928-82D9-3E90CABC9B58}"/>
              </a:ext>
            </a:extLst>
          </p:cNvPr>
          <p:cNvSpPr/>
          <p:nvPr userDrawn="1"/>
        </p:nvSpPr>
        <p:spPr>
          <a:xfrm>
            <a:off x="0" y="0"/>
            <a:ext cx="12192000" cy="6858000"/>
          </a:xfrm>
          <a:prstGeom prst="rect">
            <a:avLst/>
          </a:prstGeom>
          <a:gradFill flip="none" rotWithShape="1">
            <a:gsLst>
              <a:gs pos="0">
                <a:srgbClr val="040010"/>
              </a:gs>
              <a:gs pos="99000">
                <a:srgbClr val="E1E6EB">
                  <a:alpha val="0"/>
                </a:srgb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F5470F66-68CB-5759-B6F7-6E9BCAB6C367}"/>
              </a:ext>
            </a:extLst>
          </p:cNvPr>
          <p:cNvSpPr>
            <a:spLocks noGrp="1"/>
          </p:cNvSpPr>
          <p:nvPr>
            <p:ph type="body" sz="quarter" idx="13"/>
          </p:nvPr>
        </p:nvSpPr>
        <p:spPr>
          <a:xfrm>
            <a:off x="1419617" y="1974233"/>
            <a:ext cx="8074025" cy="2971800"/>
          </a:xfrm>
          <a:prstGeom prst="rect">
            <a:avLst/>
          </a:prstGeom>
        </p:spPr>
        <p:txBody>
          <a:bodyPr>
            <a:noAutofit/>
          </a:bodyPr>
          <a:lstStyle>
            <a:lvl1pPr>
              <a:defRPr sz="3200"/>
            </a:lvl1pPr>
            <a:lvl2pPr>
              <a:defRPr sz="2800"/>
            </a:lvl2pPr>
            <a:lvl3pPr>
              <a:defRPr sz="2400"/>
            </a:lvl3pPr>
            <a:lvl4pPr>
              <a:defRPr sz="2000"/>
            </a:lvl4pPr>
            <a:lvl5pP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8" name="Straight Connector 17">
            <a:extLst>
              <a:ext uri="{FF2B5EF4-FFF2-40B4-BE49-F238E27FC236}">
                <a16:creationId xmlns:a16="http://schemas.microsoft.com/office/drawing/2014/main" id="{2281AFFB-9450-87C4-EC5E-9F3098E21E8B}"/>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D344B035-4975-BB69-BA44-C6C8A458112E}"/>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0E56A41D-9230-93EC-4D25-1DE55291070C}"/>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white text&#10;&#10;Description automatically generated">
            <a:extLst>
              <a:ext uri="{FF2B5EF4-FFF2-40B4-BE49-F238E27FC236}">
                <a16:creationId xmlns:a16="http://schemas.microsoft.com/office/drawing/2014/main" id="{8828859D-C46D-ECC7-BBF0-2E5698D538AE}"/>
              </a:ext>
            </a:extLst>
          </p:cNvPr>
          <p:cNvPicPr>
            <a:picLocks noChangeAspect="1"/>
          </p:cNvPicPr>
          <p:nvPr userDrawn="1"/>
        </p:nvPicPr>
        <p:blipFill rotWithShape="1">
          <a:blip r:embed="rId3"/>
          <a:srcRect l="15089" t="30009" r="30562" b="32708"/>
          <a:stretch/>
        </p:blipFill>
        <p:spPr>
          <a:xfrm>
            <a:off x="258416" y="241982"/>
            <a:ext cx="2405271" cy="928152"/>
          </a:xfrm>
          <a:prstGeom prst="rect">
            <a:avLst/>
          </a:prstGeom>
        </p:spPr>
      </p:pic>
      <p:sp>
        <p:nvSpPr>
          <p:cNvPr id="2" name="Footer Placeholder 4">
            <a:extLst>
              <a:ext uri="{FF2B5EF4-FFF2-40B4-BE49-F238E27FC236}">
                <a16:creationId xmlns:a16="http://schemas.microsoft.com/office/drawing/2014/main" id="{6D7DA9A4-5817-5393-5757-54EA1C402BDB}"/>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bg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Stainless Steel &amp; Raw Materials in an Era of Uncertainty</a:t>
            </a:r>
          </a:p>
        </p:txBody>
      </p:sp>
      <p:sp>
        <p:nvSpPr>
          <p:cNvPr id="6" name="TextBox 5">
            <a:extLst>
              <a:ext uri="{FF2B5EF4-FFF2-40B4-BE49-F238E27FC236}">
                <a16:creationId xmlns:a16="http://schemas.microsoft.com/office/drawing/2014/main" id="{D47DC6C2-FA8F-F59E-6637-888587EADD4E}"/>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bg1"/>
                </a:solidFill>
                <a:latin typeface="Garamond" panose="02020404030301010803" pitchFamily="18" charset="0"/>
                <a:ea typeface="Helvetica Neue UltraLight" panose="02000206000000020004" pitchFamily="2" charset="0"/>
              </a:rPr>
              <a:t>expert</a:t>
            </a:r>
            <a:r>
              <a:rPr lang="en-GB" sz="1000" b="0" i="0">
                <a:solidFill>
                  <a:schemeClr val="bg1"/>
                </a:solidFill>
                <a:latin typeface="Helvetica Neue UltraLight" panose="02000206000000020004" pitchFamily="2" charset="0"/>
                <a:ea typeface="Helvetica Neue UltraLight" panose="02000206000000020004" pitchFamily="2" charset="0"/>
              </a:rPr>
              <a:t> </a:t>
            </a:r>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8" name="Slide Number Placeholder 5">
            <a:extLst>
              <a:ext uri="{FF2B5EF4-FFF2-40B4-BE49-F238E27FC236}">
                <a16:creationId xmlns:a16="http://schemas.microsoft.com/office/drawing/2014/main" id="{2FA08F02-D1EF-F784-FBEB-5D5352EF89A6}"/>
              </a:ext>
            </a:extLst>
          </p:cNvPr>
          <p:cNvSpPr>
            <a:spLocks noGrp="1"/>
          </p:cNvSpPr>
          <p:nvPr>
            <p:ph type="sldNum" sz="quarter" idx="4"/>
          </p:nvPr>
        </p:nvSpPr>
        <p:spPr>
          <a:xfrm>
            <a:off x="10913166" y="6193231"/>
            <a:ext cx="1133060" cy="544512"/>
          </a:xfrm>
          <a:prstGeom prst="rect">
            <a:avLst/>
          </a:prstGeom>
          <a:ln>
            <a:noFill/>
          </a:ln>
        </p:spPr>
        <p:txBody>
          <a:bodyPr vert="horz" lIns="91440" tIns="45720" rIns="91440" bIns="45720" rtlCol="0" anchor="ctr"/>
          <a:lstStyle>
            <a:lvl1pPr algn="r">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562BA7E0-5F5E-EE41-AE8D-BD30ED9E17AD}" type="slidenum">
              <a:rPr lang="en-GB" smtClean="0"/>
              <a:pPr/>
              <a:t>‹#›</a:t>
            </a:fld>
            <a:endParaRPr lang="en-GB"/>
          </a:p>
        </p:txBody>
      </p:sp>
      <p:sp>
        <p:nvSpPr>
          <p:cNvPr id="5" name="Date Placeholder 3">
            <a:extLst>
              <a:ext uri="{FF2B5EF4-FFF2-40B4-BE49-F238E27FC236}">
                <a16:creationId xmlns:a16="http://schemas.microsoft.com/office/drawing/2014/main" id="{0C303248-23D0-C787-4332-667273990205}"/>
              </a:ext>
            </a:extLst>
          </p:cNvPr>
          <p:cNvSpPr>
            <a:spLocks noGrp="1"/>
          </p:cNvSpPr>
          <p:nvPr>
            <p:ph type="dt" sz="half" idx="2"/>
          </p:nvPr>
        </p:nvSpPr>
        <p:spPr>
          <a:xfrm>
            <a:off x="5406889" y="6429965"/>
            <a:ext cx="1706400" cy="307778"/>
          </a:xfrm>
          <a:prstGeom prst="rect">
            <a:avLst/>
          </a:prstGeom>
          <a:ln>
            <a:noFill/>
          </a:ln>
        </p:spPr>
        <p:txBody>
          <a:bodyPr vert="horz" lIns="91440" tIns="45720" rIns="91440" bIns="45720" rtlCol="0" anchor="ctr"/>
          <a:lstStyle>
            <a:lvl1pPr algn="l">
              <a:defRPr sz="1200" b="0" i="1">
                <a:solidFill>
                  <a:schemeClr val="bg1"/>
                </a:solidFill>
                <a:latin typeface="Garamond" panose="02020404030301010803" pitchFamily="18" charset="0"/>
                <a:ea typeface="Helvetica Neue" panose="02000503000000020004" pitchFamily="2" charset="0"/>
                <a:cs typeface="Helvetica Neue" panose="02000503000000020004" pitchFamily="2" charset="0"/>
              </a:defRPr>
            </a:lvl1pPr>
          </a:lstStyle>
          <a:p>
            <a:r>
              <a:rPr lang="en-US"/>
              <a:t>October 2025</a:t>
            </a:r>
            <a:endParaRPr lang="en-GB"/>
          </a:p>
        </p:txBody>
      </p:sp>
    </p:spTree>
    <p:extLst>
      <p:ext uri="{BB962C8B-B14F-4D97-AF65-F5344CB8AC3E}">
        <p14:creationId xmlns:p14="http://schemas.microsoft.com/office/powerpoint/2010/main" val="364207883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7_Divider 4">
    <p:spTree>
      <p:nvGrpSpPr>
        <p:cNvPr id="1" name=""/>
        <p:cNvGrpSpPr/>
        <p:nvPr/>
      </p:nvGrpSpPr>
      <p:grpSpPr>
        <a:xfrm>
          <a:off x="0" y="0"/>
          <a:ext cx="0" cy="0"/>
          <a:chOff x="0" y="0"/>
          <a:chExt cx="0" cy="0"/>
        </a:xfrm>
      </p:grpSpPr>
      <p:pic>
        <p:nvPicPr>
          <p:cNvPr id="4" name="Picture 3" descr="A desert landscape with rocks and a sunset&#10;&#10;Description automatically generated with medium confidence">
            <a:extLst>
              <a:ext uri="{FF2B5EF4-FFF2-40B4-BE49-F238E27FC236}">
                <a16:creationId xmlns:a16="http://schemas.microsoft.com/office/drawing/2014/main" id="{D23F504D-8C86-8B84-4892-08D9257EDADE}"/>
              </a:ext>
            </a:extLst>
          </p:cNvPr>
          <p:cNvPicPr>
            <a:picLocks noChangeAspect="1"/>
          </p:cNvPicPr>
          <p:nvPr userDrawn="1"/>
        </p:nvPicPr>
        <p:blipFill>
          <a:blip r:embed="rId2"/>
          <a:stretch>
            <a:fillRect/>
          </a:stretch>
        </p:blipFill>
        <p:spPr>
          <a:xfrm>
            <a:off x="19725" y="-1"/>
            <a:ext cx="12191998" cy="6857999"/>
          </a:xfrm>
          <a:prstGeom prst="rect">
            <a:avLst/>
          </a:prstGeom>
        </p:spPr>
      </p:pic>
      <p:sp>
        <p:nvSpPr>
          <p:cNvPr id="12" name="Rectangle 11">
            <a:extLst>
              <a:ext uri="{FF2B5EF4-FFF2-40B4-BE49-F238E27FC236}">
                <a16:creationId xmlns:a16="http://schemas.microsoft.com/office/drawing/2014/main" id="{34BA1656-A1F4-C928-82D9-3E90CABC9B58}"/>
              </a:ext>
            </a:extLst>
          </p:cNvPr>
          <p:cNvSpPr/>
          <p:nvPr userDrawn="1"/>
        </p:nvSpPr>
        <p:spPr>
          <a:xfrm>
            <a:off x="0" y="0"/>
            <a:ext cx="12192000" cy="6858000"/>
          </a:xfrm>
          <a:prstGeom prst="rect">
            <a:avLst/>
          </a:prstGeom>
          <a:gradFill flip="none" rotWithShape="1">
            <a:gsLst>
              <a:gs pos="0">
                <a:srgbClr val="040010"/>
              </a:gs>
              <a:gs pos="99000">
                <a:srgbClr val="E1E6EB">
                  <a:alpha val="0"/>
                </a:srgb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F5470F66-68CB-5759-B6F7-6E9BCAB6C367}"/>
              </a:ext>
            </a:extLst>
          </p:cNvPr>
          <p:cNvSpPr>
            <a:spLocks noGrp="1"/>
          </p:cNvSpPr>
          <p:nvPr>
            <p:ph type="body" sz="quarter" idx="13"/>
          </p:nvPr>
        </p:nvSpPr>
        <p:spPr>
          <a:xfrm>
            <a:off x="1419617" y="1974233"/>
            <a:ext cx="8074025" cy="2971800"/>
          </a:xfrm>
          <a:prstGeom prst="rect">
            <a:avLst/>
          </a:prstGeom>
        </p:spPr>
        <p:txBody>
          <a:bodyPr>
            <a:noAutofit/>
          </a:bodyPr>
          <a:lstStyle>
            <a:lvl1pPr>
              <a:defRPr sz="3200"/>
            </a:lvl1pPr>
            <a:lvl2pPr>
              <a:defRPr sz="2800"/>
            </a:lvl2pPr>
            <a:lvl3pPr>
              <a:defRPr sz="2400"/>
            </a:lvl3pPr>
            <a:lvl4pPr>
              <a:defRPr sz="2000"/>
            </a:lvl4pPr>
            <a:lvl5pP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8" name="Straight Connector 17">
            <a:extLst>
              <a:ext uri="{FF2B5EF4-FFF2-40B4-BE49-F238E27FC236}">
                <a16:creationId xmlns:a16="http://schemas.microsoft.com/office/drawing/2014/main" id="{2281AFFB-9450-87C4-EC5E-9F3098E21E8B}"/>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D344B035-4975-BB69-BA44-C6C8A458112E}"/>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0E56A41D-9230-93EC-4D25-1DE55291070C}"/>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white text&#10;&#10;Description automatically generated">
            <a:extLst>
              <a:ext uri="{FF2B5EF4-FFF2-40B4-BE49-F238E27FC236}">
                <a16:creationId xmlns:a16="http://schemas.microsoft.com/office/drawing/2014/main" id="{8828859D-C46D-ECC7-BBF0-2E5698D538AE}"/>
              </a:ext>
            </a:extLst>
          </p:cNvPr>
          <p:cNvPicPr>
            <a:picLocks noChangeAspect="1"/>
          </p:cNvPicPr>
          <p:nvPr userDrawn="1"/>
        </p:nvPicPr>
        <p:blipFill rotWithShape="1">
          <a:blip r:embed="rId3"/>
          <a:srcRect l="15089" t="30009" r="30562" b="32708"/>
          <a:stretch/>
        </p:blipFill>
        <p:spPr>
          <a:xfrm>
            <a:off x="258416" y="241982"/>
            <a:ext cx="2405271" cy="928152"/>
          </a:xfrm>
          <a:prstGeom prst="rect">
            <a:avLst/>
          </a:prstGeom>
        </p:spPr>
      </p:pic>
      <p:sp>
        <p:nvSpPr>
          <p:cNvPr id="2" name="Footer Placeholder 4">
            <a:extLst>
              <a:ext uri="{FF2B5EF4-FFF2-40B4-BE49-F238E27FC236}">
                <a16:creationId xmlns:a16="http://schemas.microsoft.com/office/drawing/2014/main" id="{659B9AD1-957F-0584-7698-0BB8BFD256CF}"/>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bg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Stainless Steel &amp; Raw Materials in an Era of Uncertainty</a:t>
            </a:r>
          </a:p>
        </p:txBody>
      </p:sp>
      <p:sp>
        <p:nvSpPr>
          <p:cNvPr id="6" name="TextBox 5">
            <a:extLst>
              <a:ext uri="{FF2B5EF4-FFF2-40B4-BE49-F238E27FC236}">
                <a16:creationId xmlns:a16="http://schemas.microsoft.com/office/drawing/2014/main" id="{9B85EA9F-1046-BFB1-AC54-4BE2CE645FC6}"/>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bg1"/>
                </a:solidFill>
                <a:latin typeface="Garamond" panose="02020404030301010803" pitchFamily="18" charset="0"/>
                <a:ea typeface="Helvetica Neue UltraLight" panose="02000206000000020004" pitchFamily="2" charset="0"/>
              </a:rPr>
              <a:t>expert</a:t>
            </a:r>
            <a:r>
              <a:rPr lang="en-GB" sz="1000" b="0" i="0">
                <a:solidFill>
                  <a:schemeClr val="bg1"/>
                </a:solidFill>
                <a:latin typeface="Helvetica Neue UltraLight" panose="02000206000000020004" pitchFamily="2" charset="0"/>
                <a:ea typeface="Helvetica Neue UltraLight" panose="02000206000000020004" pitchFamily="2" charset="0"/>
              </a:rPr>
              <a:t> </a:t>
            </a:r>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8" name="Slide Number Placeholder 5">
            <a:extLst>
              <a:ext uri="{FF2B5EF4-FFF2-40B4-BE49-F238E27FC236}">
                <a16:creationId xmlns:a16="http://schemas.microsoft.com/office/drawing/2014/main" id="{8783FFB3-7EDD-D7F1-3E6B-8667CCCB35C4}"/>
              </a:ext>
            </a:extLst>
          </p:cNvPr>
          <p:cNvSpPr>
            <a:spLocks noGrp="1"/>
          </p:cNvSpPr>
          <p:nvPr>
            <p:ph type="sldNum" sz="quarter" idx="4"/>
          </p:nvPr>
        </p:nvSpPr>
        <p:spPr>
          <a:xfrm>
            <a:off x="10913166" y="6193231"/>
            <a:ext cx="1133060" cy="544512"/>
          </a:xfrm>
          <a:prstGeom prst="rect">
            <a:avLst/>
          </a:prstGeom>
          <a:ln>
            <a:noFill/>
          </a:ln>
        </p:spPr>
        <p:txBody>
          <a:bodyPr vert="horz" lIns="91440" tIns="45720" rIns="91440" bIns="45720" rtlCol="0" anchor="ctr"/>
          <a:lstStyle>
            <a:lvl1pPr algn="r">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562BA7E0-5F5E-EE41-AE8D-BD30ED9E17AD}" type="slidenum">
              <a:rPr lang="en-GB" smtClean="0"/>
              <a:pPr/>
              <a:t>‹#›</a:t>
            </a:fld>
            <a:endParaRPr lang="en-GB"/>
          </a:p>
        </p:txBody>
      </p:sp>
      <p:sp>
        <p:nvSpPr>
          <p:cNvPr id="5" name="Date Placeholder 3">
            <a:extLst>
              <a:ext uri="{FF2B5EF4-FFF2-40B4-BE49-F238E27FC236}">
                <a16:creationId xmlns:a16="http://schemas.microsoft.com/office/drawing/2014/main" id="{4693CE18-9FD1-C2D1-DD25-022ABEB7F7C8}"/>
              </a:ext>
            </a:extLst>
          </p:cNvPr>
          <p:cNvSpPr>
            <a:spLocks noGrp="1"/>
          </p:cNvSpPr>
          <p:nvPr>
            <p:ph type="dt" sz="half" idx="2"/>
          </p:nvPr>
        </p:nvSpPr>
        <p:spPr>
          <a:xfrm>
            <a:off x="5406889" y="6429965"/>
            <a:ext cx="1706400" cy="307778"/>
          </a:xfrm>
          <a:prstGeom prst="rect">
            <a:avLst/>
          </a:prstGeom>
          <a:ln>
            <a:noFill/>
          </a:ln>
        </p:spPr>
        <p:txBody>
          <a:bodyPr vert="horz" lIns="91440" tIns="45720" rIns="91440" bIns="45720" rtlCol="0" anchor="ctr"/>
          <a:lstStyle>
            <a:lvl1pPr algn="l">
              <a:defRPr sz="1200" b="0" i="1">
                <a:solidFill>
                  <a:schemeClr val="bg1"/>
                </a:solidFill>
                <a:latin typeface="Garamond" panose="02020404030301010803" pitchFamily="18" charset="0"/>
                <a:ea typeface="Helvetica Neue" panose="02000503000000020004" pitchFamily="2" charset="0"/>
                <a:cs typeface="Helvetica Neue" panose="02000503000000020004" pitchFamily="2" charset="0"/>
              </a:defRPr>
            </a:lvl1pPr>
          </a:lstStyle>
          <a:p>
            <a:r>
              <a:rPr lang="en-US"/>
              <a:t>October 2025</a:t>
            </a:r>
            <a:endParaRPr lang="en-GB"/>
          </a:p>
        </p:txBody>
      </p:sp>
    </p:spTree>
    <p:extLst>
      <p:ext uri="{BB962C8B-B14F-4D97-AF65-F5344CB8AC3E}">
        <p14:creationId xmlns:p14="http://schemas.microsoft.com/office/powerpoint/2010/main" val="1120736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8_Divider 4">
    <p:spTree>
      <p:nvGrpSpPr>
        <p:cNvPr id="1" name=""/>
        <p:cNvGrpSpPr/>
        <p:nvPr/>
      </p:nvGrpSpPr>
      <p:grpSpPr>
        <a:xfrm>
          <a:off x="0" y="0"/>
          <a:ext cx="0" cy="0"/>
          <a:chOff x="0" y="0"/>
          <a:chExt cx="0" cy="0"/>
        </a:xfrm>
      </p:grpSpPr>
      <p:pic>
        <p:nvPicPr>
          <p:cNvPr id="4" name="Picture 3" descr="A close up of a sand&#10;&#10;Description automatically generated">
            <a:extLst>
              <a:ext uri="{FF2B5EF4-FFF2-40B4-BE49-F238E27FC236}">
                <a16:creationId xmlns:a16="http://schemas.microsoft.com/office/drawing/2014/main" id="{7DEF4F4F-06AB-B1BC-896A-B75491D64E37}"/>
              </a:ext>
            </a:extLst>
          </p:cNvPr>
          <p:cNvPicPr>
            <a:picLocks noChangeAspect="1"/>
          </p:cNvPicPr>
          <p:nvPr userDrawn="1"/>
        </p:nvPicPr>
        <p:blipFill>
          <a:blip r:embed="rId2"/>
          <a:stretch>
            <a:fillRect/>
          </a:stretch>
        </p:blipFill>
        <p:spPr>
          <a:xfrm>
            <a:off x="11460" y="-1"/>
            <a:ext cx="12180539" cy="6851553"/>
          </a:xfrm>
          <a:prstGeom prst="rect">
            <a:avLst/>
          </a:prstGeom>
        </p:spPr>
      </p:pic>
      <p:sp>
        <p:nvSpPr>
          <p:cNvPr id="12" name="Rectangle 11">
            <a:extLst>
              <a:ext uri="{FF2B5EF4-FFF2-40B4-BE49-F238E27FC236}">
                <a16:creationId xmlns:a16="http://schemas.microsoft.com/office/drawing/2014/main" id="{34BA1656-A1F4-C928-82D9-3E90CABC9B58}"/>
              </a:ext>
            </a:extLst>
          </p:cNvPr>
          <p:cNvSpPr/>
          <p:nvPr userDrawn="1"/>
        </p:nvSpPr>
        <p:spPr>
          <a:xfrm>
            <a:off x="0" y="0"/>
            <a:ext cx="12192000" cy="6858000"/>
          </a:xfrm>
          <a:prstGeom prst="rect">
            <a:avLst/>
          </a:prstGeom>
          <a:gradFill flip="none" rotWithShape="1">
            <a:gsLst>
              <a:gs pos="0">
                <a:srgbClr val="040010"/>
              </a:gs>
              <a:gs pos="99000">
                <a:srgbClr val="E1E6EB">
                  <a:alpha val="0"/>
                </a:srgb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F5470F66-68CB-5759-B6F7-6E9BCAB6C367}"/>
              </a:ext>
            </a:extLst>
          </p:cNvPr>
          <p:cNvSpPr>
            <a:spLocks noGrp="1"/>
          </p:cNvSpPr>
          <p:nvPr>
            <p:ph type="body" sz="quarter" idx="13"/>
          </p:nvPr>
        </p:nvSpPr>
        <p:spPr>
          <a:xfrm>
            <a:off x="1419617" y="1974233"/>
            <a:ext cx="8074025" cy="2971800"/>
          </a:xfrm>
          <a:prstGeom prst="rect">
            <a:avLst/>
          </a:prstGeom>
        </p:spPr>
        <p:txBody>
          <a:bodyPr>
            <a:noAutofit/>
          </a:bodyPr>
          <a:lstStyle>
            <a:lvl1pPr>
              <a:defRPr sz="3200"/>
            </a:lvl1pPr>
            <a:lvl2pPr>
              <a:defRPr sz="2800"/>
            </a:lvl2pPr>
            <a:lvl3pPr>
              <a:defRPr sz="2400"/>
            </a:lvl3pPr>
            <a:lvl4pPr>
              <a:defRPr sz="2000"/>
            </a:lvl4pPr>
            <a:lvl5pP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8" name="Straight Connector 17">
            <a:extLst>
              <a:ext uri="{FF2B5EF4-FFF2-40B4-BE49-F238E27FC236}">
                <a16:creationId xmlns:a16="http://schemas.microsoft.com/office/drawing/2014/main" id="{2281AFFB-9450-87C4-EC5E-9F3098E21E8B}"/>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D344B035-4975-BB69-BA44-C6C8A458112E}"/>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0E56A41D-9230-93EC-4D25-1DE55291070C}"/>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white text&#10;&#10;Description automatically generated">
            <a:extLst>
              <a:ext uri="{FF2B5EF4-FFF2-40B4-BE49-F238E27FC236}">
                <a16:creationId xmlns:a16="http://schemas.microsoft.com/office/drawing/2014/main" id="{8828859D-C46D-ECC7-BBF0-2E5698D538AE}"/>
              </a:ext>
            </a:extLst>
          </p:cNvPr>
          <p:cNvPicPr>
            <a:picLocks noChangeAspect="1"/>
          </p:cNvPicPr>
          <p:nvPr userDrawn="1"/>
        </p:nvPicPr>
        <p:blipFill rotWithShape="1">
          <a:blip r:embed="rId3"/>
          <a:srcRect l="15089" t="30009" r="30562" b="32708"/>
          <a:stretch/>
        </p:blipFill>
        <p:spPr>
          <a:xfrm>
            <a:off x="258416" y="241982"/>
            <a:ext cx="2405271" cy="928152"/>
          </a:xfrm>
          <a:prstGeom prst="rect">
            <a:avLst/>
          </a:prstGeom>
        </p:spPr>
      </p:pic>
      <p:sp>
        <p:nvSpPr>
          <p:cNvPr id="2" name="Footer Placeholder 4">
            <a:extLst>
              <a:ext uri="{FF2B5EF4-FFF2-40B4-BE49-F238E27FC236}">
                <a16:creationId xmlns:a16="http://schemas.microsoft.com/office/drawing/2014/main" id="{14B4F464-C856-DB53-0610-AFB2A2E16E86}"/>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bg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Stainless Steel &amp; Raw Materials in an Era of Uncertainty</a:t>
            </a:r>
          </a:p>
        </p:txBody>
      </p:sp>
      <p:sp>
        <p:nvSpPr>
          <p:cNvPr id="6" name="TextBox 5">
            <a:extLst>
              <a:ext uri="{FF2B5EF4-FFF2-40B4-BE49-F238E27FC236}">
                <a16:creationId xmlns:a16="http://schemas.microsoft.com/office/drawing/2014/main" id="{3688DF74-F0EC-AE5D-040E-8716877A2A3B}"/>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bg1"/>
                </a:solidFill>
                <a:latin typeface="Garamond" panose="02020404030301010803" pitchFamily="18" charset="0"/>
                <a:ea typeface="Helvetica Neue UltraLight" panose="02000206000000020004" pitchFamily="2" charset="0"/>
              </a:rPr>
              <a:t>expert</a:t>
            </a:r>
            <a:r>
              <a:rPr lang="en-GB" sz="1000" b="0" i="0">
                <a:solidFill>
                  <a:schemeClr val="bg1"/>
                </a:solidFill>
                <a:latin typeface="Helvetica Neue UltraLight" panose="02000206000000020004" pitchFamily="2" charset="0"/>
                <a:ea typeface="Helvetica Neue UltraLight" panose="02000206000000020004" pitchFamily="2" charset="0"/>
              </a:rPr>
              <a:t> </a:t>
            </a:r>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8" name="Slide Number Placeholder 5">
            <a:extLst>
              <a:ext uri="{FF2B5EF4-FFF2-40B4-BE49-F238E27FC236}">
                <a16:creationId xmlns:a16="http://schemas.microsoft.com/office/drawing/2014/main" id="{394C0E50-C58E-4CFC-5737-E5A427C08DF9}"/>
              </a:ext>
            </a:extLst>
          </p:cNvPr>
          <p:cNvSpPr>
            <a:spLocks noGrp="1"/>
          </p:cNvSpPr>
          <p:nvPr>
            <p:ph type="sldNum" sz="quarter" idx="4"/>
          </p:nvPr>
        </p:nvSpPr>
        <p:spPr>
          <a:xfrm>
            <a:off x="10913166" y="6193231"/>
            <a:ext cx="1133060" cy="544512"/>
          </a:xfrm>
          <a:prstGeom prst="rect">
            <a:avLst/>
          </a:prstGeom>
          <a:ln>
            <a:noFill/>
          </a:ln>
        </p:spPr>
        <p:txBody>
          <a:bodyPr vert="horz" lIns="91440" tIns="45720" rIns="91440" bIns="45720" rtlCol="0" anchor="ctr"/>
          <a:lstStyle>
            <a:lvl1pPr algn="r">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562BA7E0-5F5E-EE41-AE8D-BD30ED9E17AD}" type="slidenum">
              <a:rPr lang="en-GB" smtClean="0"/>
              <a:pPr/>
              <a:t>‹#›</a:t>
            </a:fld>
            <a:endParaRPr lang="en-GB"/>
          </a:p>
        </p:txBody>
      </p:sp>
      <p:sp>
        <p:nvSpPr>
          <p:cNvPr id="5" name="Date Placeholder 3">
            <a:extLst>
              <a:ext uri="{FF2B5EF4-FFF2-40B4-BE49-F238E27FC236}">
                <a16:creationId xmlns:a16="http://schemas.microsoft.com/office/drawing/2014/main" id="{1F0D1E63-6756-ACEC-C435-D76D79D81648}"/>
              </a:ext>
            </a:extLst>
          </p:cNvPr>
          <p:cNvSpPr>
            <a:spLocks noGrp="1"/>
          </p:cNvSpPr>
          <p:nvPr>
            <p:ph type="dt" sz="half" idx="2"/>
          </p:nvPr>
        </p:nvSpPr>
        <p:spPr>
          <a:xfrm>
            <a:off x="5406889" y="6429965"/>
            <a:ext cx="1706400" cy="307778"/>
          </a:xfrm>
          <a:prstGeom prst="rect">
            <a:avLst/>
          </a:prstGeom>
          <a:ln>
            <a:noFill/>
          </a:ln>
        </p:spPr>
        <p:txBody>
          <a:bodyPr vert="horz" lIns="91440" tIns="45720" rIns="91440" bIns="45720" rtlCol="0" anchor="ctr"/>
          <a:lstStyle>
            <a:lvl1pPr algn="l">
              <a:defRPr sz="1200" b="0" i="1">
                <a:solidFill>
                  <a:schemeClr val="bg1"/>
                </a:solidFill>
                <a:latin typeface="Garamond" panose="02020404030301010803" pitchFamily="18" charset="0"/>
                <a:ea typeface="Helvetica Neue" panose="02000503000000020004" pitchFamily="2" charset="0"/>
                <a:cs typeface="Helvetica Neue" panose="02000503000000020004" pitchFamily="2" charset="0"/>
              </a:defRPr>
            </a:lvl1pPr>
          </a:lstStyle>
          <a:p>
            <a:r>
              <a:rPr lang="en-US"/>
              <a:t>October 2025</a:t>
            </a:r>
            <a:endParaRPr lang="en-GB"/>
          </a:p>
        </p:txBody>
      </p:sp>
    </p:spTree>
    <p:extLst>
      <p:ext uri="{BB962C8B-B14F-4D97-AF65-F5344CB8AC3E}">
        <p14:creationId xmlns:p14="http://schemas.microsoft.com/office/powerpoint/2010/main" val="59994078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9_Divider 4">
    <p:spTree>
      <p:nvGrpSpPr>
        <p:cNvPr id="1" name=""/>
        <p:cNvGrpSpPr/>
        <p:nvPr/>
      </p:nvGrpSpPr>
      <p:grpSpPr>
        <a:xfrm>
          <a:off x="0" y="0"/>
          <a:ext cx="0" cy="0"/>
          <a:chOff x="0" y="0"/>
          <a:chExt cx="0" cy="0"/>
        </a:xfrm>
      </p:grpSpPr>
      <p:pic>
        <p:nvPicPr>
          <p:cNvPr id="4" name="Picture 3" descr="A bright light in the dark&#10;&#10;Description automatically generated">
            <a:extLst>
              <a:ext uri="{FF2B5EF4-FFF2-40B4-BE49-F238E27FC236}">
                <a16:creationId xmlns:a16="http://schemas.microsoft.com/office/drawing/2014/main" id="{885938FD-D433-02F2-1313-C9C940DF942B}"/>
              </a:ext>
            </a:extLst>
          </p:cNvPr>
          <p:cNvPicPr>
            <a:picLocks noChangeAspect="1"/>
          </p:cNvPicPr>
          <p:nvPr userDrawn="1"/>
        </p:nvPicPr>
        <p:blipFill>
          <a:blip r:embed="rId2"/>
          <a:stretch>
            <a:fillRect/>
          </a:stretch>
        </p:blipFill>
        <p:spPr>
          <a:xfrm>
            <a:off x="29662" y="-1"/>
            <a:ext cx="12162338" cy="6841315"/>
          </a:xfrm>
          <a:prstGeom prst="rect">
            <a:avLst/>
          </a:prstGeom>
        </p:spPr>
      </p:pic>
      <p:sp>
        <p:nvSpPr>
          <p:cNvPr id="12" name="Rectangle 11">
            <a:extLst>
              <a:ext uri="{FF2B5EF4-FFF2-40B4-BE49-F238E27FC236}">
                <a16:creationId xmlns:a16="http://schemas.microsoft.com/office/drawing/2014/main" id="{34BA1656-A1F4-C928-82D9-3E90CABC9B58}"/>
              </a:ext>
            </a:extLst>
          </p:cNvPr>
          <p:cNvSpPr/>
          <p:nvPr userDrawn="1"/>
        </p:nvSpPr>
        <p:spPr>
          <a:xfrm>
            <a:off x="0" y="0"/>
            <a:ext cx="12192000" cy="6858000"/>
          </a:xfrm>
          <a:prstGeom prst="rect">
            <a:avLst/>
          </a:prstGeom>
          <a:gradFill flip="none" rotWithShape="1">
            <a:gsLst>
              <a:gs pos="0">
                <a:srgbClr val="040010"/>
              </a:gs>
              <a:gs pos="99000">
                <a:srgbClr val="E1E6EB">
                  <a:alpha val="0"/>
                </a:srgb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F5470F66-68CB-5759-B6F7-6E9BCAB6C367}"/>
              </a:ext>
            </a:extLst>
          </p:cNvPr>
          <p:cNvSpPr>
            <a:spLocks noGrp="1"/>
          </p:cNvSpPr>
          <p:nvPr>
            <p:ph type="body" sz="quarter" idx="13"/>
          </p:nvPr>
        </p:nvSpPr>
        <p:spPr>
          <a:xfrm>
            <a:off x="1419617" y="1974233"/>
            <a:ext cx="8074025" cy="2971800"/>
          </a:xfrm>
          <a:prstGeom prst="rect">
            <a:avLst/>
          </a:prstGeom>
        </p:spPr>
        <p:txBody>
          <a:bodyPr>
            <a:noAutofit/>
          </a:bodyPr>
          <a:lstStyle>
            <a:lvl1pPr>
              <a:defRPr sz="3200"/>
            </a:lvl1pPr>
            <a:lvl2pPr>
              <a:defRPr sz="2800"/>
            </a:lvl2pPr>
            <a:lvl3pPr>
              <a:defRPr sz="2400"/>
            </a:lvl3pPr>
            <a:lvl4pPr>
              <a:defRPr sz="2000"/>
            </a:lvl4pPr>
            <a:lvl5pP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8" name="Straight Connector 17">
            <a:extLst>
              <a:ext uri="{FF2B5EF4-FFF2-40B4-BE49-F238E27FC236}">
                <a16:creationId xmlns:a16="http://schemas.microsoft.com/office/drawing/2014/main" id="{2281AFFB-9450-87C4-EC5E-9F3098E21E8B}"/>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D344B035-4975-BB69-BA44-C6C8A458112E}"/>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0E56A41D-9230-93EC-4D25-1DE55291070C}"/>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white text&#10;&#10;Description automatically generated">
            <a:extLst>
              <a:ext uri="{FF2B5EF4-FFF2-40B4-BE49-F238E27FC236}">
                <a16:creationId xmlns:a16="http://schemas.microsoft.com/office/drawing/2014/main" id="{8828859D-C46D-ECC7-BBF0-2E5698D538AE}"/>
              </a:ext>
            </a:extLst>
          </p:cNvPr>
          <p:cNvPicPr>
            <a:picLocks noChangeAspect="1"/>
          </p:cNvPicPr>
          <p:nvPr userDrawn="1"/>
        </p:nvPicPr>
        <p:blipFill rotWithShape="1">
          <a:blip r:embed="rId3"/>
          <a:srcRect l="15089" t="30009" r="30562" b="32708"/>
          <a:stretch/>
        </p:blipFill>
        <p:spPr>
          <a:xfrm>
            <a:off x="258416" y="241982"/>
            <a:ext cx="2405271" cy="928152"/>
          </a:xfrm>
          <a:prstGeom prst="rect">
            <a:avLst/>
          </a:prstGeom>
        </p:spPr>
      </p:pic>
      <p:sp>
        <p:nvSpPr>
          <p:cNvPr id="2" name="Footer Placeholder 4">
            <a:extLst>
              <a:ext uri="{FF2B5EF4-FFF2-40B4-BE49-F238E27FC236}">
                <a16:creationId xmlns:a16="http://schemas.microsoft.com/office/drawing/2014/main" id="{A02594F4-5F28-15B1-C5CD-AF4944875D5B}"/>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bg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Stainless Steel &amp; Raw Materials in an Era of Uncertainty</a:t>
            </a:r>
          </a:p>
        </p:txBody>
      </p:sp>
      <p:sp>
        <p:nvSpPr>
          <p:cNvPr id="6" name="TextBox 5">
            <a:extLst>
              <a:ext uri="{FF2B5EF4-FFF2-40B4-BE49-F238E27FC236}">
                <a16:creationId xmlns:a16="http://schemas.microsoft.com/office/drawing/2014/main" id="{D7789BE8-A8C4-CB54-7E5A-5DAC81C416AF}"/>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bg1"/>
                </a:solidFill>
                <a:latin typeface="Garamond" panose="02020404030301010803" pitchFamily="18" charset="0"/>
                <a:ea typeface="Helvetica Neue UltraLight" panose="02000206000000020004" pitchFamily="2" charset="0"/>
              </a:rPr>
              <a:t>expert</a:t>
            </a:r>
            <a:r>
              <a:rPr lang="en-GB" sz="1000" b="0" i="0">
                <a:solidFill>
                  <a:schemeClr val="bg1"/>
                </a:solidFill>
                <a:latin typeface="Helvetica Neue UltraLight" panose="02000206000000020004" pitchFamily="2" charset="0"/>
                <a:ea typeface="Helvetica Neue UltraLight" panose="02000206000000020004" pitchFamily="2" charset="0"/>
              </a:rPr>
              <a:t> </a:t>
            </a:r>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8" name="Slide Number Placeholder 5">
            <a:extLst>
              <a:ext uri="{FF2B5EF4-FFF2-40B4-BE49-F238E27FC236}">
                <a16:creationId xmlns:a16="http://schemas.microsoft.com/office/drawing/2014/main" id="{AFB8C684-D35B-B62E-12E8-95EDD152CCE3}"/>
              </a:ext>
            </a:extLst>
          </p:cNvPr>
          <p:cNvSpPr>
            <a:spLocks noGrp="1"/>
          </p:cNvSpPr>
          <p:nvPr>
            <p:ph type="sldNum" sz="quarter" idx="4"/>
          </p:nvPr>
        </p:nvSpPr>
        <p:spPr>
          <a:xfrm>
            <a:off x="10913166" y="6193231"/>
            <a:ext cx="1133060" cy="544512"/>
          </a:xfrm>
          <a:prstGeom prst="rect">
            <a:avLst/>
          </a:prstGeom>
          <a:ln>
            <a:noFill/>
          </a:ln>
        </p:spPr>
        <p:txBody>
          <a:bodyPr vert="horz" lIns="91440" tIns="45720" rIns="91440" bIns="45720" rtlCol="0" anchor="ctr"/>
          <a:lstStyle>
            <a:lvl1pPr algn="r">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562BA7E0-5F5E-EE41-AE8D-BD30ED9E17AD}" type="slidenum">
              <a:rPr lang="en-GB" smtClean="0"/>
              <a:pPr/>
              <a:t>‹#›</a:t>
            </a:fld>
            <a:endParaRPr lang="en-GB"/>
          </a:p>
        </p:txBody>
      </p:sp>
      <p:sp>
        <p:nvSpPr>
          <p:cNvPr id="5" name="Date Placeholder 3">
            <a:extLst>
              <a:ext uri="{FF2B5EF4-FFF2-40B4-BE49-F238E27FC236}">
                <a16:creationId xmlns:a16="http://schemas.microsoft.com/office/drawing/2014/main" id="{8C4C2CC2-8E86-A233-BDD5-CE9DC2E65C2C}"/>
              </a:ext>
            </a:extLst>
          </p:cNvPr>
          <p:cNvSpPr>
            <a:spLocks noGrp="1"/>
          </p:cNvSpPr>
          <p:nvPr>
            <p:ph type="dt" sz="half" idx="2"/>
          </p:nvPr>
        </p:nvSpPr>
        <p:spPr>
          <a:xfrm>
            <a:off x="5406889" y="6429965"/>
            <a:ext cx="1706400" cy="307778"/>
          </a:xfrm>
          <a:prstGeom prst="rect">
            <a:avLst/>
          </a:prstGeom>
          <a:ln>
            <a:noFill/>
          </a:ln>
        </p:spPr>
        <p:txBody>
          <a:bodyPr vert="horz" lIns="91440" tIns="45720" rIns="91440" bIns="45720" rtlCol="0" anchor="ctr"/>
          <a:lstStyle>
            <a:lvl1pPr algn="l">
              <a:defRPr sz="1200" b="0" i="1">
                <a:solidFill>
                  <a:schemeClr val="bg1"/>
                </a:solidFill>
                <a:latin typeface="Garamond" panose="02020404030301010803" pitchFamily="18" charset="0"/>
                <a:ea typeface="Helvetica Neue" panose="02000503000000020004" pitchFamily="2" charset="0"/>
                <a:cs typeface="Helvetica Neue" panose="02000503000000020004" pitchFamily="2" charset="0"/>
              </a:defRPr>
            </a:lvl1pPr>
          </a:lstStyle>
          <a:p>
            <a:r>
              <a:rPr lang="en-US"/>
              <a:t>October 2025</a:t>
            </a:r>
            <a:endParaRPr lang="en-GB"/>
          </a:p>
        </p:txBody>
      </p:sp>
    </p:spTree>
    <p:extLst>
      <p:ext uri="{BB962C8B-B14F-4D97-AF65-F5344CB8AC3E}">
        <p14:creationId xmlns:p14="http://schemas.microsoft.com/office/powerpoint/2010/main" val="329603638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30_Divider 4">
    <p:spTree>
      <p:nvGrpSpPr>
        <p:cNvPr id="1" name=""/>
        <p:cNvGrpSpPr/>
        <p:nvPr/>
      </p:nvGrpSpPr>
      <p:grpSpPr>
        <a:xfrm>
          <a:off x="0" y="0"/>
          <a:ext cx="0" cy="0"/>
          <a:chOff x="0" y="0"/>
          <a:chExt cx="0" cy="0"/>
        </a:xfrm>
      </p:grpSpPr>
      <p:pic>
        <p:nvPicPr>
          <p:cNvPr id="4" name="Picture 3" descr="A wind turbine in the sky&#10;&#10;Description automatically generated">
            <a:extLst>
              <a:ext uri="{FF2B5EF4-FFF2-40B4-BE49-F238E27FC236}">
                <a16:creationId xmlns:a16="http://schemas.microsoft.com/office/drawing/2014/main" id="{7C5A457E-B11A-9D02-0F66-58DF4399927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34BA1656-A1F4-C928-82D9-3E90CABC9B58}"/>
              </a:ext>
            </a:extLst>
          </p:cNvPr>
          <p:cNvSpPr/>
          <p:nvPr userDrawn="1"/>
        </p:nvSpPr>
        <p:spPr>
          <a:xfrm>
            <a:off x="0" y="0"/>
            <a:ext cx="12192000" cy="6858000"/>
          </a:xfrm>
          <a:prstGeom prst="rect">
            <a:avLst/>
          </a:prstGeom>
          <a:gradFill flip="none" rotWithShape="1">
            <a:gsLst>
              <a:gs pos="0">
                <a:srgbClr val="040010"/>
              </a:gs>
              <a:gs pos="99000">
                <a:srgbClr val="E1E6EB">
                  <a:alpha val="0"/>
                </a:srgb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F5470F66-68CB-5759-B6F7-6E9BCAB6C367}"/>
              </a:ext>
            </a:extLst>
          </p:cNvPr>
          <p:cNvSpPr>
            <a:spLocks noGrp="1"/>
          </p:cNvSpPr>
          <p:nvPr>
            <p:ph type="body" sz="quarter" idx="13"/>
          </p:nvPr>
        </p:nvSpPr>
        <p:spPr>
          <a:xfrm>
            <a:off x="1419617" y="1974233"/>
            <a:ext cx="8074025" cy="2971800"/>
          </a:xfrm>
          <a:prstGeom prst="rect">
            <a:avLst/>
          </a:prstGeom>
        </p:spPr>
        <p:txBody>
          <a:bodyPr>
            <a:noAutofit/>
          </a:bodyPr>
          <a:lstStyle>
            <a:lvl1pPr>
              <a:defRPr sz="3200"/>
            </a:lvl1pPr>
            <a:lvl2pPr>
              <a:defRPr sz="2800"/>
            </a:lvl2pPr>
            <a:lvl3pPr>
              <a:defRPr sz="2400"/>
            </a:lvl3pPr>
            <a:lvl4pPr>
              <a:defRPr sz="2000"/>
            </a:lvl4pPr>
            <a:lvl5pP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8" name="Straight Connector 17">
            <a:extLst>
              <a:ext uri="{FF2B5EF4-FFF2-40B4-BE49-F238E27FC236}">
                <a16:creationId xmlns:a16="http://schemas.microsoft.com/office/drawing/2014/main" id="{2281AFFB-9450-87C4-EC5E-9F3098E21E8B}"/>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D344B035-4975-BB69-BA44-C6C8A458112E}"/>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0E56A41D-9230-93EC-4D25-1DE55291070C}"/>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white text&#10;&#10;Description automatically generated">
            <a:extLst>
              <a:ext uri="{FF2B5EF4-FFF2-40B4-BE49-F238E27FC236}">
                <a16:creationId xmlns:a16="http://schemas.microsoft.com/office/drawing/2014/main" id="{8828859D-C46D-ECC7-BBF0-2E5698D538AE}"/>
              </a:ext>
            </a:extLst>
          </p:cNvPr>
          <p:cNvPicPr>
            <a:picLocks noChangeAspect="1"/>
          </p:cNvPicPr>
          <p:nvPr userDrawn="1"/>
        </p:nvPicPr>
        <p:blipFill rotWithShape="1">
          <a:blip r:embed="rId3"/>
          <a:srcRect l="15089" t="30009" r="30562" b="32708"/>
          <a:stretch/>
        </p:blipFill>
        <p:spPr>
          <a:xfrm>
            <a:off x="258416" y="241982"/>
            <a:ext cx="2405271" cy="928152"/>
          </a:xfrm>
          <a:prstGeom prst="rect">
            <a:avLst/>
          </a:prstGeom>
        </p:spPr>
      </p:pic>
      <p:sp>
        <p:nvSpPr>
          <p:cNvPr id="2" name="Footer Placeholder 4">
            <a:extLst>
              <a:ext uri="{FF2B5EF4-FFF2-40B4-BE49-F238E27FC236}">
                <a16:creationId xmlns:a16="http://schemas.microsoft.com/office/drawing/2014/main" id="{58E2675E-0262-1048-4343-738B13F7A19B}"/>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bg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Stainless Steel &amp; Raw Materials in an Era of Uncertainty</a:t>
            </a:r>
          </a:p>
        </p:txBody>
      </p:sp>
      <p:sp>
        <p:nvSpPr>
          <p:cNvPr id="6" name="TextBox 5">
            <a:extLst>
              <a:ext uri="{FF2B5EF4-FFF2-40B4-BE49-F238E27FC236}">
                <a16:creationId xmlns:a16="http://schemas.microsoft.com/office/drawing/2014/main" id="{51152206-138B-469B-0281-EB8395FE9912}"/>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bg1"/>
                </a:solidFill>
                <a:latin typeface="Garamond" panose="02020404030301010803" pitchFamily="18" charset="0"/>
                <a:ea typeface="Helvetica Neue UltraLight" panose="02000206000000020004" pitchFamily="2" charset="0"/>
              </a:rPr>
              <a:t>expert</a:t>
            </a:r>
            <a:r>
              <a:rPr lang="en-GB" sz="1000" b="0" i="0">
                <a:solidFill>
                  <a:schemeClr val="bg1"/>
                </a:solidFill>
                <a:latin typeface="Helvetica Neue UltraLight" panose="02000206000000020004" pitchFamily="2" charset="0"/>
                <a:ea typeface="Helvetica Neue UltraLight" panose="02000206000000020004" pitchFamily="2" charset="0"/>
              </a:rPr>
              <a:t> </a:t>
            </a:r>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8" name="Slide Number Placeholder 5">
            <a:extLst>
              <a:ext uri="{FF2B5EF4-FFF2-40B4-BE49-F238E27FC236}">
                <a16:creationId xmlns:a16="http://schemas.microsoft.com/office/drawing/2014/main" id="{10392A6F-1B0E-191B-A51F-1DAF8E943B16}"/>
              </a:ext>
            </a:extLst>
          </p:cNvPr>
          <p:cNvSpPr>
            <a:spLocks noGrp="1"/>
          </p:cNvSpPr>
          <p:nvPr>
            <p:ph type="sldNum" sz="quarter" idx="4"/>
          </p:nvPr>
        </p:nvSpPr>
        <p:spPr>
          <a:xfrm>
            <a:off x="10913166" y="6193231"/>
            <a:ext cx="1133060" cy="544512"/>
          </a:xfrm>
          <a:prstGeom prst="rect">
            <a:avLst/>
          </a:prstGeom>
          <a:ln>
            <a:noFill/>
          </a:ln>
        </p:spPr>
        <p:txBody>
          <a:bodyPr vert="horz" lIns="91440" tIns="45720" rIns="91440" bIns="45720" rtlCol="0" anchor="ctr"/>
          <a:lstStyle>
            <a:lvl1pPr algn="r">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562BA7E0-5F5E-EE41-AE8D-BD30ED9E17AD}" type="slidenum">
              <a:rPr lang="en-GB" smtClean="0"/>
              <a:pPr/>
              <a:t>‹#›</a:t>
            </a:fld>
            <a:endParaRPr lang="en-GB"/>
          </a:p>
        </p:txBody>
      </p:sp>
      <p:sp>
        <p:nvSpPr>
          <p:cNvPr id="5" name="Date Placeholder 3">
            <a:extLst>
              <a:ext uri="{FF2B5EF4-FFF2-40B4-BE49-F238E27FC236}">
                <a16:creationId xmlns:a16="http://schemas.microsoft.com/office/drawing/2014/main" id="{0B422002-B1B8-BB1E-9388-0E8BFE9B8DCC}"/>
              </a:ext>
            </a:extLst>
          </p:cNvPr>
          <p:cNvSpPr>
            <a:spLocks noGrp="1"/>
          </p:cNvSpPr>
          <p:nvPr>
            <p:ph type="dt" sz="half" idx="2"/>
          </p:nvPr>
        </p:nvSpPr>
        <p:spPr>
          <a:xfrm>
            <a:off x="5406889" y="6429965"/>
            <a:ext cx="1706400" cy="307778"/>
          </a:xfrm>
          <a:prstGeom prst="rect">
            <a:avLst/>
          </a:prstGeom>
          <a:ln>
            <a:noFill/>
          </a:ln>
        </p:spPr>
        <p:txBody>
          <a:bodyPr vert="horz" lIns="91440" tIns="45720" rIns="91440" bIns="45720" rtlCol="0" anchor="ctr"/>
          <a:lstStyle>
            <a:lvl1pPr algn="l">
              <a:defRPr sz="1200" b="0" i="1">
                <a:solidFill>
                  <a:schemeClr val="bg1"/>
                </a:solidFill>
                <a:latin typeface="Garamond" panose="02020404030301010803" pitchFamily="18" charset="0"/>
                <a:ea typeface="Helvetica Neue" panose="02000503000000020004" pitchFamily="2" charset="0"/>
                <a:cs typeface="Helvetica Neue" panose="02000503000000020004" pitchFamily="2" charset="0"/>
              </a:defRPr>
            </a:lvl1pPr>
          </a:lstStyle>
          <a:p>
            <a:r>
              <a:rPr lang="en-US"/>
              <a:t>October 2025</a:t>
            </a:r>
            <a:endParaRPr lang="en-GB"/>
          </a:p>
        </p:txBody>
      </p:sp>
    </p:spTree>
    <p:extLst>
      <p:ext uri="{BB962C8B-B14F-4D97-AF65-F5344CB8AC3E}">
        <p14:creationId xmlns:p14="http://schemas.microsoft.com/office/powerpoint/2010/main" val="127722815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31_Divider 4">
    <p:spTree>
      <p:nvGrpSpPr>
        <p:cNvPr id="1" name=""/>
        <p:cNvGrpSpPr/>
        <p:nvPr/>
      </p:nvGrpSpPr>
      <p:grpSpPr>
        <a:xfrm>
          <a:off x="0" y="0"/>
          <a:ext cx="0" cy="0"/>
          <a:chOff x="0" y="0"/>
          <a:chExt cx="0" cy="0"/>
        </a:xfrm>
      </p:grpSpPr>
      <p:pic>
        <p:nvPicPr>
          <p:cNvPr id="4" name="Picture 3" descr="A aerial view of a construction site&#10;&#10;Description automatically generated">
            <a:extLst>
              <a:ext uri="{FF2B5EF4-FFF2-40B4-BE49-F238E27FC236}">
                <a16:creationId xmlns:a16="http://schemas.microsoft.com/office/drawing/2014/main" id="{E532A89A-8330-BD84-463C-FE911A0B0E84}"/>
              </a:ext>
            </a:extLst>
          </p:cNvPr>
          <p:cNvPicPr>
            <a:picLocks noChangeAspect="1"/>
          </p:cNvPicPr>
          <p:nvPr userDrawn="1"/>
        </p:nvPicPr>
        <p:blipFill>
          <a:blip r:embed="rId2"/>
          <a:stretch>
            <a:fillRect/>
          </a:stretch>
        </p:blipFill>
        <p:spPr>
          <a:xfrm>
            <a:off x="28913" y="-1"/>
            <a:ext cx="12191998" cy="6857999"/>
          </a:xfrm>
          <a:prstGeom prst="rect">
            <a:avLst/>
          </a:prstGeom>
        </p:spPr>
      </p:pic>
      <p:sp>
        <p:nvSpPr>
          <p:cNvPr id="12" name="Rectangle 11">
            <a:extLst>
              <a:ext uri="{FF2B5EF4-FFF2-40B4-BE49-F238E27FC236}">
                <a16:creationId xmlns:a16="http://schemas.microsoft.com/office/drawing/2014/main" id="{34BA1656-A1F4-C928-82D9-3E90CABC9B58}"/>
              </a:ext>
            </a:extLst>
          </p:cNvPr>
          <p:cNvSpPr/>
          <p:nvPr userDrawn="1"/>
        </p:nvSpPr>
        <p:spPr>
          <a:xfrm>
            <a:off x="0" y="0"/>
            <a:ext cx="12192000" cy="6858000"/>
          </a:xfrm>
          <a:prstGeom prst="rect">
            <a:avLst/>
          </a:prstGeom>
          <a:gradFill flip="none" rotWithShape="1">
            <a:gsLst>
              <a:gs pos="0">
                <a:srgbClr val="040010"/>
              </a:gs>
              <a:gs pos="99000">
                <a:srgbClr val="E1E6EB">
                  <a:alpha val="0"/>
                </a:srgb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F5470F66-68CB-5759-B6F7-6E9BCAB6C367}"/>
              </a:ext>
            </a:extLst>
          </p:cNvPr>
          <p:cNvSpPr>
            <a:spLocks noGrp="1"/>
          </p:cNvSpPr>
          <p:nvPr>
            <p:ph type="body" sz="quarter" idx="13"/>
          </p:nvPr>
        </p:nvSpPr>
        <p:spPr>
          <a:xfrm>
            <a:off x="1419617" y="1974233"/>
            <a:ext cx="8074025" cy="2971800"/>
          </a:xfrm>
          <a:prstGeom prst="rect">
            <a:avLst/>
          </a:prstGeom>
        </p:spPr>
        <p:txBody>
          <a:bodyPr>
            <a:noAutofit/>
          </a:bodyPr>
          <a:lstStyle>
            <a:lvl1pPr>
              <a:defRPr sz="3200"/>
            </a:lvl1pPr>
            <a:lvl2pPr>
              <a:defRPr sz="2800"/>
            </a:lvl2pPr>
            <a:lvl3pPr>
              <a:defRPr sz="2400"/>
            </a:lvl3pPr>
            <a:lvl4pPr>
              <a:defRPr sz="2000"/>
            </a:lvl4pPr>
            <a:lvl5pP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8" name="Straight Connector 17">
            <a:extLst>
              <a:ext uri="{FF2B5EF4-FFF2-40B4-BE49-F238E27FC236}">
                <a16:creationId xmlns:a16="http://schemas.microsoft.com/office/drawing/2014/main" id="{2281AFFB-9450-87C4-EC5E-9F3098E21E8B}"/>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D344B035-4975-BB69-BA44-C6C8A458112E}"/>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0E56A41D-9230-93EC-4D25-1DE55291070C}"/>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white text&#10;&#10;Description automatically generated">
            <a:extLst>
              <a:ext uri="{FF2B5EF4-FFF2-40B4-BE49-F238E27FC236}">
                <a16:creationId xmlns:a16="http://schemas.microsoft.com/office/drawing/2014/main" id="{8828859D-C46D-ECC7-BBF0-2E5698D538AE}"/>
              </a:ext>
            </a:extLst>
          </p:cNvPr>
          <p:cNvPicPr>
            <a:picLocks noChangeAspect="1"/>
          </p:cNvPicPr>
          <p:nvPr userDrawn="1"/>
        </p:nvPicPr>
        <p:blipFill rotWithShape="1">
          <a:blip r:embed="rId3"/>
          <a:srcRect l="15089" t="30009" r="30562" b="32708"/>
          <a:stretch/>
        </p:blipFill>
        <p:spPr>
          <a:xfrm>
            <a:off x="258416" y="241982"/>
            <a:ext cx="2405271" cy="928152"/>
          </a:xfrm>
          <a:prstGeom prst="rect">
            <a:avLst/>
          </a:prstGeom>
        </p:spPr>
      </p:pic>
      <p:sp>
        <p:nvSpPr>
          <p:cNvPr id="2" name="Footer Placeholder 4">
            <a:extLst>
              <a:ext uri="{FF2B5EF4-FFF2-40B4-BE49-F238E27FC236}">
                <a16:creationId xmlns:a16="http://schemas.microsoft.com/office/drawing/2014/main" id="{958D8803-6748-F997-9EFB-88B5CC65B448}"/>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bg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Stainless Steel &amp; Raw Materials in an Era of Uncertainty</a:t>
            </a:r>
          </a:p>
        </p:txBody>
      </p:sp>
      <p:sp>
        <p:nvSpPr>
          <p:cNvPr id="6" name="TextBox 5">
            <a:extLst>
              <a:ext uri="{FF2B5EF4-FFF2-40B4-BE49-F238E27FC236}">
                <a16:creationId xmlns:a16="http://schemas.microsoft.com/office/drawing/2014/main" id="{50EA4C9B-2993-1817-F3F3-E7A51A441C10}"/>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bg1"/>
                </a:solidFill>
                <a:latin typeface="Garamond" panose="02020404030301010803" pitchFamily="18" charset="0"/>
                <a:ea typeface="Helvetica Neue UltraLight" panose="02000206000000020004" pitchFamily="2" charset="0"/>
              </a:rPr>
              <a:t>expert</a:t>
            </a:r>
            <a:r>
              <a:rPr lang="en-GB" sz="1000" b="0" i="0">
                <a:solidFill>
                  <a:schemeClr val="bg1"/>
                </a:solidFill>
                <a:latin typeface="Helvetica Neue UltraLight" panose="02000206000000020004" pitchFamily="2" charset="0"/>
                <a:ea typeface="Helvetica Neue UltraLight" panose="02000206000000020004" pitchFamily="2" charset="0"/>
              </a:rPr>
              <a:t> </a:t>
            </a:r>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8" name="Slide Number Placeholder 5">
            <a:extLst>
              <a:ext uri="{FF2B5EF4-FFF2-40B4-BE49-F238E27FC236}">
                <a16:creationId xmlns:a16="http://schemas.microsoft.com/office/drawing/2014/main" id="{26BFBD2D-F398-8071-4873-519DFF2157A6}"/>
              </a:ext>
            </a:extLst>
          </p:cNvPr>
          <p:cNvSpPr>
            <a:spLocks noGrp="1"/>
          </p:cNvSpPr>
          <p:nvPr>
            <p:ph type="sldNum" sz="quarter" idx="4"/>
          </p:nvPr>
        </p:nvSpPr>
        <p:spPr>
          <a:xfrm>
            <a:off x="10913166" y="6193231"/>
            <a:ext cx="1133060" cy="544512"/>
          </a:xfrm>
          <a:prstGeom prst="rect">
            <a:avLst/>
          </a:prstGeom>
          <a:ln>
            <a:noFill/>
          </a:ln>
        </p:spPr>
        <p:txBody>
          <a:bodyPr vert="horz" lIns="91440" tIns="45720" rIns="91440" bIns="45720" rtlCol="0" anchor="ctr"/>
          <a:lstStyle>
            <a:lvl1pPr algn="r">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562BA7E0-5F5E-EE41-AE8D-BD30ED9E17AD}" type="slidenum">
              <a:rPr lang="en-GB" smtClean="0"/>
              <a:pPr/>
              <a:t>‹#›</a:t>
            </a:fld>
            <a:endParaRPr lang="en-GB"/>
          </a:p>
        </p:txBody>
      </p:sp>
      <p:sp>
        <p:nvSpPr>
          <p:cNvPr id="5" name="Date Placeholder 3">
            <a:extLst>
              <a:ext uri="{FF2B5EF4-FFF2-40B4-BE49-F238E27FC236}">
                <a16:creationId xmlns:a16="http://schemas.microsoft.com/office/drawing/2014/main" id="{14F99390-C720-2EE7-2104-3DBB1545754A}"/>
              </a:ext>
            </a:extLst>
          </p:cNvPr>
          <p:cNvSpPr>
            <a:spLocks noGrp="1"/>
          </p:cNvSpPr>
          <p:nvPr>
            <p:ph type="dt" sz="half" idx="2"/>
          </p:nvPr>
        </p:nvSpPr>
        <p:spPr>
          <a:xfrm>
            <a:off x="5406889" y="6429965"/>
            <a:ext cx="1706400" cy="307778"/>
          </a:xfrm>
          <a:prstGeom prst="rect">
            <a:avLst/>
          </a:prstGeom>
          <a:ln>
            <a:noFill/>
          </a:ln>
        </p:spPr>
        <p:txBody>
          <a:bodyPr vert="horz" lIns="91440" tIns="45720" rIns="91440" bIns="45720" rtlCol="0" anchor="ctr"/>
          <a:lstStyle>
            <a:lvl1pPr algn="l">
              <a:defRPr sz="1200" b="0" i="1">
                <a:solidFill>
                  <a:schemeClr val="bg1"/>
                </a:solidFill>
                <a:latin typeface="Garamond" panose="02020404030301010803" pitchFamily="18" charset="0"/>
                <a:ea typeface="Helvetica Neue" panose="02000503000000020004" pitchFamily="2" charset="0"/>
                <a:cs typeface="Helvetica Neue" panose="02000503000000020004" pitchFamily="2" charset="0"/>
              </a:defRPr>
            </a:lvl1pPr>
          </a:lstStyle>
          <a:p>
            <a:r>
              <a:rPr lang="en-US"/>
              <a:t>October 2025</a:t>
            </a:r>
            <a:endParaRPr lang="en-GB"/>
          </a:p>
        </p:txBody>
      </p:sp>
    </p:spTree>
    <p:extLst>
      <p:ext uri="{BB962C8B-B14F-4D97-AF65-F5344CB8AC3E}">
        <p14:creationId xmlns:p14="http://schemas.microsoft.com/office/powerpoint/2010/main" val="230353542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33_Divider 4">
    <p:spTree>
      <p:nvGrpSpPr>
        <p:cNvPr id="1" name=""/>
        <p:cNvGrpSpPr/>
        <p:nvPr/>
      </p:nvGrpSpPr>
      <p:grpSpPr>
        <a:xfrm>
          <a:off x="0" y="0"/>
          <a:ext cx="0" cy="0"/>
          <a:chOff x="0" y="0"/>
          <a:chExt cx="0" cy="0"/>
        </a:xfrm>
      </p:grpSpPr>
      <p:pic>
        <p:nvPicPr>
          <p:cNvPr id="4" name="Picture 3" descr="A bridge with cars on it&#10;&#10;Description automatically generated">
            <a:extLst>
              <a:ext uri="{FF2B5EF4-FFF2-40B4-BE49-F238E27FC236}">
                <a16:creationId xmlns:a16="http://schemas.microsoft.com/office/drawing/2014/main" id="{D6A7E104-DC9B-5F5A-548D-0A2F5299C1F3}"/>
              </a:ext>
            </a:extLst>
          </p:cNvPr>
          <p:cNvPicPr>
            <a:picLocks noChangeAspect="1"/>
          </p:cNvPicPr>
          <p:nvPr userDrawn="1"/>
        </p:nvPicPr>
        <p:blipFill>
          <a:blip r:embed="rId2"/>
          <a:stretch>
            <a:fillRect/>
          </a:stretch>
        </p:blipFill>
        <p:spPr>
          <a:xfrm>
            <a:off x="0" y="-1"/>
            <a:ext cx="12191998" cy="6857999"/>
          </a:xfrm>
          <a:prstGeom prst="rect">
            <a:avLst/>
          </a:prstGeom>
        </p:spPr>
      </p:pic>
      <p:sp>
        <p:nvSpPr>
          <p:cNvPr id="12" name="Rectangle 11">
            <a:extLst>
              <a:ext uri="{FF2B5EF4-FFF2-40B4-BE49-F238E27FC236}">
                <a16:creationId xmlns:a16="http://schemas.microsoft.com/office/drawing/2014/main" id="{34BA1656-A1F4-C928-82D9-3E90CABC9B58}"/>
              </a:ext>
            </a:extLst>
          </p:cNvPr>
          <p:cNvSpPr/>
          <p:nvPr userDrawn="1"/>
        </p:nvSpPr>
        <p:spPr>
          <a:xfrm>
            <a:off x="0" y="0"/>
            <a:ext cx="12192000" cy="6858000"/>
          </a:xfrm>
          <a:prstGeom prst="rect">
            <a:avLst/>
          </a:prstGeom>
          <a:gradFill flip="none" rotWithShape="1">
            <a:gsLst>
              <a:gs pos="0">
                <a:srgbClr val="040010"/>
              </a:gs>
              <a:gs pos="99000">
                <a:srgbClr val="E1E6EB">
                  <a:alpha val="0"/>
                </a:srgb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F5470F66-68CB-5759-B6F7-6E9BCAB6C367}"/>
              </a:ext>
            </a:extLst>
          </p:cNvPr>
          <p:cNvSpPr>
            <a:spLocks noGrp="1"/>
          </p:cNvSpPr>
          <p:nvPr>
            <p:ph type="body" sz="quarter" idx="13"/>
          </p:nvPr>
        </p:nvSpPr>
        <p:spPr>
          <a:xfrm>
            <a:off x="1419617" y="1974233"/>
            <a:ext cx="8074025" cy="2971800"/>
          </a:xfrm>
          <a:prstGeom prst="rect">
            <a:avLst/>
          </a:prstGeom>
        </p:spPr>
        <p:txBody>
          <a:bodyPr>
            <a:noAutofit/>
          </a:bodyPr>
          <a:lstStyle>
            <a:lvl1pPr>
              <a:defRPr sz="3200"/>
            </a:lvl1pPr>
            <a:lvl2pPr>
              <a:defRPr sz="2800"/>
            </a:lvl2pPr>
            <a:lvl3pPr>
              <a:defRPr sz="2400"/>
            </a:lvl3pPr>
            <a:lvl4pPr>
              <a:defRPr sz="2000"/>
            </a:lvl4pPr>
            <a:lvl5pP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8" name="Straight Connector 17">
            <a:extLst>
              <a:ext uri="{FF2B5EF4-FFF2-40B4-BE49-F238E27FC236}">
                <a16:creationId xmlns:a16="http://schemas.microsoft.com/office/drawing/2014/main" id="{2281AFFB-9450-87C4-EC5E-9F3098E21E8B}"/>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D344B035-4975-BB69-BA44-C6C8A458112E}"/>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0E56A41D-9230-93EC-4D25-1DE55291070C}"/>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white text&#10;&#10;Description automatically generated">
            <a:extLst>
              <a:ext uri="{FF2B5EF4-FFF2-40B4-BE49-F238E27FC236}">
                <a16:creationId xmlns:a16="http://schemas.microsoft.com/office/drawing/2014/main" id="{8828859D-C46D-ECC7-BBF0-2E5698D538AE}"/>
              </a:ext>
            </a:extLst>
          </p:cNvPr>
          <p:cNvPicPr>
            <a:picLocks noChangeAspect="1"/>
          </p:cNvPicPr>
          <p:nvPr userDrawn="1"/>
        </p:nvPicPr>
        <p:blipFill rotWithShape="1">
          <a:blip r:embed="rId3"/>
          <a:srcRect l="15089" t="30009" r="30562" b="32708"/>
          <a:stretch/>
        </p:blipFill>
        <p:spPr>
          <a:xfrm>
            <a:off x="258416" y="241982"/>
            <a:ext cx="2405271" cy="928152"/>
          </a:xfrm>
          <a:prstGeom prst="rect">
            <a:avLst/>
          </a:prstGeom>
        </p:spPr>
      </p:pic>
      <p:sp>
        <p:nvSpPr>
          <p:cNvPr id="2" name="Footer Placeholder 4">
            <a:extLst>
              <a:ext uri="{FF2B5EF4-FFF2-40B4-BE49-F238E27FC236}">
                <a16:creationId xmlns:a16="http://schemas.microsoft.com/office/drawing/2014/main" id="{8C91577A-F755-C9C7-1ADE-510701A13D9F}"/>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bg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Stainless Steel &amp; Raw Materials in an Era of Uncertainty</a:t>
            </a:r>
          </a:p>
        </p:txBody>
      </p:sp>
      <p:sp>
        <p:nvSpPr>
          <p:cNvPr id="6" name="TextBox 5">
            <a:extLst>
              <a:ext uri="{FF2B5EF4-FFF2-40B4-BE49-F238E27FC236}">
                <a16:creationId xmlns:a16="http://schemas.microsoft.com/office/drawing/2014/main" id="{00C37744-8DA2-3A95-809C-06358255D13E}"/>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bg1"/>
                </a:solidFill>
                <a:latin typeface="Garamond" panose="02020404030301010803" pitchFamily="18" charset="0"/>
                <a:ea typeface="Helvetica Neue UltraLight" panose="02000206000000020004" pitchFamily="2" charset="0"/>
              </a:rPr>
              <a:t>expert</a:t>
            </a:r>
            <a:r>
              <a:rPr lang="en-GB" sz="1000" b="0" i="0">
                <a:solidFill>
                  <a:schemeClr val="bg1"/>
                </a:solidFill>
                <a:latin typeface="Helvetica Neue UltraLight" panose="02000206000000020004" pitchFamily="2" charset="0"/>
                <a:ea typeface="Helvetica Neue UltraLight" panose="02000206000000020004" pitchFamily="2" charset="0"/>
              </a:rPr>
              <a:t> </a:t>
            </a:r>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8" name="Slide Number Placeholder 5">
            <a:extLst>
              <a:ext uri="{FF2B5EF4-FFF2-40B4-BE49-F238E27FC236}">
                <a16:creationId xmlns:a16="http://schemas.microsoft.com/office/drawing/2014/main" id="{5B021F8D-6011-CA4B-3FAC-C7CA0E1D7BEB}"/>
              </a:ext>
            </a:extLst>
          </p:cNvPr>
          <p:cNvSpPr>
            <a:spLocks noGrp="1"/>
          </p:cNvSpPr>
          <p:nvPr>
            <p:ph type="sldNum" sz="quarter" idx="4"/>
          </p:nvPr>
        </p:nvSpPr>
        <p:spPr>
          <a:xfrm>
            <a:off x="10913166" y="6193231"/>
            <a:ext cx="1133060" cy="544512"/>
          </a:xfrm>
          <a:prstGeom prst="rect">
            <a:avLst/>
          </a:prstGeom>
          <a:ln>
            <a:noFill/>
          </a:ln>
        </p:spPr>
        <p:txBody>
          <a:bodyPr vert="horz" lIns="91440" tIns="45720" rIns="91440" bIns="45720" rtlCol="0" anchor="ctr"/>
          <a:lstStyle>
            <a:lvl1pPr algn="r">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562BA7E0-5F5E-EE41-AE8D-BD30ED9E17AD}" type="slidenum">
              <a:rPr lang="en-GB" smtClean="0"/>
              <a:pPr/>
              <a:t>‹#›</a:t>
            </a:fld>
            <a:endParaRPr lang="en-GB"/>
          </a:p>
        </p:txBody>
      </p:sp>
      <p:sp>
        <p:nvSpPr>
          <p:cNvPr id="5" name="Date Placeholder 3">
            <a:extLst>
              <a:ext uri="{FF2B5EF4-FFF2-40B4-BE49-F238E27FC236}">
                <a16:creationId xmlns:a16="http://schemas.microsoft.com/office/drawing/2014/main" id="{5FBE3C94-7408-C65E-8EE0-026EC5490301}"/>
              </a:ext>
            </a:extLst>
          </p:cNvPr>
          <p:cNvSpPr>
            <a:spLocks noGrp="1"/>
          </p:cNvSpPr>
          <p:nvPr>
            <p:ph type="dt" sz="half" idx="2"/>
          </p:nvPr>
        </p:nvSpPr>
        <p:spPr>
          <a:xfrm>
            <a:off x="5406889" y="6429965"/>
            <a:ext cx="1706400" cy="307778"/>
          </a:xfrm>
          <a:prstGeom prst="rect">
            <a:avLst/>
          </a:prstGeom>
          <a:ln>
            <a:noFill/>
          </a:ln>
        </p:spPr>
        <p:txBody>
          <a:bodyPr vert="horz" lIns="91440" tIns="45720" rIns="91440" bIns="45720" rtlCol="0" anchor="ctr"/>
          <a:lstStyle>
            <a:lvl1pPr algn="l">
              <a:defRPr sz="1200" b="0" i="1">
                <a:solidFill>
                  <a:schemeClr val="bg1"/>
                </a:solidFill>
                <a:latin typeface="Garamond" panose="02020404030301010803" pitchFamily="18" charset="0"/>
                <a:ea typeface="Helvetica Neue" panose="02000503000000020004" pitchFamily="2" charset="0"/>
                <a:cs typeface="Helvetica Neue" panose="02000503000000020004" pitchFamily="2" charset="0"/>
              </a:defRPr>
            </a:lvl1pPr>
          </a:lstStyle>
          <a:p>
            <a:r>
              <a:rPr lang="en-US"/>
              <a:t>October 2025</a:t>
            </a:r>
            <a:endParaRPr lang="en-GB"/>
          </a:p>
        </p:txBody>
      </p:sp>
    </p:spTree>
    <p:extLst>
      <p:ext uri="{BB962C8B-B14F-4D97-AF65-F5344CB8AC3E}">
        <p14:creationId xmlns:p14="http://schemas.microsoft.com/office/powerpoint/2010/main" val="290394251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4_Divider 4">
    <p:spTree>
      <p:nvGrpSpPr>
        <p:cNvPr id="1" name=""/>
        <p:cNvGrpSpPr/>
        <p:nvPr/>
      </p:nvGrpSpPr>
      <p:grpSpPr>
        <a:xfrm>
          <a:off x="0" y="0"/>
          <a:ext cx="0" cy="0"/>
          <a:chOff x="0" y="0"/>
          <a:chExt cx="0" cy="0"/>
        </a:xfrm>
      </p:grpSpPr>
      <p:pic>
        <p:nvPicPr>
          <p:cNvPr id="4" name="Picture 3" descr="A road with a red car on it&#10;&#10;Description automatically generated">
            <a:extLst>
              <a:ext uri="{FF2B5EF4-FFF2-40B4-BE49-F238E27FC236}">
                <a16:creationId xmlns:a16="http://schemas.microsoft.com/office/drawing/2014/main" id="{7C990753-450B-4E7D-5339-07EAFB77A577}"/>
              </a:ext>
            </a:extLst>
          </p:cNvPr>
          <p:cNvPicPr>
            <a:picLocks noChangeAspect="1"/>
          </p:cNvPicPr>
          <p:nvPr userDrawn="1"/>
        </p:nvPicPr>
        <p:blipFill>
          <a:blip r:embed="rId2"/>
          <a:stretch>
            <a:fillRect/>
          </a:stretch>
        </p:blipFill>
        <p:spPr>
          <a:xfrm>
            <a:off x="0" y="-1"/>
            <a:ext cx="12191998" cy="6857999"/>
          </a:xfrm>
          <a:prstGeom prst="rect">
            <a:avLst/>
          </a:prstGeom>
        </p:spPr>
      </p:pic>
      <p:sp>
        <p:nvSpPr>
          <p:cNvPr id="12" name="Rectangle 11">
            <a:extLst>
              <a:ext uri="{FF2B5EF4-FFF2-40B4-BE49-F238E27FC236}">
                <a16:creationId xmlns:a16="http://schemas.microsoft.com/office/drawing/2014/main" id="{34BA1656-A1F4-C928-82D9-3E90CABC9B58}"/>
              </a:ext>
            </a:extLst>
          </p:cNvPr>
          <p:cNvSpPr/>
          <p:nvPr userDrawn="1"/>
        </p:nvSpPr>
        <p:spPr>
          <a:xfrm>
            <a:off x="0" y="0"/>
            <a:ext cx="12192000" cy="6858000"/>
          </a:xfrm>
          <a:prstGeom prst="rect">
            <a:avLst/>
          </a:prstGeom>
          <a:gradFill flip="none" rotWithShape="1">
            <a:gsLst>
              <a:gs pos="0">
                <a:srgbClr val="040010"/>
              </a:gs>
              <a:gs pos="99000">
                <a:srgbClr val="E1E6EB">
                  <a:alpha val="0"/>
                </a:srgb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F5470F66-68CB-5759-B6F7-6E9BCAB6C367}"/>
              </a:ext>
            </a:extLst>
          </p:cNvPr>
          <p:cNvSpPr>
            <a:spLocks noGrp="1"/>
          </p:cNvSpPr>
          <p:nvPr>
            <p:ph type="body" sz="quarter" idx="13"/>
          </p:nvPr>
        </p:nvSpPr>
        <p:spPr>
          <a:xfrm>
            <a:off x="1419617" y="1974233"/>
            <a:ext cx="8074025" cy="2971800"/>
          </a:xfrm>
          <a:prstGeom prst="rect">
            <a:avLst/>
          </a:prstGeom>
        </p:spPr>
        <p:txBody>
          <a:bodyPr>
            <a:noAutofit/>
          </a:bodyPr>
          <a:lstStyle>
            <a:lvl1pPr>
              <a:defRPr sz="3200"/>
            </a:lvl1pPr>
            <a:lvl2pPr>
              <a:defRPr sz="2800"/>
            </a:lvl2pPr>
            <a:lvl3pPr>
              <a:defRPr sz="2400"/>
            </a:lvl3pPr>
            <a:lvl4pPr>
              <a:defRPr sz="2000"/>
            </a:lvl4pPr>
            <a:lvl5pP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8" name="Straight Connector 17">
            <a:extLst>
              <a:ext uri="{FF2B5EF4-FFF2-40B4-BE49-F238E27FC236}">
                <a16:creationId xmlns:a16="http://schemas.microsoft.com/office/drawing/2014/main" id="{2281AFFB-9450-87C4-EC5E-9F3098E21E8B}"/>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D344B035-4975-BB69-BA44-C6C8A458112E}"/>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0E56A41D-9230-93EC-4D25-1DE55291070C}"/>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white text&#10;&#10;Description automatically generated">
            <a:extLst>
              <a:ext uri="{FF2B5EF4-FFF2-40B4-BE49-F238E27FC236}">
                <a16:creationId xmlns:a16="http://schemas.microsoft.com/office/drawing/2014/main" id="{8828859D-C46D-ECC7-BBF0-2E5698D538AE}"/>
              </a:ext>
            </a:extLst>
          </p:cNvPr>
          <p:cNvPicPr>
            <a:picLocks noChangeAspect="1"/>
          </p:cNvPicPr>
          <p:nvPr userDrawn="1"/>
        </p:nvPicPr>
        <p:blipFill rotWithShape="1">
          <a:blip r:embed="rId3"/>
          <a:srcRect l="15089" t="30009" r="30562" b="32708"/>
          <a:stretch/>
        </p:blipFill>
        <p:spPr>
          <a:xfrm>
            <a:off x="258416" y="241982"/>
            <a:ext cx="2405271" cy="928152"/>
          </a:xfrm>
          <a:prstGeom prst="rect">
            <a:avLst/>
          </a:prstGeom>
        </p:spPr>
      </p:pic>
      <p:sp>
        <p:nvSpPr>
          <p:cNvPr id="2" name="Footer Placeholder 4">
            <a:extLst>
              <a:ext uri="{FF2B5EF4-FFF2-40B4-BE49-F238E27FC236}">
                <a16:creationId xmlns:a16="http://schemas.microsoft.com/office/drawing/2014/main" id="{152F6BA2-8587-2AE0-340F-669510C79C27}"/>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bg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Stainless Steel &amp; Raw Materials in an Era of Uncertainty</a:t>
            </a:r>
          </a:p>
        </p:txBody>
      </p:sp>
      <p:sp>
        <p:nvSpPr>
          <p:cNvPr id="6" name="TextBox 5">
            <a:extLst>
              <a:ext uri="{FF2B5EF4-FFF2-40B4-BE49-F238E27FC236}">
                <a16:creationId xmlns:a16="http://schemas.microsoft.com/office/drawing/2014/main" id="{D96A0C61-A94B-2A88-CFD5-8EEAA77D2FC8}"/>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bg1"/>
                </a:solidFill>
                <a:latin typeface="Garamond" panose="02020404030301010803" pitchFamily="18" charset="0"/>
                <a:ea typeface="Helvetica Neue UltraLight" panose="02000206000000020004" pitchFamily="2" charset="0"/>
              </a:rPr>
              <a:t>expert</a:t>
            </a:r>
            <a:r>
              <a:rPr lang="en-GB" sz="1000" b="0" i="0">
                <a:solidFill>
                  <a:schemeClr val="bg1"/>
                </a:solidFill>
                <a:latin typeface="Helvetica Neue UltraLight" panose="02000206000000020004" pitchFamily="2" charset="0"/>
                <a:ea typeface="Helvetica Neue UltraLight" panose="02000206000000020004" pitchFamily="2" charset="0"/>
              </a:rPr>
              <a:t> </a:t>
            </a:r>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8" name="Slide Number Placeholder 5">
            <a:extLst>
              <a:ext uri="{FF2B5EF4-FFF2-40B4-BE49-F238E27FC236}">
                <a16:creationId xmlns:a16="http://schemas.microsoft.com/office/drawing/2014/main" id="{88A55BE7-B9BD-B35A-89B3-7AA78A977BCF}"/>
              </a:ext>
            </a:extLst>
          </p:cNvPr>
          <p:cNvSpPr>
            <a:spLocks noGrp="1"/>
          </p:cNvSpPr>
          <p:nvPr>
            <p:ph type="sldNum" sz="quarter" idx="4"/>
          </p:nvPr>
        </p:nvSpPr>
        <p:spPr>
          <a:xfrm>
            <a:off x="10913166" y="6193231"/>
            <a:ext cx="1133060" cy="544512"/>
          </a:xfrm>
          <a:prstGeom prst="rect">
            <a:avLst/>
          </a:prstGeom>
          <a:ln>
            <a:noFill/>
          </a:ln>
        </p:spPr>
        <p:txBody>
          <a:bodyPr vert="horz" lIns="91440" tIns="45720" rIns="91440" bIns="45720" rtlCol="0" anchor="ctr"/>
          <a:lstStyle>
            <a:lvl1pPr algn="r">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562BA7E0-5F5E-EE41-AE8D-BD30ED9E17AD}" type="slidenum">
              <a:rPr lang="en-GB" smtClean="0"/>
              <a:pPr/>
              <a:t>‹#›</a:t>
            </a:fld>
            <a:endParaRPr lang="en-GB"/>
          </a:p>
        </p:txBody>
      </p:sp>
      <p:sp>
        <p:nvSpPr>
          <p:cNvPr id="5" name="Date Placeholder 3">
            <a:extLst>
              <a:ext uri="{FF2B5EF4-FFF2-40B4-BE49-F238E27FC236}">
                <a16:creationId xmlns:a16="http://schemas.microsoft.com/office/drawing/2014/main" id="{B49C9B33-6133-1CA9-B74C-3BD6051B9ADD}"/>
              </a:ext>
            </a:extLst>
          </p:cNvPr>
          <p:cNvSpPr>
            <a:spLocks noGrp="1"/>
          </p:cNvSpPr>
          <p:nvPr>
            <p:ph type="dt" sz="half" idx="2"/>
          </p:nvPr>
        </p:nvSpPr>
        <p:spPr>
          <a:xfrm>
            <a:off x="5406889" y="6429965"/>
            <a:ext cx="1706400" cy="307778"/>
          </a:xfrm>
          <a:prstGeom prst="rect">
            <a:avLst/>
          </a:prstGeom>
          <a:ln>
            <a:noFill/>
          </a:ln>
        </p:spPr>
        <p:txBody>
          <a:bodyPr vert="horz" lIns="91440" tIns="45720" rIns="91440" bIns="45720" rtlCol="0" anchor="ctr"/>
          <a:lstStyle>
            <a:lvl1pPr algn="l">
              <a:defRPr sz="1200" b="0" i="1">
                <a:solidFill>
                  <a:schemeClr val="bg1"/>
                </a:solidFill>
                <a:latin typeface="Garamond" panose="02020404030301010803" pitchFamily="18" charset="0"/>
                <a:ea typeface="Helvetica Neue" panose="02000503000000020004" pitchFamily="2" charset="0"/>
                <a:cs typeface="Helvetica Neue" panose="02000503000000020004" pitchFamily="2" charset="0"/>
              </a:defRPr>
            </a:lvl1pPr>
          </a:lstStyle>
          <a:p>
            <a:r>
              <a:rPr lang="en-US"/>
              <a:t>October 2025</a:t>
            </a:r>
            <a:endParaRPr lang="en-GB"/>
          </a:p>
        </p:txBody>
      </p:sp>
    </p:spTree>
    <p:extLst>
      <p:ext uri="{BB962C8B-B14F-4D97-AF65-F5344CB8AC3E}">
        <p14:creationId xmlns:p14="http://schemas.microsoft.com/office/powerpoint/2010/main" val="272228264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35_Divider 4">
    <p:spTree>
      <p:nvGrpSpPr>
        <p:cNvPr id="1" name=""/>
        <p:cNvGrpSpPr/>
        <p:nvPr/>
      </p:nvGrpSpPr>
      <p:grpSpPr>
        <a:xfrm>
          <a:off x="0" y="0"/>
          <a:ext cx="0" cy="0"/>
          <a:chOff x="0" y="0"/>
          <a:chExt cx="0" cy="0"/>
        </a:xfrm>
      </p:grpSpPr>
      <p:pic>
        <p:nvPicPr>
          <p:cNvPr id="4" name="Picture 3" descr="A road with trees around it&#10;&#10;Description automatically generated">
            <a:extLst>
              <a:ext uri="{FF2B5EF4-FFF2-40B4-BE49-F238E27FC236}">
                <a16:creationId xmlns:a16="http://schemas.microsoft.com/office/drawing/2014/main" id="{1E58B661-7B20-D84C-3789-D4A5DFCF061D}"/>
              </a:ext>
            </a:extLst>
          </p:cNvPr>
          <p:cNvPicPr>
            <a:picLocks noChangeAspect="1"/>
          </p:cNvPicPr>
          <p:nvPr userDrawn="1"/>
        </p:nvPicPr>
        <p:blipFill>
          <a:blip r:embed="rId2"/>
          <a:stretch>
            <a:fillRect/>
          </a:stretch>
        </p:blipFill>
        <p:spPr>
          <a:xfrm>
            <a:off x="-12759" y="0"/>
            <a:ext cx="12191998" cy="6857999"/>
          </a:xfrm>
          <a:prstGeom prst="rect">
            <a:avLst/>
          </a:prstGeom>
        </p:spPr>
      </p:pic>
      <p:sp>
        <p:nvSpPr>
          <p:cNvPr id="12" name="Rectangle 11">
            <a:extLst>
              <a:ext uri="{FF2B5EF4-FFF2-40B4-BE49-F238E27FC236}">
                <a16:creationId xmlns:a16="http://schemas.microsoft.com/office/drawing/2014/main" id="{34BA1656-A1F4-C928-82D9-3E90CABC9B58}"/>
              </a:ext>
            </a:extLst>
          </p:cNvPr>
          <p:cNvSpPr/>
          <p:nvPr userDrawn="1"/>
        </p:nvSpPr>
        <p:spPr>
          <a:xfrm>
            <a:off x="0" y="0"/>
            <a:ext cx="12192000" cy="6858000"/>
          </a:xfrm>
          <a:prstGeom prst="rect">
            <a:avLst/>
          </a:prstGeom>
          <a:gradFill flip="none" rotWithShape="1">
            <a:gsLst>
              <a:gs pos="0">
                <a:srgbClr val="040010"/>
              </a:gs>
              <a:gs pos="99000">
                <a:srgbClr val="E1E6EB">
                  <a:alpha val="0"/>
                </a:srgb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F5470F66-68CB-5759-B6F7-6E9BCAB6C367}"/>
              </a:ext>
            </a:extLst>
          </p:cNvPr>
          <p:cNvSpPr>
            <a:spLocks noGrp="1"/>
          </p:cNvSpPr>
          <p:nvPr>
            <p:ph type="body" sz="quarter" idx="13"/>
          </p:nvPr>
        </p:nvSpPr>
        <p:spPr>
          <a:xfrm>
            <a:off x="1419617" y="1974233"/>
            <a:ext cx="8074025" cy="2971800"/>
          </a:xfrm>
          <a:prstGeom prst="rect">
            <a:avLst/>
          </a:prstGeom>
        </p:spPr>
        <p:txBody>
          <a:bodyPr>
            <a:noAutofit/>
          </a:bodyPr>
          <a:lstStyle>
            <a:lvl1pPr>
              <a:defRPr sz="3200"/>
            </a:lvl1pPr>
            <a:lvl2pPr>
              <a:defRPr sz="2800"/>
            </a:lvl2pPr>
            <a:lvl3pPr>
              <a:defRPr sz="2400"/>
            </a:lvl3pPr>
            <a:lvl4pPr>
              <a:defRPr sz="2000"/>
            </a:lvl4pPr>
            <a:lvl5pP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8" name="Straight Connector 17">
            <a:extLst>
              <a:ext uri="{FF2B5EF4-FFF2-40B4-BE49-F238E27FC236}">
                <a16:creationId xmlns:a16="http://schemas.microsoft.com/office/drawing/2014/main" id="{2281AFFB-9450-87C4-EC5E-9F3098E21E8B}"/>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D344B035-4975-BB69-BA44-C6C8A458112E}"/>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0E56A41D-9230-93EC-4D25-1DE55291070C}"/>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white text&#10;&#10;Description automatically generated">
            <a:extLst>
              <a:ext uri="{FF2B5EF4-FFF2-40B4-BE49-F238E27FC236}">
                <a16:creationId xmlns:a16="http://schemas.microsoft.com/office/drawing/2014/main" id="{8828859D-C46D-ECC7-BBF0-2E5698D538AE}"/>
              </a:ext>
            </a:extLst>
          </p:cNvPr>
          <p:cNvPicPr>
            <a:picLocks noChangeAspect="1"/>
          </p:cNvPicPr>
          <p:nvPr userDrawn="1"/>
        </p:nvPicPr>
        <p:blipFill rotWithShape="1">
          <a:blip r:embed="rId3"/>
          <a:srcRect l="15089" t="30009" r="30562" b="32708"/>
          <a:stretch/>
        </p:blipFill>
        <p:spPr>
          <a:xfrm>
            <a:off x="258416" y="241982"/>
            <a:ext cx="2405271" cy="928152"/>
          </a:xfrm>
          <a:prstGeom prst="rect">
            <a:avLst/>
          </a:prstGeom>
        </p:spPr>
      </p:pic>
      <p:sp>
        <p:nvSpPr>
          <p:cNvPr id="2" name="Footer Placeholder 4">
            <a:extLst>
              <a:ext uri="{FF2B5EF4-FFF2-40B4-BE49-F238E27FC236}">
                <a16:creationId xmlns:a16="http://schemas.microsoft.com/office/drawing/2014/main" id="{F5F70449-96DB-AB20-D5A5-B7F53DA5447A}"/>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bg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Stainless Steel &amp; Raw Materials in an Era of Uncertainty</a:t>
            </a:r>
          </a:p>
        </p:txBody>
      </p:sp>
      <p:sp>
        <p:nvSpPr>
          <p:cNvPr id="6" name="TextBox 5">
            <a:extLst>
              <a:ext uri="{FF2B5EF4-FFF2-40B4-BE49-F238E27FC236}">
                <a16:creationId xmlns:a16="http://schemas.microsoft.com/office/drawing/2014/main" id="{38B35509-070E-16D7-FC99-903F64FA3F6F}"/>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bg1"/>
                </a:solidFill>
                <a:latin typeface="Garamond" panose="02020404030301010803" pitchFamily="18" charset="0"/>
                <a:ea typeface="Helvetica Neue UltraLight" panose="02000206000000020004" pitchFamily="2" charset="0"/>
              </a:rPr>
              <a:t>expert</a:t>
            </a:r>
            <a:r>
              <a:rPr lang="en-GB" sz="1000" b="0" i="0">
                <a:solidFill>
                  <a:schemeClr val="bg1"/>
                </a:solidFill>
                <a:latin typeface="Helvetica Neue UltraLight" panose="02000206000000020004" pitchFamily="2" charset="0"/>
                <a:ea typeface="Helvetica Neue UltraLight" panose="02000206000000020004" pitchFamily="2" charset="0"/>
              </a:rPr>
              <a:t> </a:t>
            </a:r>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8" name="Slide Number Placeholder 5">
            <a:extLst>
              <a:ext uri="{FF2B5EF4-FFF2-40B4-BE49-F238E27FC236}">
                <a16:creationId xmlns:a16="http://schemas.microsoft.com/office/drawing/2014/main" id="{CE09CFFA-616A-69B3-1A72-E5376448E4EC}"/>
              </a:ext>
            </a:extLst>
          </p:cNvPr>
          <p:cNvSpPr>
            <a:spLocks noGrp="1"/>
          </p:cNvSpPr>
          <p:nvPr>
            <p:ph type="sldNum" sz="quarter" idx="4"/>
          </p:nvPr>
        </p:nvSpPr>
        <p:spPr>
          <a:xfrm>
            <a:off x="10913166" y="6193231"/>
            <a:ext cx="1133060" cy="544512"/>
          </a:xfrm>
          <a:prstGeom prst="rect">
            <a:avLst/>
          </a:prstGeom>
          <a:ln>
            <a:noFill/>
          </a:ln>
        </p:spPr>
        <p:txBody>
          <a:bodyPr vert="horz" lIns="91440" tIns="45720" rIns="91440" bIns="45720" rtlCol="0" anchor="ctr"/>
          <a:lstStyle>
            <a:lvl1pPr algn="r">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562BA7E0-5F5E-EE41-AE8D-BD30ED9E17AD}" type="slidenum">
              <a:rPr lang="en-GB" smtClean="0"/>
              <a:pPr/>
              <a:t>‹#›</a:t>
            </a:fld>
            <a:endParaRPr lang="en-GB"/>
          </a:p>
        </p:txBody>
      </p:sp>
      <p:sp>
        <p:nvSpPr>
          <p:cNvPr id="5" name="Date Placeholder 3">
            <a:extLst>
              <a:ext uri="{FF2B5EF4-FFF2-40B4-BE49-F238E27FC236}">
                <a16:creationId xmlns:a16="http://schemas.microsoft.com/office/drawing/2014/main" id="{D8571A17-B08C-7E6C-7265-3C1DDF087888}"/>
              </a:ext>
            </a:extLst>
          </p:cNvPr>
          <p:cNvSpPr>
            <a:spLocks noGrp="1"/>
          </p:cNvSpPr>
          <p:nvPr>
            <p:ph type="dt" sz="half" idx="2"/>
          </p:nvPr>
        </p:nvSpPr>
        <p:spPr>
          <a:xfrm>
            <a:off x="5406889" y="6429965"/>
            <a:ext cx="1706400" cy="307778"/>
          </a:xfrm>
          <a:prstGeom prst="rect">
            <a:avLst/>
          </a:prstGeom>
          <a:ln>
            <a:noFill/>
          </a:ln>
        </p:spPr>
        <p:txBody>
          <a:bodyPr vert="horz" lIns="91440" tIns="45720" rIns="91440" bIns="45720" rtlCol="0" anchor="ctr"/>
          <a:lstStyle>
            <a:lvl1pPr algn="l">
              <a:defRPr sz="1200" b="0" i="1">
                <a:solidFill>
                  <a:schemeClr val="bg1"/>
                </a:solidFill>
                <a:latin typeface="Garamond" panose="02020404030301010803" pitchFamily="18" charset="0"/>
                <a:ea typeface="Helvetica Neue" panose="02000503000000020004" pitchFamily="2" charset="0"/>
                <a:cs typeface="Helvetica Neue" panose="02000503000000020004" pitchFamily="2" charset="0"/>
              </a:defRPr>
            </a:lvl1pPr>
          </a:lstStyle>
          <a:p>
            <a:r>
              <a:rPr lang="en-US"/>
              <a:t>October 2025</a:t>
            </a:r>
            <a:endParaRPr lang="en-GB"/>
          </a:p>
        </p:txBody>
      </p:sp>
    </p:spTree>
    <p:extLst>
      <p:ext uri="{BB962C8B-B14F-4D97-AF65-F5344CB8AC3E}">
        <p14:creationId xmlns:p14="http://schemas.microsoft.com/office/powerpoint/2010/main" val="28667011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4 Content + Text -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p:nvPr>
        </p:nvSpPr>
        <p:spPr>
          <a:xfrm>
            <a:off x="413537" y="1251472"/>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4000" y="1618672"/>
            <a:ext cx="3780000" cy="4284000"/>
          </a:xfrm>
          <a:noFill/>
        </p:spPr>
        <p:txBody>
          <a:bodyPr/>
          <a:lstStyle>
            <a:lvl1pPr algn="ctr">
              <a:defRPr b="0"/>
            </a:lvl1pPr>
            <a:lvl5pPr>
              <a:defRPr/>
            </a:lvl5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hasCustomPrompt="1"/>
          </p:nvPr>
        </p:nvSpPr>
        <p:spPr>
          <a:xfrm>
            <a:off x="7998461" y="1251472"/>
            <a:ext cx="3780000" cy="4936100"/>
          </a:xfrm>
          <a:noFill/>
          <a:effectLst/>
        </p:spPr>
        <p:txBody>
          <a:bodyPr vert="horz" lIns="252000" tIns="252000" rIns="252000" bIns="252000" rtlCol="0" anchor="ctr" anchorCtr="0">
            <a:noAutofit/>
          </a:bodyPr>
          <a:lstStyle>
            <a:lvl1pPr>
              <a:defRPr lang="en-US"/>
            </a:lvl1pPr>
            <a:lvl2pPr>
              <a:defRPr lang="en-US"/>
            </a:lvl2pPr>
            <a:lvl3pPr>
              <a:defRPr lang="en-US"/>
            </a:lvl3pPr>
            <a:lvl4pPr>
              <a:defRPr lang="en-US"/>
            </a:lvl4pPr>
            <a:lvl5pPr>
              <a:defRPr lang="en-GB"/>
            </a:lvl5pPr>
          </a:lstStyle>
          <a:p>
            <a:pPr lvl="0"/>
            <a:r>
              <a:rPr lang="en-US"/>
              <a:t>Active Headline</a:t>
            </a:r>
          </a:p>
          <a:p>
            <a:pPr lvl="1"/>
            <a:r>
              <a:rPr lang="en-US"/>
              <a:t>Body text</a:t>
            </a:r>
          </a:p>
          <a:p>
            <a:pPr lvl="2"/>
            <a:r>
              <a:rPr lang="en-US"/>
              <a:t>Bullets</a:t>
            </a:r>
          </a:p>
          <a:p>
            <a:pPr lvl="3"/>
            <a:r>
              <a:rPr lang="en-US"/>
              <a:t>2nd level bullets</a:t>
            </a:r>
          </a:p>
          <a:p>
            <a:pPr lvl="4"/>
            <a:r>
              <a:rPr lang="en-US"/>
              <a:t>Notes tex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7560000" cy="215999"/>
          </a:xfrm>
          <a:noFill/>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13" name="Text Placeholder 5">
            <a:extLst>
              <a:ext uri="{FF2B5EF4-FFF2-40B4-BE49-F238E27FC236}">
                <a16:creationId xmlns:a16="http://schemas.microsoft.com/office/drawing/2014/main" id="{0F05E3CC-77D8-00D4-3892-43359D3D440D}"/>
              </a:ext>
            </a:extLst>
          </p:cNvPr>
          <p:cNvSpPr>
            <a:spLocks noGrp="1"/>
          </p:cNvSpPr>
          <p:nvPr>
            <p:ph type="body" sz="quarter" idx="20"/>
          </p:nvPr>
        </p:nvSpPr>
        <p:spPr>
          <a:xfrm>
            <a:off x="4212000" y="1251472"/>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14" name="Content Placeholder 7">
            <a:extLst>
              <a:ext uri="{FF2B5EF4-FFF2-40B4-BE49-F238E27FC236}">
                <a16:creationId xmlns:a16="http://schemas.microsoft.com/office/drawing/2014/main" id="{CB8F5FCB-FB91-1CC1-0B13-4616C17F6F8D}"/>
              </a:ext>
            </a:extLst>
          </p:cNvPr>
          <p:cNvSpPr>
            <a:spLocks noGrp="1"/>
          </p:cNvSpPr>
          <p:nvPr>
            <p:ph sz="quarter" idx="21" hasCustomPrompt="1"/>
          </p:nvPr>
        </p:nvSpPr>
        <p:spPr>
          <a:xfrm>
            <a:off x="4211999" y="1618672"/>
            <a:ext cx="3780000" cy="1921970"/>
          </a:xfrm>
          <a:noFill/>
        </p:spPr>
        <p:txBody>
          <a:bodyPr/>
          <a:lstStyle>
            <a:lvl1pPr algn="ctr">
              <a:defRPr b="0"/>
            </a:lvl1pPr>
            <a:lvl5pPr>
              <a:defRPr/>
            </a:lvl5pPr>
          </a:lstStyle>
          <a:p>
            <a:pPr lvl="0"/>
            <a:r>
              <a:rPr lang="en-US"/>
              <a:t>Insert Chart</a:t>
            </a:r>
            <a:endParaRPr lang="en-GB"/>
          </a:p>
        </p:txBody>
      </p:sp>
      <p:sp>
        <p:nvSpPr>
          <p:cNvPr id="19" name="Footer Placeholder 4">
            <a:extLst>
              <a:ext uri="{FF2B5EF4-FFF2-40B4-BE49-F238E27FC236}">
                <a16:creationId xmlns:a16="http://schemas.microsoft.com/office/drawing/2014/main" id="{A7EAE299-1F76-73EE-8745-EE23D4D11B09}"/>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
        <p:nvSpPr>
          <p:cNvPr id="3" name="Text Placeholder 5">
            <a:extLst>
              <a:ext uri="{FF2B5EF4-FFF2-40B4-BE49-F238E27FC236}">
                <a16:creationId xmlns:a16="http://schemas.microsoft.com/office/drawing/2014/main" id="{3B4901AB-1B19-543F-ECDA-5EDB06FBE945}"/>
              </a:ext>
            </a:extLst>
          </p:cNvPr>
          <p:cNvSpPr>
            <a:spLocks noGrp="1"/>
          </p:cNvSpPr>
          <p:nvPr>
            <p:ph type="body" sz="quarter" idx="22"/>
          </p:nvPr>
        </p:nvSpPr>
        <p:spPr>
          <a:xfrm>
            <a:off x="4194279" y="3615442"/>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4" name="Content Placeholder 7">
            <a:extLst>
              <a:ext uri="{FF2B5EF4-FFF2-40B4-BE49-F238E27FC236}">
                <a16:creationId xmlns:a16="http://schemas.microsoft.com/office/drawing/2014/main" id="{B6F18716-63C2-AE24-B37F-79B81DD9347F}"/>
              </a:ext>
            </a:extLst>
          </p:cNvPr>
          <p:cNvSpPr>
            <a:spLocks noGrp="1"/>
          </p:cNvSpPr>
          <p:nvPr>
            <p:ph sz="quarter" idx="23" hasCustomPrompt="1"/>
          </p:nvPr>
        </p:nvSpPr>
        <p:spPr>
          <a:xfrm>
            <a:off x="4194278" y="3982642"/>
            <a:ext cx="3780000" cy="1921970"/>
          </a:xfrm>
          <a:noFill/>
        </p:spPr>
        <p:txBody>
          <a:bodyPr/>
          <a:lstStyle>
            <a:lvl1pPr algn="ctr">
              <a:defRPr b="0"/>
            </a:lvl1pPr>
            <a:lvl5pPr>
              <a:defRPr/>
            </a:lvl5pPr>
          </a:lstStyle>
          <a:p>
            <a:pPr lvl="0"/>
            <a:r>
              <a:rPr lang="en-US"/>
              <a:t>Insert Chart</a:t>
            </a:r>
            <a:endParaRPr lang="en-GB"/>
          </a:p>
        </p:txBody>
      </p:sp>
    </p:spTree>
    <p:extLst>
      <p:ext uri="{BB962C8B-B14F-4D97-AF65-F5344CB8AC3E}">
        <p14:creationId xmlns:p14="http://schemas.microsoft.com/office/powerpoint/2010/main" val="1810066242"/>
      </p:ext>
    </p:extLst>
  </p:cSld>
  <p:clrMapOvr>
    <a:masterClrMapping/>
  </p:clrMapOvr>
  <p:extLst>
    <p:ext uri="{DCECCB84-F9BA-43D5-87BE-67443E8EF086}">
      <p15:sldGuideLst xmlns:p15="http://schemas.microsoft.com/office/powerpoint/2012/main">
        <p15:guide id="1" pos="665">
          <p15:clr>
            <a:srgbClr val="5ACBF0"/>
          </p15:clr>
        </p15:guide>
        <p15:guide id="2" pos="2434">
          <p15:clr>
            <a:srgbClr val="5ACBF0"/>
          </p15:clr>
        </p15:guide>
        <p15:guide id="3" pos="3069">
          <p15:clr>
            <a:srgbClr val="5ACBF0"/>
          </p15:clr>
        </p15:guide>
        <p15:guide id="4" pos="4838">
          <p15:clr>
            <a:srgbClr val="5ACBF0"/>
          </p15:clr>
        </p15:guide>
        <p15:guide id="5" orient="horz" pos="1253">
          <p15:clr>
            <a:srgbClr val="5ACBF0"/>
          </p15:clr>
        </p15:guide>
        <p15:guide id="7" orient="horz" pos="3271">
          <p15:clr>
            <a:srgbClr val="5ACBF0"/>
          </p15:clr>
        </p15:guide>
        <p15:guide id="9" orient="horz" pos="799">
          <p15:clr>
            <a:srgbClr val="F26B43"/>
          </p15:clr>
        </p15:guide>
        <p15:guide id="11" orient="horz" pos="3725">
          <p15:clr>
            <a:srgbClr val="F26B43"/>
          </p15:clr>
        </p15:guide>
        <p15:guide id="12" pos="5042">
          <p15:clr>
            <a:srgbClr val="F26B43"/>
          </p15:clr>
        </p15:guide>
        <p15:guide id="13" pos="2638">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36_Divider 4">
    <p:spTree>
      <p:nvGrpSpPr>
        <p:cNvPr id="1" name=""/>
        <p:cNvGrpSpPr/>
        <p:nvPr/>
      </p:nvGrpSpPr>
      <p:grpSpPr>
        <a:xfrm>
          <a:off x="0" y="0"/>
          <a:ext cx="0" cy="0"/>
          <a:chOff x="0" y="0"/>
          <a:chExt cx="0" cy="0"/>
        </a:xfrm>
      </p:grpSpPr>
      <p:pic>
        <p:nvPicPr>
          <p:cNvPr id="4" name="Picture 3" descr="A road with many cars on it&#10;&#10;Description automatically generated">
            <a:extLst>
              <a:ext uri="{FF2B5EF4-FFF2-40B4-BE49-F238E27FC236}">
                <a16:creationId xmlns:a16="http://schemas.microsoft.com/office/drawing/2014/main" id="{40B5AAE2-4D1A-2662-5EDA-AC15CD37C29C}"/>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34BA1656-A1F4-C928-82D9-3E90CABC9B58}"/>
              </a:ext>
            </a:extLst>
          </p:cNvPr>
          <p:cNvSpPr/>
          <p:nvPr userDrawn="1"/>
        </p:nvSpPr>
        <p:spPr>
          <a:xfrm>
            <a:off x="0" y="0"/>
            <a:ext cx="12192000" cy="6858000"/>
          </a:xfrm>
          <a:prstGeom prst="rect">
            <a:avLst/>
          </a:prstGeom>
          <a:gradFill flip="none" rotWithShape="1">
            <a:gsLst>
              <a:gs pos="0">
                <a:srgbClr val="040010"/>
              </a:gs>
              <a:gs pos="99000">
                <a:srgbClr val="E1E6EB">
                  <a:alpha val="0"/>
                </a:srgb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F5470F66-68CB-5759-B6F7-6E9BCAB6C367}"/>
              </a:ext>
            </a:extLst>
          </p:cNvPr>
          <p:cNvSpPr>
            <a:spLocks noGrp="1"/>
          </p:cNvSpPr>
          <p:nvPr>
            <p:ph type="body" sz="quarter" idx="13"/>
          </p:nvPr>
        </p:nvSpPr>
        <p:spPr>
          <a:xfrm>
            <a:off x="1419617" y="1974233"/>
            <a:ext cx="8074025" cy="2971800"/>
          </a:xfrm>
          <a:prstGeom prst="rect">
            <a:avLst/>
          </a:prstGeom>
        </p:spPr>
        <p:txBody>
          <a:bodyPr>
            <a:noAutofit/>
          </a:bodyPr>
          <a:lstStyle>
            <a:lvl1pPr>
              <a:defRPr sz="3200"/>
            </a:lvl1pPr>
            <a:lvl2pPr>
              <a:defRPr sz="2800"/>
            </a:lvl2pPr>
            <a:lvl3pPr>
              <a:defRPr sz="2400"/>
            </a:lvl3pPr>
            <a:lvl4pPr>
              <a:defRPr sz="2000"/>
            </a:lvl4pPr>
            <a:lvl5pP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8" name="Straight Connector 17">
            <a:extLst>
              <a:ext uri="{FF2B5EF4-FFF2-40B4-BE49-F238E27FC236}">
                <a16:creationId xmlns:a16="http://schemas.microsoft.com/office/drawing/2014/main" id="{2281AFFB-9450-87C4-EC5E-9F3098E21E8B}"/>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D344B035-4975-BB69-BA44-C6C8A458112E}"/>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0E56A41D-9230-93EC-4D25-1DE55291070C}"/>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white text&#10;&#10;Description automatically generated">
            <a:extLst>
              <a:ext uri="{FF2B5EF4-FFF2-40B4-BE49-F238E27FC236}">
                <a16:creationId xmlns:a16="http://schemas.microsoft.com/office/drawing/2014/main" id="{8828859D-C46D-ECC7-BBF0-2E5698D538AE}"/>
              </a:ext>
            </a:extLst>
          </p:cNvPr>
          <p:cNvPicPr>
            <a:picLocks noChangeAspect="1"/>
          </p:cNvPicPr>
          <p:nvPr userDrawn="1"/>
        </p:nvPicPr>
        <p:blipFill rotWithShape="1">
          <a:blip r:embed="rId3"/>
          <a:srcRect l="15089" t="30009" r="30562" b="32708"/>
          <a:stretch/>
        </p:blipFill>
        <p:spPr>
          <a:xfrm>
            <a:off x="258416" y="241982"/>
            <a:ext cx="2405271" cy="928152"/>
          </a:xfrm>
          <a:prstGeom prst="rect">
            <a:avLst/>
          </a:prstGeom>
        </p:spPr>
      </p:pic>
      <p:sp>
        <p:nvSpPr>
          <p:cNvPr id="2" name="Footer Placeholder 4">
            <a:extLst>
              <a:ext uri="{FF2B5EF4-FFF2-40B4-BE49-F238E27FC236}">
                <a16:creationId xmlns:a16="http://schemas.microsoft.com/office/drawing/2014/main" id="{FA49A776-CBCE-8656-1A02-1650BF62CAE4}"/>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bg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Stainless Steel &amp; Raw Materials in an Era of Uncertainty</a:t>
            </a:r>
          </a:p>
        </p:txBody>
      </p:sp>
      <p:sp>
        <p:nvSpPr>
          <p:cNvPr id="6" name="TextBox 5">
            <a:extLst>
              <a:ext uri="{FF2B5EF4-FFF2-40B4-BE49-F238E27FC236}">
                <a16:creationId xmlns:a16="http://schemas.microsoft.com/office/drawing/2014/main" id="{9D8746EC-87CB-340D-DB7F-64AB22ABA68D}"/>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bg1"/>
                </a:solidFill>
                <a:latin typeface="Garamond" panose="02020404030301010803" pitchFamily="18" charset="0"/>
                <a:ea typeface="Helvetica Neue UltraLight" panose="02000206000000020004" pitchFamily="2" charset="0"/>
              </a:rPr>
              <a:t>expert</a:t>
            </a:r>
            <a:r>
              <a:rPr lang="en-GB" sz="1000" b="0" i="0">
                <a:solidFill>
                  <a:schemeClr val="bg1"/>
                </a:solidFill>
                <a:latin typeface="Helvetica Neue UltraLight" panose="02000206000000020004" pitchFamily="2" charset="0"/>
                <a:ea typeface="Helvetica Neue UltraLight" panose="02000206000000020004" pitchFamily="2" charset="0"/>
              </a:rPr>
              <a:t> </a:t>
            </a:r>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8" name="Slide Number Placeholder 5">
            <a:extLst>
              <a:ext uri="{FF2B5EF4-FFF2-40B4-BE49-F238E27FC236}">
                <a16:creationId xmlns:a16="http://schemas.microsoft.com/office/drawing/2014/main" id="{6F02E0F2-DA13-084E-2C16-40F7B2FBBE3E}"/>
              </a:ext>
            </a:extLst>
          </p:cNvPr>
          <p:cNvSpPr>
            <a:spLocks noGrp="1"/>
          </p:cNvSpPr>
          <p:nvPr>
            <p:ph type="sldNum" sz="quarter" idx="4"/>
          </p:nvPr>
        </p:nvSpPr>
        <p:spPr>
          <a:xfrm>
            <a:off x="10913166" y="6193231"/>
            <a:ext cx="1133060" cy="544512"/>
          </a:xfrm>
          <a:prstGeom prst="rect">
            <a:avLst/>
          </a:prstGeom>
          <a:ln>
            <a:noFill/>
          </a:ln>
        </p:spPr>
        <p:txBody>
          <a:bodyPr vert="horz" lIns="91440" tIns="45720" rIns="91440" bIns="45720" rtlCol="0" anchor="ctr"/>
          <a:lstStyle>
            <a:lvl1pPr algn="r">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562BA7E0-5F5E-EE41-AE8D-BD30ED9E17AD}" type="slidenum">
              <a:rPr lang="en-GB" smtClean="0"/>
              <a:pPr/>
              <a:t>‹#›</a:t>
            </a:fld>
            <a:endParaRPr lang="en-GB"/>
          </a:p>
        </p:txBody>
      </p:sp>
      <p:sp>
        <p:nvSpPr>
          <p:cNvPr id="5" name="Date Placeholder 3">
            <a:extLst>
              <a:ext uri="{FF2B5EF4-FFF2-40B4-BE49-F238E27FC236}">
                <a16:creationId xmlns:a16="http://schemas.microsoft.com/office/drawing/2014/main" id="{1570A7F1-5367-7111-3FC3-CDE6323696D7}"/>
              </a:ext>
            </a:extLst>
          </p:cNvPr>
          <p:cNvSpPr>
            <a:spLocks noGrp="1"/>
          </p:cNvSpPr>
          <p:nvPr>
            <p:ph type="dt" sz="half" idx="2"/>
          </p:nvPr>
        </p:nvSpPr>
        <p:spPr>
          <a:xfrm>
            <a:off x="5406889" y="6429965"/>
            <a:ext cx="1706400" cy="307778"/>
          </a:xfrm>
          <a:prstGeom prst="rect">
            <a:avLst/>
          </a:prstGeom>
          <a:ln>
            <a:noFill/>
          </a:ln>
        </p:spPr>
        <p:txBody>
          <a:bodyPr vert="horz" lIns="91440" tIns="45720" rIns="91440" bIns="45720" rtlCol="0" anchor="ctr"/>
          <a:lstStyle>
            <a:lvl1pPr algn="l">
              <a:defRPr sz="1200" b="0" i="1">
                <a:solidFill>
                  <a:schemeClr val="bg1"/>
                </a:solidFill>
                <a:latin typeface="Garamond" panose="02020404030301010803" pitchFamily="18" charset="0"/>
                <a:ea typeface="Helvetica Neue" panose="02000503000000020004" pitchFamily="2" charset="0"/>
                <a:cs typeface="Helvetica Neue" panose="02000503000000020004" pitchFamily="2" charset="0"/>
              </a:defRPr>
            </a:lvl1pPr>
          </a:lstStyle>
          <a:p>
            <a:r>
              <a:rPr lang="en-US"/>
              <a:t>October 2025</a:t>
            </a:r>
            <a:endParaRPr lang="en-GB"/>
          </a:p>
        </p:txBody>
      </p:sp>
    </p:spTree>
    <p:extLst>
      <p:ext uri="{BB962C8B-B14F-4D97-AF65-F5344CB8AC3E}">
        <p14:creationId xmlns:p14="http://schemas.microsoft.com/office/powerpoint/2010/main" val="370756192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37_Divider 4">
    <p:spTree>
      <p:nvGrpSpPr>
        <p:cNvPr id="1" name=""/>
        <p:cNvGrpSpPr/>
        <p:nvPr/>
      </p:nvGrpSpPr>
      <p:grpSpPr>
        <a:xfrm>
          <a:off x="0" y="0"/>
          <a:ext cx="0" cy="0"/>
          <a:chOff x="0" y="0"/>
          <a:chExt cx="0" cy="0"/>
        </a:xfrm>
      </p:grpSpPr>
      <p:pic>
        <p:nvPicPr>
          <p:cNvPr id="4" name="Picture 3" descr="A street with tall buildings at night&#10;&#10;Description automatically generated">
            <a:extLst>
              <a:ext uri="{FF2B5EF4-FFF2-40B4-BE49-F238E27FC236}">
                <a16:creationId xmlns:a16="http://schemas.microsoft.com/office/drawing/2014/main" id="{DDB2F8A1-9215-2742-5D01-F073EA17B8A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34BA1656-A1F4-C928-82D9-3E90CABC9B58}"/>
              </a:ext>
            </a:extLst>
          </p:cNvPr>
          <p:cNvSpPr/>
          <p:nvPr userDrawn="1"/>
        </p:nvSpPr>
        <p:spPr>
          <a:xfrm>
            <a:off x="0" y="0"/>
            <a:ext cx="12192000" cy="6858000"/>
          </a:xfrm>
          <a:prstGeom prst="rect">
            <a:avLst/>
          </a:prstGeom>
          <a:gradFill flip="none" rotWithShape="1">
            <a:gsLst>
              <a:gs pos="0">
                <a:srgbClr val="040010"/>
              </a:gs>
              <a:gs pos="99000">
                <a:srgbClr val="E1E6EB">
                  <a:alpha val="0"/>
                </a:srgb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F5470F66-68CB-5759-B6F7-6E9BCAB6C367}"/>
              </a:ext>
            </a:extLst>
          </p:cNvPr>
          <p:cNvSpPr>
            <a:spLocks noGrp="1"/>
          </p:cNvSpPr>
          <p:nvPr>
            <p:ph type="body" sz="quarter" idx="13"/>
          </p:nvPr>
        </p:nvSpPr>
        <p:spPr>
          <a:xfrm>
            <a:off x="1419617" y="1974233"/>
            <a:ext cx="8074025" cy="2971800"/>
          </a:xfrm>
          <a:prstGeom prst="rect">
            <a:avLst/>
          </a:prstGeom>
        </p:spPr>
        <p:txBody>
          <a:bodyPr>
            <a:noAutofit/>
          </a:bodyPr>
          <a:lstStyle>
            <a:lvl1pPr>
              <a:defRPr sz="3200"/>
            </a:lvl1pPr>
            <a:lvl2pPr>
              <a:defRPr sz="2800"/>
            </a:lvl2pPr>
            <a:lvl3pPr>
              <a:defRPr sz="2400"/>
            </a:lvl3pPr>
            <a:lvl4pPr>
              <a:defRPr sz="2000"/>
            </a:lvl4pPr>
            <a:lvl5pP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8" name="Straight Connector 17">
            <a:extLst>
              <a:ext uri="{FF2B5EF4-FFF2-40B4-BE49-F238E27FC236}">
                <a16:creationId xmlns:a16="http://schemas.microsoft.com/office/drawing/2014/main" id="{2281AFFB-9450-87C4-EC5E-9F3098E21E8B}"/>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D344B035-4975-BB69-BA44-C6C8A458112E}"/>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0E56A41D-9230-93EC-4D25-1DE55291070C}"/>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white text&#10;&#10;Description automatically generated">
            <a:extLst>
              <a:ext uri="{FF2B5EF4-FFF2-40B4-BE49-F238E27FC236}">
                <a16:creationId xmlns:a16="http://schemas.microsoft.com/office/drawing/2014/main" id="{8828859D-C46D-ECC7-BBF0-2E5698D538AE}"/>
              </a:ext>
            </a:extLst>
          </p:cNvPr>
          <p:cNvPicPr>
            <a:picLocks noChangeAspect="1"/>
          </p:cNvPicPr>
          <p:nvPr userDrawn="1"/>
        </p:nvPicPr>
        <p:blipFill rotWithShape="1">
          <a:blip r:embed="rId3"/>
          <a:srcRect l="15089" t="30009" r="30562" b="32708"/>
          <a:stretch/>
        </p:blipFill>
        <p:spPr>
          <a:xfrm>
            <a:off x="258416" y="241982"/>
            <a:ext cx="2405271" cy="928152"/>
          </a:xfrm>
          <a:prstGeom prst="rect">
            <a:avLst/>
          </a:prstGeom>
        </p:spPr>
      </p:pic>
      <p:sp>
        <p:nvSpPr>
          <p:cNvPr id="2" name="Footer Placeholder 4">
            <a:extLst>
              <a:ext uri="{FF2B5EF4-FFF2-40B4-BE49-F238E27FC236}">
                <a16:creationId xmlns:a16="http://schemas.microsoft.com/office/drawing/2014/main" id="{1ACB3F42-929E-DB33-BD59-AF90E9C41ADC}"/>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bg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Stainless Steel &amp; Raw Materials in an Era of Uncertainty</a:t>
            </a:r>
          </a:p>
        </p:txBody>
      </p:sp>
      <p:sp>
        <p:nvSpPr>
          <p:cNvPr id="6" name="TextBox 5">
            <a:extLst>
              <a:ext uri="{FF2B5EF4-FFF2-40B4-BE49-F238E27FC236}">
                <a16:creationId xmlns:a16="http://schemas.microsoft.com/office/drawing/2014/main" id="{27ABA302-F9A3-500F-FE03-E8F8F1D932A4}"/>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bg1"/>
                </a:solidFill>
                <a:latin typeface="Garamond" panose="02020404030301010803" pitchFamily="18" charset="0"/>
                <a:ea typeface="Helvetica Neue UltraLight" panose="02000206000000020004" pitchFamily="2" charset="0"/>
              </a:rPr>
              <a:t>expert</a:t>
            </a:r>
            <a:r>
              <a:rPr lang="en-GB" sz="1000" b="0" i="0">
                <a:solidFill>
                  <a:schemeClr val="bg1"/>
                </a:solidFill>
                <a:latin typeface="Helvetica Neue UltraLight" panose="02000206000000020004" pitchFamily="2" charset="0"/>
                <a:ea typeface="Helvetica Neue UltraLight" panose="02000206000000020004" pitchFamily="2" charset="0"/>
              </a:rPr>
              <a:t> </a:t>
            </a:r>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8" name="Slide Number Placeholder 5">
            <a:extLst>
              <a:ext uri="{FF2B5EF4-FFF2-40B4-BE49-F238E27FC236}">
                <a16:creationId xmlns:a16="http://schemas.microsoft.com/office/drawing/2014/main" id="{669F3595-F91C-8B79-E22D-19C0362BFEAE}"/>
              </a:ext>
            </a:extLst>
          </p:cNvPr>
          <p:cNvSpPr>
            <a:spLocks noGrp="1"/>
          </p:cNvSpPr>
          <p:nvPr>
            <p:ph type="sldNum" sz="quarter" idx="4"/>
          </p:nvPr>
        </p:nvSpPr>
        <p:spPr>
          <a:xfrm>
            <a:off x="10913166" y="6193231"/>
            <a:ext cx="1133060" cy="544512"/>
          </a:xfrm>
          <a:prstGeom prst="rect">
            <a:avLst/>
          </a:prstGeom>
          <a:ln>
            <a:noFill/>
          </a:ln>
        </p:spPr>
        <p:txBody>
          <a:bodyPr vert="horz" lIns="91440" tIns="45720" rIns="91440" bIns="45720" rtlCol="0" anchor="ctr"/>
          <a:lstStyle>
            <a:lvl1pPr algn="r">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562BA7E0-5F5E-EE41-AE8D-BD30ED9E17AD}" type="slidenum">
              <a:rPr lang="en-GB" smtClean="0"/>
              <a:pPr/>
              <a:t>‹#›</a:t>
            </a:fld>
            <a:endParaRPr lang="en-GB"/>
          </a:p>
        </p:txBody>
      </p:sp>
      <p:sp>
        <p:nvSpPr>
          <p:cNvPr id="5" name="Date Placeholder 3">
            <a:extLst>
              <a:ext uri="{FF2B5EF4-FFF2-40B4-BE49-F238E27FC236}">
                <a16:creationId xmlns:a16="http://schemas.microsoft.com/office/drawing/2014/main" id="{8E2ADB1C-F410-0351-5A1D-6FF13BF2999A}"/>
              </a:ext>
            </a:extLst>
          </p:cNvPr>
          <p:cNvSpPr>
            <a:spLocks noGrp="1"/>
          </p:cNvSpPr>
          <p:nvPr>
            <p:ph type="dt" sz="half" idx="2"/>
          </p:nvPr>
        </p:nvSpPr>
        <p:spPr>
          <a:xfrm>
            <a:off x="5406889" y="6429965"/>
            <a:ext cx="1706400" cy="307778"/>
          </a:xfrm>
          <a:prstGeom prst="rect">
            <a:avLst/>
          </a:prstGeom>
          <a:ln>
            <a:noFill/>
          </a:ln>
        </p:spPr>
        <p:txBody>
          <a:bodyPr vert="horz" lIns="91440" tIns="45720" rIns="91440" bIns="45720" rtlCol="0" anchor="ctr"/>
          <a:lstStyle>
            <a:lvl1pPr algn="l">
              <a:defRPr sz="1200" b="0" i="1">
                <a:solidFill>
                  <a:schemeClr val="bg1"/>
                </a:solidFill>
                <a:latin typeface="Garamond" panose="02020404030301010803" pitchFamily="18" charset="0"/>
                <a:ea typeface="Helvetica Neue" panose="02000503000000020004" pitchFamily="2" charset="0"/>
                <a:cs typeface="Helvetica Neue" panose="02000503000000020004" pitchFamily="2" charset="0"/>
              </a:defRPr>
            </a:lvl1pPr>
          </a:lstStyle>
          <a:p>
            <a:r>
              <a:rPr lang="en-US"/>
              <a:t>October 2025</a:t>
            </a:r>
            <a:endParaRPr lang="en-GB"/>
          </a:p>
        </p:txBody>
      </p:sp>
    </p:spTree>
    <p:extLst>
      <p:ext uri="{BB962C8B-B14F-4D97-AF65-F5344CB8AC3E}">
        <p14:creationId xmlns:p14="http://schemas.microsoft.com/office/powerpoint/2010/main" val="319917857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38_Divider 4">
    <p:spTree>
      <p:nvGrpSpPr>
        <p:cNvPr id="1" name=""/>
        <p:cNvGrpSpPr/>
        <p:nvPr/>
      </p:nvGrpSpPr>
      <p:grpSpPr>
        <a:xfrm>
          <a:off x="0" y="0"/>
          <a:ext cx="0" cy="0"/>
          <a:chOff x="0" y="0"/>
          <a:chExt cx="0" cy="0"/>
        </a:xfrm>
      </p:grpSpPr>
      <p:pic>
        <p:nvPicPr>
          <p:cNvPr id="4" name="Picture 3" descr="A city skyline at night&#10;&#10;Description automatically generated">
            <a:extLst>
              <a:ext uri="{FF2B5EF4-FFF2-40B4-BE49-F238E27FC236}">
                <a16:creationId xmlns:a16="http://schemas.microsoft.com/office/drawing/2014/main" id="{8DBB2101-8F5D-95B8-440D-413FF7982BA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34BA1656-A1F4-C928-82D9-3E90CABC9B58}"/>
              </a:ext>
            </a:extLst>
          </p:cNvPr>
          <p:cNvSpPr/>
          <p:nvPr userDrawn="1"/>
        </p:nvSpPr>
        <p:spPr>
          <a:xfrm>
            <a:off x="0" y="0"/>
            <a:ext cx="12192000" cy="6858000"/>
          </a:xfrm>
          <a:prstGeom prst="rect">
            <a:avLst/>
          </a:prstGeom>
          <a:gradFill flip="none" rotWithShape="1">
            <a:gsLst>
              <a:gs pos="0">
                <a:srgbClr val="040010"/>
              </a:gs>
              <a:gs pos="99000">
                <a:srgbClr val="E1E6EB">
                  <a:alpha val="0"/>
                </a:srgb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F5470F66-68CB-5759-B6F7-6E9BCAB6C367}"/>
              </a:ext>
            </a:extLst>
          </p:cNvPr>
          <p:cNvSpPr>
            <a:spLocks noGrp="1"/>
          </p:cNvSpPr>
          <p:nvPr>
            <p:ph type="body" sz="quarter" idx="13"/>
          </p:nvPr>
        </p:nvSpPr>
        <p:spPr>
          <a:xfrm>
            <a:off x="1419617" y="1974233"/>
            <a:ext cx="8074025" cy="2971800"/>
          </a:xfrm>
          <a:prstGeom prst="rect">
            <a:avLst/>
          </a:prstGeom>
        </p:spPr>
        <p:txBody>
          <a:bodyPr>
            <a:noAutofit/>
          </a:bodyPr>
          <a:lstStyle>
            <a:lvl1pPr>
              <a:defRPr sz="3200"/>
            </a:lvl1pPr>
            <a:lvl2pPr>
              <a:defRPr sz="2800"/>
            </a:lvl2pPr>
            <a:lvl3pPr>
              <a:defRPr sz="2400"/>
            </a:lvl3pPr>
            <a:lvl4pPr>
              <a:defRPr sz="2000"/>
            </a:lvl4pPr>
            <a:lvl5pP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8" name="Straight Connector 17">
            <a:extLst>
              <a:ext uri="{FF2B5EF4-FFF2-40B4-BE49-F238E27FC236}">
                <a16:creationId xmlns:a16="http://schemas.microsoft.com/office/drawing/2014/main" id="{2281AFFB-9450-87C4-EC5E-9F3098E21E8B}"/>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D344B035-4975-BB69-BA44-C6C8A458112E}"/>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0E56A41D-9230-93EC-4D25-1DE55291070C}"/>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white text&#10;&#10;Description automatically generated">
            <a:extLst>
              <a:ext uri="{FF2B5EF4-FFF2-40B4-BE49-F238E27FC236}">
                <a16:creationId xmlns:a16="http://schemas.microsoft.com/office/drawing/2014/main" id="{8828859D-C46D-ECC7-BBF0-2E5698D538AE}"/>
              </a:ext>
            </a:extLst>
          </p:cNvPr>
          <p:cNvPicPr>
            <a:picLocks noChangeAspect="1"/>
          </p:cNvPicPr>
          <p:nvPr userDrawn="1"/>
        </p:nvPicPr>
        <p:blipFill rotWithShape="1">
          <a:blip r:embed="rId3"/>
          <a:srcRect l="15089" t="30009" r="30562" b="32708"/>
          <a:stretch/>
        </p:blipFill>
        <p:spPr>
          <a:xfrm>
            <a:off x="258416" y="241982"/>
            <a:ext cx="2405271" cy="928152"/>
          </a:xfrm>
          <a:prstGeom prst="rect">
            <a:avLst/>
          </a:prstGeom>
        </p:spPr>
      </p:pic>
      <p:sp>
        <p:nvSpPr>
          <p:cNvPr id="2" name="Footer Placeholder 4">
            <a:extLst>
              <a:ext uri="{FF2B5EF4-FFF2-40B4-BE49-F238E27FC236}">
                <a16:creationId xmlns:a16="http://schemas.microsoft.com/office/drawing/2014/main" id="{CB122833-D611-DC13-A2D9-6113937633BF}"/>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bg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Stainless Steel &amp; Raw Materials in an Era of Uncertainty</a:t>
            </a:r>
          </a:p>
        </p:txBody>
      </p:sp>
      <p:sp>
        <p:nvSpPr>
          <p:cNvPr id="6" name="TextBox 5">
            <a:extLst>
              <a:ext uri="{FF2B5EF4-FFF2-40B4-BE49-F238E27FC236}">
                <a16:creationId xmlns:a16="http://schemas.microsoft.com/office/drawing/2014/main" id="{F8B8BBF8-765E-C876-5FDE-014D7ACBE35F}"/>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bg1"/>
                </a:solidFill>
                <a:latin typeface="Garamond" panose="02020404030301010803" pitchFamily="18" charset="0"/>
                <a:ea typeface="Helvetica Neue UltraLight" panose="02000206000000020004" pitchFamily="2" charset="0"/>
              </a:rPr>
              <a:t>expert</a:t>
            </a:r>
            <a:r>
              <a:rPr lang="en-GB" sz="1000" b="0" i="0">
                <a:solidFill>
                  <a:schemeClr val="bg1"/>
                </a:solidFill>
                <a:latin typeface="Helvetica Neue UltraLight" panose="02000206000000020004" pitchFamily="2" charset="0"/>
                <a:ea typeface="Helvetica Neue UltraLight" panose="02000206000000020004" pitchFamily="2" charset="0"/>
              </a:rPr>
              <a:t> </a:t>
            </a:r>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8" name="Slide Number Placeholder 5">
            <a:extLst>
              <a:ext uri="{FF2B5EF4-FFF2-40B4-BE49-F238E27FC236}">
                <a16:creationId xmlns:a16="http://schemas.microsoft.com/office/drawing/2014/main" id="{F46D6BAD-8A9B-2187-62E3-0288AC58E842}"/>
              </a:ext>
            </a:extLst>
          </p:cNvPr>
          <p:cNvSpPr>
            <a:spLocks noGrp="1"/>
          </p:cNvSpPr>
          <p:nvPr>
            <p:ph type="sldNum" sz="quarter" idx="4"/>
          </p:nvPr>
        </p:nvSpPr>
        <p:spPr>
          <a:xfrm>
            <a:off x="10913166" y="6193231"/>
            <a:ext cx="1133060" cy="544512"/>
          </a:xfrm>
          <a:prstGeom prst="rect">
            <a:avLst/>
          </a:prstGeom>
          <a:ln>
            <a:noFill/>
          </a:ln>
        </p:spPr>
        <p:txBody>
          <a:bodyPr vert="horz" lIns="91440" tIns="45720" rIns="91440" bIns="45720" rtlCol="0" anchor="ctr"/>
          <a:lstStyle>
            <a:lvl1pPr algn="r">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562BA7E0-5F5E-EE41-AE8D-BD30ED9E17AD}" type="slidenum">
              <a:rPr lang="en-GB" smtClean="0"/>
              <a:pPr/>
              <a:t>‹#›</a:t>
            </a:fld>
            <a:endParaRPr lang="en-GB"/>
          </a:p>
        </p:txBody>
      </p:sp>
      <p:sp>
        <p:nvSpPr>
          <p:cNvPr id="5" name="Date Placeholder 3">
            <a:extLst>
              <a:ext uri="{FF2B5EF4-FFF2-40B4-BE49-F238E27FC236}">
                <a16:creationId xmlns:a16="http://schemas.microsoft.com/office/drawing/2014/main" id="{C59E72B9-C686-BD81-134C-1CF9D417EC54}"/>
              </a:ext>
            </a:extLst>
          </p:cNvPr>
          <p:cNvSpPr>
            <a:spLocks noGrp="1"/>
          </p:cNvSpPr>
          <p:nvPr>
            <p:ph type="dt" sz="half" idx="2"/>
          </p:nvPr>
        </p:nvSpPr>
        <p:spPr>
          <a:xfrm>
            <a:off x="5406889" y="6429965"/>
            <a:ext cx="1706400" cy="307778"/>
          </a:xfrm>
          <a:prstGeom prst="rect">
            <a:avLst/>
          </a:prstGeom>
          <a:ln>
            <a:noFill/>
          </a:ln>
        </p:spPr>
        <p:txBody>
          <a:bodyPr vert="horz" lIns="91440" tIns="45720" rIns="91440" bIns="45720" rtlCol="0" anchor="ctr"/>
          <a:lstStyle>
            <a:lvl1pPr algn="l">
              <a:defRPr sz="1200" b="0" i="1">
                <a:solidFill>
                  <a:schemeClr val="bg1"/>
                </a:solidFill>
                <a:latin typeface="Garamond" panose="02020404030301010803" pitchFamily="18" charset="0"/>
                <a:ea typeface="Helvetica Neue" panose="02000503000000020004" pitchFamily="2" charset="0"/>
                <a:cs typeface="Helvetica Neue" panose="02000503000000020004" pitchFamily="2" charset="0"/>
              </a:defRPr>
            </a:lvl1pPr>
          </a:lstStyle>
          <a:p>
            <a:r>
              <a:rPr lang="en-US"/>
              <a:t>October 2025</a:t>
            </a:r>
            <a:endParaRPr lang="en-GB"/>
          </a:p>
        </p:txBody>
      </p:sp>
    </p:spTree>
    <p:extLst>
      <p:ext uri="{BB962C8B-B14F-4D97-AF65-F5344CB8AC3E}">
        <p14:creationId xmlns:p14="http://schemas.microsoft.com/office/powerpoint/2010/main" val="254442063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39_Divider 4">
    <p:spTree>
      <p:nvGrpSpPr>
        <p:cNvPr id="1" name=""/>
        <p:cNvGrpSpPr/>
        <p:nvPr/>
      </p:nvGrpSpPr>
      <p:grpSpPr>
        <a:xfrm>
          <a:off x="0" y="0"/>
          <a:ext cx="0" cy="0"/>
          <a:chOff x="0" y="0"/>
          <a:chExt cx="0" cy="0"/>
        </a:xfrm>
      </p:grpSpPr>
      <p:pic>
        <p:nvPicPr>
          <p:cNvPr id="4" name="Picture 3" descr="A close-up of a hand on a steering wheel&#10;&#10;Description automatically generated">
            <a:extLst>
              <a:ext uri="{FF2B5EF4-FFF2-40B4-BE49-F238E27FC236}">
                <a16:creationId xmlns:a16="http://schemas.microsoft.com/office/drawing/2014/main" id="{0DE63FB4-DCD4-A5EC-B8D8-CA0FD82B4609}"/>
              </a:ext>
            </a:extLst>
          </p:cNvPr>
          <p:cNvPicPr>
            <a:picLocks noChangeAspect="1"/>
          </p:cNvPicPr>
          <p:nvPr userDrawn="1"/>
        </p:nvPicPr>
        <p:blipFill>
          <a:blip r:embed="rId2"/>
          <a:stretch>
            <a:fillRect/>
          </a:stretch>
        </p:blipFill>
        <p:spPr>
          <a:xfrm>
            <a:off x="0" y="0"/>
            <a:ext cx="12191998" cy="6857999"/>
          </a:xfrm>
          <a:prstGeom prst="rect">
            <a:avLst/>
          </a:prstGeom>
        </p:spPr>
      </p:pic>
      <p:sp>
        <p:nvSpPr>
          <p:cNvPr id="12" name="Rectangle 11">
            <a:extLst>
              <a:ext uri="{FF2B5EF4-FFF2-40B4-BE49-F238E27FC236}">
                <a16:creationId xmlns:a16="http://schemas.microsoft.com/office/drawing/2014/main" id="{34BA1656-A1F4-C928-82D9-3E90CABC9B58}"/>
              </a:ext>
            </a:extLst>
          </p:cNvPr>
          <p:cNvSpPr/>
          <p:nvPr userDrawn="1"/>
        </p:nvSpPr>
        <p:spPr>
          <a:xfrm>
            <a:off x="0" y="0"/>
            <a:ext cx="12192000" cy="6858000"/>
          </a:xfrm>
          <a:prstGeom prst="rect">
            <a:avLst/>
          </a:prstGeom>
          <a:gradFill flip="none" rotWithShape="1">
            <a:gsLst>
              <a:gs pos="0">
                <a:srgbClr val="040010"/>
              </a:gs>
              <a:gs pos="99000">
                <a:srgbClr val="E1E6EB">
                  <a:alpha val="0"/>
                </a:srgb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F5470F66-68CB-5759-B6F7-6E9BCAB6C367}"/>
              </a:ext>
            </a:extLst>
          </p:cNvPr>
          <p:cNvSpPr>
            <a:spLocks noGrp="1"/>
          </p:cNvSpPr>
          <p:nvPr>
            <p:ph type="body" sz="quarter" idx="13"/>
          </p:nvPr>
        </p:nvSpPr>
        <p:spPr>
          <a:xfrm>
            <a:off x="1419617" y="1974233"/>
            <a:ext cx="8074025" cy="2971800"/>
          </a:xfrm>
          <a:prstGeom prst="rect">
            <a:avLst/>
          </a:prstGeom>
        </p:spPr>
        <p:txBody>
          <a:bodyPr>
            <a:noAutofit/>
          </a:bodyPr>
          <a:lstStyle>
            <a:lvl1pPr>
              <a:defRPr sz="3200"/>
            </a:lvl1pPr>
            <a:lvl2pPr>
              <a:defRPr sz="2800"/>
            </a:lvl2pPr>
            <a:lvl3pPr>
              <a:defRPr sz="2400"/>
            </a:lvl3pPr>
            <a:lvl4pPr>
              <a:defRPr sz="2000"/>
            </a:lvl4pPr>
            <a:lvl5pP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8" name="Straight Connector 17">
            <a:extLst>
              <a:ext uri="{FF2B5EF4-FFF2-40B4-BE49-F238E27FC236}">
                <a16:creationId xmlns:a16="http://schemas.microsoft.com/office/drawing/2014/main" id="{2281AFFB-9450-87C4-EC5E-9F3098E21E8B}"/>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D344B035-4975-BB69-BA44-C6C8A458112E}"/>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0E56A41D-9230-93EC-4D25-1DE55291070C}"/>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white text&#10;&#10;Description automatically generated">
            <a:extLst>
              <a:ext uri="{FF2B5EF4-FFF2-40B4-BE49-F238E27FC236}">
                <a16:creationId xmlns:a16="http://schemas.microsoft.com/office/drawing/2014/main" id="{8828859D-C46D-ECC7-BBF0-2E5698D538AE}"/>
              </a:ext>
            </a:extLst>
          </p:cNvPr>
          <p:cNvPicPr>
            <a:picLocks noChangeAspect="1"/>
          </p:cNvPicPr>
          <p:nvPr userDrawn="1"/>
        </p:nvPicPr>
        <p:blipFill rotWithShape="1">
          <a:blip r:embed="rId3"/>
          <a:srcRect l="15089" t="30009" r="30562" b="32708"/>
          <a:stretch/>
        </p:blipFill>
        <p:spPr>
          <a:xfrm>
            <a:off x="258416" y="241982"/>
            <a:ext cx="2405271" cy="928152"/>
          </a:xfrm>
          <a:prstGeom prst="rect">
            <a:avLst/>
          </a:prstGeom>
        </p:spPr>
      </p:pic>
      <p:sp>
        <p:nvSpPr>
          <p:cNvPr id="2" name="Footer Placeholder 4">
            <a:extLst>
              <a:ext uri="{FF2B5EF4-FFF2-40B4-BE49-F238E27FC236}">
                <a16:creationId xmlns:a16="http://schemas.microsoft.com/office/drawing/2014/main" id="{2E526BC8-ACA0-6997-36B0-3647BE4F6CC5}"/>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bg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Stainless Steel &amp; Raw Materials in an Era of Uncertainty</a:t>
            </a:r>
          </a:p>
        </p:txBody>
      </p:sp>
      <p:sp>
        <p:nvSpPr>
          <p:cNvPr id="6" name="TextBox 5">
            <a:extLst>
              <a:ext uri="{FF2B5EF4-FFF2-40B4-BE49-F238E27FC236}">
                <a16:creationId xmlns:a16="http://schemas.microsoft.com/office/drawing/2014/main" id="{88497B6E-E101-277A-588F-CBEC745DADD5}"/>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bg1"/>
                </a:solidFill>
                <a:latin typeface="Garamond" panose="02020404030301010803" pitchFamily="18" charset="0"/>
                <a:ea typeface="Helvetica Neue UltraLight" panose="02000206000000020004" pitchFamily="2" charset="0"/>
              </a:rPr>
              <a:t>expert</a:t>
            </a:r>
            <a:r>
              <a:rPr lang="en-GB" sz="1000" b="0" i="0">
                <a:solidFill>
                  <a:schemeClr val="bg1"/>
                </a:solidFill>
                <a:latin typeface="Helvetica Neue UltraLight" panose="02000206000000020004" pitchFamily="2" charset="0"/>
                <a:ea typeface="Helvetica Neue UltraLight" panose="02000206000000020004" pitchFamily="2" charset="0"/>
              </a:rPr>
              <a:t> </a:t>
            </a:r>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8" name="Slide Number Placeholder 5">
            <a:extLst>
              <a:ext uri="{FF2B5EF4-FFF2-40B4-BE49-F238E27FC236}">
                <a16:creationId xmlns:a16="http://schemas.microsoft.com/office/drawing/2014/main" id="{85C5BC2C-FB14-06CE-F52F-7145741377A8}"/>
              </a:ext>
            </a:extLst>
          </p:cNvPr>
          <p:cNvSpPr>
            <a:spLocks noGrp="1"/>
          </p:cNvSpPr>
          <p:nvPr>
            <p:ph type="sldNum" sz="quarter" idx="4"/>
          </p:nvPr>
        </p:nvSpPr>
        <p:spPr>
          <a:xfrm>
            <a:off x="10913166" y="6193231"/>
            <a:ext cx="1133060" cy="544512"/>
          </a:xfrm>
          <a:prstGeom prst="rect">
            <a:avLst/>
          </a:prstGeom>
          <a:ln>
            <a:noFill/>
          </a:ln>
        </p:spPr>
        <p:txBody>
          <a:bodyPr vert="horz" lIns="91440" tIns="45720" rIns="91440" bIns="45720" rtlCol="0" anchor="ctr"/>
          <a:lstStyle>
            <a:lvl1pPr algn="r">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562BA7E0-5F5E-EE41-AE8D-BD30ED9E17AD}" type="slidenum">
              <a:rPr lang="en-GB" smtClean="0"/>
              <a:pPr/>
              <a:t>‹#›</a:t>
            </a:fld>
            <a:endParaRPr lang="en-GB"/>
          </a:p>
        </p:txBody>
      </p:sp>
      <p:sp>
        <p:nvSpPr>
          <p:cNvPr id="5" name="Date Placeholder 3">
            <a:extLst>
              <a:ext uri="{FF2B5EF4-FFF2-40B4-BE49-F238E27FC236}">
                <a16:creationId xmlns:a16="http://schemas.microsoft.com/office/drawing/2014/main" id="{3088AFB8-A0BC-B6F7-5FD4-332F3EE1DDF7}"/>
              </a:ext>
            </a:extLst>
          </p:cNvPr>
          <p:cNvSpPr>
            <a:spLocks noGrp="1"/>
          </p:cNvSpPr>
          <p:nvPr>
            <p:ph type="dt" sz="half" idx="2"/>
          </p:nvPr>
        </p:nvSpPr>
        <p:spPr>
          <a:xfrm>
            <a:off x="5406889" y="6429965"/>
            <a:ext cx="1706400" cy="307778"/>
          </a:xfrm>
          <a:prstGeom prst="rect">
            <a:avLst/>
          </a:prstGeom>
          <a:ln>
            <a:noFill/>
          </a:ln>
        </p:spPr>
        <p:txBody>
          <a:bodyPr vert="horz" lIns="91440" tIns="45720" rIns="91440" bIns="45720" rtlCol="0" anchor="ctr"/>
          <a:lstStyle>
            <a:lvl1pPr algn="l">
              <a:defRPr sz="1200" b="0" i="1">
                <a:solidFill>
                  <a:schemeClr val="bg1"/>
                </a:solidFill>
                <a:latin typeface="Garamond" panose="02020404030301010803" pitchFamily="18" charset="0"/>
                <a:ea typeface="Helvetica Neue" panose="02000503000000020004" pitchFamily="2" charset="0"/>
                <a:cs typeface="Helvetica Neue" panose="02000503000000020004" pitchFamily="2" charset="0"/>
              </a:defRPr>
            </a:lvl1pPr>
          </a:lstStyle>
          <a:p>
            <a:r>
              <a:rPr lang="en-US"/>
              <a:t>October 2025</a:t>
            </a:r>
            <a:endParaRPr lang="en-GB"/>
          </a:p>
        </p:txBody>
      </p:sp>
    </p:spTree>
    <p:extLst>
      <p:ext uri="{BB962C8B-B14F-4D97-AF65-F5344CB8AC3E}">
        <p14:creationId xmlns:p14="http://schemas.microsoft.com/office/powerpoint/2010/main" val="59985014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0_Divider 4">
    <p:spTree>
      <p:nvGrpSpPr>
        <p:cNvPr id="1" name=""/>
        <p:cNvGrpSpPr/>
        <p:nvPr/>
      </p:nvGrpSpPr>
      <p:grpSpPr>
        <a:xfrm>
          <a:off x="0" y="0"/>
          <a:ext cx="0" cy="0"/>
          <a:chOff x="0" y="0"/>
          <a:chExt cx="0" cy="0"/>
        </a:xfrm>
      </p:grpSpPr>
      <p:pic>
        <p:nvPicPr>
          <p:cNvPr id="6" name="Picture 5" descr="Rolls of steel coils in a warehouse&#10;&#10;Description automatically generated">
            <a:extLst>
              <a:ext uri="{FF2B5EF4-FFF2-40B4-BE49-F238E27FC236}">
                <a16:creationId xmlns:a16="http://schemas.microsoft.com/office/drawing/2014/main" id="{3B38235A-6D04-F582-E4E0-F8D299009337}"/>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34BA1656-A1F4-C928-82D9-3E90CABC9B58}"/>
              </a:ext>
            </a:extLst>
          </p:cNvPr>
          <p:cNvSpPr/>
          <p:nvPr userDrawn="1"/>
        </p:nvSpPr>
        <p:spPr>
          <a:xfrm>
            <a:off x="0" y="0"/>
            <a:ext cx="12192000" cy="6858000"/>
          </a:xfrm>
          <a:prstGeom prst="rect">
            <a:avLst/>
          </a:prstGeom>
          <a:gradFill flip="none" rotWithShape="1">
            <a:gsLst>
              <a:gs pos="0">
                <a:srgbClr val="040010"/>
              </a:gs>
              <a:gs pos="99000">
                <a:srgbClr val="E1E6EB">
                  <a:alpha val="0"/>
                </a:srgb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F5470F66-68CB-5759-B6F7-6E9BCAB6C367}"/>
              </a:ext>
            </a:extLst>
          </p:cNvPr>
          <p:cNvSpPr>
            <a:spLocks noGrp="1"/>
          </p:cNvSpPr>
          <p:nvPr>
            <p:ph type="body" sz="quarter" idx="13"/>
          </p:nvPr>
        </p:nvSpPr>
        <p:spPr>
          <a:xfrm>
            <a:off x="1419617" y="1974233"/>
            <a:ext cx="8074025" cy="2971800"/>
          </a:xfrm>
          <a:prstGeom prst="rect">
            <a:avLst/>
          </a:prstGeom>
        </p:spPr>
        <p:txBody>
          <a:bodyPr>
            <a:noAutofit/>
          </a:bodyPr>
          <a:lstStyle>
            <a:lvl1pPr>
              <a:defRPr sz="3200"/>
            </a:lvl1pPr>
            <a:lvl2pPr>
              <a:defRPr sz="2800"/>
            </a:lvl2pPr>
            <a:lvl3pPr>
              <a:defRPr sz="2400"/>
            </a:lvl3pPr>
            <a:lvl4pPr>
              <a:defRPr sz="2000"/>
            </a:lvl4pPr>
            <a:lvl5pP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8" name="Straight Connector 17">
            <a:extLst>
              <a:ext uri="{FF2B5EF4-FFF2-40B4-BE49-F238E27FC236}">
                <a16:creationId xmlns:a16="http://schemas.microsoft.com/office/drawing/2014/main" id="{2281AFFB-9450-87C4-EC5E-9F3098E21E8B}"/>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D344B035-4975-BB69-BA44-C6C8A458112E}"/>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0E56A41D-9230-93EC-4D25-1DE55291070C}"/>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4" name="Picture 3" descr="A black background with white text&#10;&#10;Description automatically generated">
            <a:extLst>
              <a:ext uri="{FF2B5EF4-FFF2-40B4-BE49-F238E27FC236}">
                <a16:creationId xmlns:a16="http://schemas.microsoft.com/office/drawing/2014/main" id="{47FA4C9F-0D94-378B-8F0C-5A475E5B1ED5}"/>
              </a:ext>
            </a:extLst>
          </p:cNvPr>
          <p:cNvPicPr>
            <a:picLocks noChangeAspect="1"/>
          </p:cNvPicPr>
          <p:nvPr userDrawn="1"/>
        </p:nvPicPr>
        <p:blipFill rotWithShape="1">
          <a:blip r:embed="rId3"/>
          <a:srcRect l="15089" t="30009" r="30562" b="32708"/>
          <a:stretch/>
        </p:blipFill>
        <p:spPr>
          <a:xfrm>
            <a:off x="258416" y="241982"/>
            <a:ext cx="2405271" cy="928152"/>
          </a:xfrm>
          <a:prstGeom prst="rect">
            <a:avLst/>
          </a:prstGeom>
        </p:spPr>
      </p:pic>
      <p:sp>
        <p:nvSpPr>
          <p:cNvPr id="2" name="Footer Placeholder 4">
            <a:extLst>
              <a:ext uri="{FF2B5EF4-FFF2-40B4-BE49-F238E27FC236}">
                <a16:creationId xmlns:a16="http://schemas.microsoft.com/office/drawing/2014/main" id="{DC186AED-F269-0EDB-1800-FB20464CED07}"/>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bg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Stainless Steel &amp; Raw Materials in an Era of Uncertainty</a:t>
            </a:r>
          </a:p>
        </p:txBody>
      </p:sp>
      <p:sp>
        <p:nvSpPr>
          <p:cNvPr id="3" name="TextBox 2">
            <a:extLst>
              <a:ext uri="{FF2B5EF4-FFF2-40B4-BE49-F238E27FC236}">
                <a16:creationId xmlns:a16="http://schemas.microsoft.com/office/drawing/2014/main" id="{6748F83F-1AAA-F010-FDB8-CA6F902482A1}"/>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bg1"/>
                </a:solidFill>
                <a:latin typeface="Garamond" panose="02020404030301010803" pitchFamily="18" charset="0"/>
                <a:ea typeface="Helvetica Neue UltraLight" panose="02000206000000020004" pitchFamily="2" charset="0"/>
              </a:rPr>
              <a:t>expert</a:t>
            </a:r>
            <a:r>
              <a:rPr lang="en-GB" sz="1000" b="0" i="0">
                <a:solidFill>
                  <a:schemeClr val="bg1"/>
                </a:solidFill>
                <a:latin typeface="Helvetica Neue UltraLight" panose="02000206000000020004" pitchFamily="2" charset="0"/>
                <a:ea typeface="Helvetica Neue UltraLight" panose="02000206000000020004" pitchFamily="2" charset="0"/>
              </a:rPr>
              <a:t> </a:t>
            </a:r>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8" name="Slide Number Placeholder 5">
            <a:extLst>
              <a:ext uri="{FF2B5EF4-FFF2-40B4-BE49-F238E27FC236}">
                <a16:creationId xmlns:a16="http://schemas.microsoft.com/office/drawing/2014/main" id="{29CCFBF7-4F4D-5027-D639-B2F8C030BE99}"/>
              </a:ext>
            </a:extLst>
          </p:cNvPr>
          <p:cNvSpPr>
            <a:spLocks noGrp="1"/>
          </p:cNvSpPr>
          <p:nvPr>
            <p:ph type="sldNum" sz="quarter" idx="4"/>
          </p:nvPr>
        </p:nvSpPr>
        <p:spPr>
          <a:xfrm>
            <a:off x="10913166" y="6193231"/>
            <a:ext cx="1133060" cy="544512"/>
          </a:xfrm>
          <a:prstGeom prst="rect">
            <a:avLst/>
          </a:prstGeom>
          <a:ln>
            <a:noFill/>
          </a:ln>
        </p:spPr>
        <p:txBody>
          <a:bodyPr vert="horz" lIns="91440" tIns="45720" rIns="91440" bIns="45720" rtlCol="0" anchor="ctr"/>
          <a:lstStyle>
            <a:lvl1pPr algn="r">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562BA7E0-5F5E-EE41-AE8D-BD30ED9E17AD}" type="slidenum">
              <a:rPr lang="en-GB" smtClean="0"/>
              <a:pPr/>
              <a:t>‹#›</a:t>
            </a:fld>
            <a:endParaRPr lang="en-GB"/>
          </a:p>
        </p:txBody>
      </p:sp>
      <p:sp>
        <p:nvSpPr>
          <p:cNvPr id="5" name="Date Placeholder 3">
            <a:extLst>
              <a:ext uri="{FF2B5EF4-FFF2-40B4-BE49-F238E27FC236}">
                <a16:creationId xmlns:a16="http://schemas.microsoft.com/office/drawing/2014/main" id="{C2CA7F9E-2CD7-19CC-D3E8-3C39F33029CD}"/>
              </a:ext>
            </a:extLst>
          </p:cNvPr>
          <p:cNvSpPr>
            <a:spLocks noGrp="1"/>
          </p:cNvSpPr>
          <p:nvPr>
            <p:ph type="dt" sz="half" idx="2"/>
          </p:nvPr>
        </p:nvSpPr>
        <p:spPr>
          <a:xfrm>
            <a:off x="5406889" y="6429965"/>
            <a:ext cx="1706400" cy="307778"/>
          </a:xfrm>
          <a:prstGeom prst="rect">
            <a:avLst/>
          </a:prstGeom>
          <a:ln>
            <a:noFill/>
          </a:ln>
        </p:spPr>
        <p:txBody>
          <a:bodyPr vert="horz" lIns="91440" tIns="45720" rIns="91440" bIns="45720" rtlCol="0" anchor="ctr"/>
          <a:lstStyle>
            <a:lvl1pPr algn="l">
              <a:defRPr sz="1200" b="0" i="1">
                <a:solidFill>
                  <a:schemeClr val="bg1"/>
                </a:solidFill>
                <a:latin typeface="Garamond" panose="02020404030301010803" pitchFamily="18" charset="0"/>
                <a:ea typeface="Helvetica Neue" panose="02000503000000020004" pitchFamily="2" charset="0"/>
                <a:cs typeface="Helvetica Neue" panose="02000503000000020004" pitchFamily="2" charset="0"/>
              </a:defRPr>
            </a:lvl1pPr>
          </a:lstStyle>
          <a:p>
            <a:r>
              <a:rPr lang="en-US"/>
              <a:t>October 2025</a:t>
            </a:r>
            <a:endParaRPr lang="en-GB"/>
          </a:p>
        </p:txBody>
      </p:sp>
    </p:spTree>
    <p:extLst>
      <p:ext uri="{BB962C8B-B14F-4D97-AF65-F5344CB8AC3E}">
        <p14:creationId xmlns:p14="http://schemas.microsoft.com/office/powerpoint/2010/main" val="172498111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41_Divider 4">
    <p:spTree>
      <p:nvGrpSpPr>
        <p:cNvPr id="1" name=""/>
        <p:cNvGrpSpPr/>
        <p:nvPr/>
      </p:nvGrpSpPr>
      <p:grpSpPr>
        <a:xfrm>
          <a:off x="0" y="0"/>
          <a:ext cx="0" cy="0"/>
          <a:chOff x="0" y="0"/>
          <a:chExt cx="0" cy="0"/>
        </a:xfrm>
      </p:grpSpPr>
      <p:pic>
        <p:nvPicPr>
          <p:cNvPr id="3" name="Picture 2" descr="A large truck on a dirt road&#10;&#10;Description automatically generated">
            <a:extLst>
              <a:ext uri="{FF2B5EF4-FFF2-40B4-BE49-F238E27FC236}">
                <a16:creationId xmlns:a16="http://schemas.microsoft.com/office/drawing/2014/main" id="{F01FEFAD-00EB-2991-9BFD-F1C09C45FFD4}"/>
              </a:ext>
            </a:extLst>
          </p:cNvPr>
          <p:cNvPicPr>
            <a:picLocks noChangeAspect="1"/>
          </p:cNvPicPr>
          <p:nvPr userDrawn="1"/>
        </p:nvPicPr>
        <p:blipFill>
          <a:blip r:embed="rId2"/>
          <a:stretch>
            <a:fillRect/>
          </a:stretch>
        </p:blipFill>
        <p:spPr>
          <a:xfrm>
            <a:off x="7121" y="-4970"/>
            <a:ext cx="12200836" cy="6862970"/>
          </a:xfrm>
          <a:prstGeom prst="rect">
            <a:avLst/>
          </a:prstGeom>
        </p:spPr>
      </p:pic>
      <p:sp>
        <p:nvSpPr>
          <p:cNvPr id="12" name="Rectangle 11">
            <a:extLst>
              <a:ext uri="{FF2B5EF4-FFF2-40B4-BE49-F238E27FC236}">
                <a16:creationId xmlns:a16="http://schemas.microsoft.com/office/drawing/2014/main" id="{34BA1656-A1F4-C928-82D9-3E90CABC9B58}"/>
              </a:ext>
            </a:extLst>
          </p:cNvPr>
          <p:cNvSpPr/>
          <p:nvPr userDrawn="1"/>
        </p:nvSpPr>
        <p:spPr>
          <a:xfrm>
            <a:off x="0" y="0"/>
            <a:ext cx="12207957" cy="6858000"/>
          </a:xfrm>
          <a:prstGeom prst="rect">
            <a:avLst/>
          </a:prstGeom>
          <a:gradFill flip="none" rotWithShape="1">
            <a:gsLst>
              <a:gs pos="0">
                <a:srgbClr val="040010"/>
              </a:gs>
              <a:gs pos="99000">
                <a:srgbClr val="E1E6EB">
                  <a:alpha val="0"/>
                </a:srgb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F5470F66-68CB-5759-B6F7-6E9BCAB6C367}"/>
              </a:ext>
            </a:extLst>
          </p:cNvPr>
          <p:cNvSpPr>
            <a:spLocks noGrp="1"/>
          </p:cNvSpPr>
          <p:nvPr>
            <p:ph type="body" sz="quarter" idx="13"/>
          </p:nvPr>
        </p:nvSpPr>
        <p:spPr>
          <a:xfrm>
            <a:off x="1419617" y="1974233"/>
            <a:ext cx="8074025" cy="2971800"/>
          </a:xfrm>
          <a:prstGeom prst="rect">
            <a:avLst/>
          </a:prstGeom>
        </p:spPr>
        <p:txBody>
          <a:bodyPr>
            <a:noAutofit/>
          </a:bodyPr>
          <a:lstStyle>
            <a:lvl1pPr>
              <a:defRPr sz="3200"/>
            </a:lvl1pPr>
            <a:lvl2pPr>
              <a:defRPr sz="2800"/>
            </a:lvl2pPr>
            <a:lvl3pPr>
              <a:defRPr sz="2400"/>
            </a:lvl3pPr>
            <a:lvl4pPr>
              <a:defRPr sz="2000"/>
            </a:lvl4pPr>
            <a:lvl5pP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8" name="Straight Connector 17">
            <a:extLst>
              <a:ext uri="{FF2B5EF4-FFF2-40B4-BE49-F238E27FC236}">
                <a16:creationId xmlns:a16="http://schemas.microsoft.com/office/drawing/2014/main" id="{2281AFFB-9450-87C4-EC5E-9F3098E21E8B}"/>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D344B035-4975-BB69-BA44-C6C8A458112E}"/>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0E56A41D-9230-93EC-4D25-1DE55291070C}"/>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4" name="Picture 3" descr="A black background with white text&#10;&#10;Description automatically generated">
            <a:extLst>
              <a:ext uri="{FF2B5EF4-FFF2-40B4-BE49-F238E27FC236}">
                <a16:creationId xmlns:a16="http://schemas.microsoft.com/office/drawing/2014/main" id="{4190344E-E22A-7EC7-41B8-07D79E987D24}"/>
              </a:ext>
            </a:extLst>
          </p:cNvPr>
          <p:cNvPicPr>
            <a:picLocks noChangeAspect="1"/>
          </p:cNvPicPr>
          <p:nvPr userDrawn="1"/>
        </p:nvPicPr>
        <p:blipFill rotWithShape="1">
          <a:blip r:embed="rId3"/>
          <a:srcRect l="15089" t="30009" r="30562" b="32708"/>
          <a:stretch/>
        </p:blipFill>
        <p:spPr>
          <a:xfrm>
            <a:off x="258416" y="241982"/>
            <a:ext cx="2405271" cy="928152"/>
          </a:xfrm>
          <a:prstGeom prst="rect">
            <a:avLst/>
          </a:prstGeom>
        </p:spPr>
      </p:pic>
      <p:sp>
        <p:nvSpPr>
          <p:cNvPr id="2" name="Footer Placeholder 4">
            <a:extLst>
              <a:ext uri="{FF2B5EF4-FFF2-40B4-BE49-F238E27FC236}">
                <a16:creationId xmlns:a16="http://schemas.microsoft.com/office/drawing/2014/main" id="{C6872C57-0BA0-D50C-6A37-77E69991A6E8}"/>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bg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Stainless Steel &amp; Raw Materials in an Era of Uncertainty</a:t>
            </a:r>
          </a:p>
        </p:txBody>
      </p:sp>
      <p:sp>
        <p:nvSpPr>
          <p:cNvPr id="6" name="TextBox 5">
            <a:extLst>
              <a:ext uri="{FF2B5EF4-FFF2-40B4-BE49-F238E27FC236}">
                <a16:creationId xmlns:a16="http://schemas.microsoft.com/office/drawing/2014/main" id="{9AD5C546-CD82-DF8A-560C-48F99DD1E21B}"/>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bg1"/>
                </a:solidFill>
                <a:latin typeface="Garamond" panose="02020404030301010803" pitchFamily="18" charset="0"/>
                <a:ea typeface="Helvetica Neue UltraLight" panose="02000206000000020004" pitchFamily="2" charset="0"/>
              </a:rPr>
              <a:t>expert</a:t>
            </a:r>
            <a:r>
              <a:rPr lang="en-GB" sz="1000" b="0" i="0">
                <a:solidFill>
                  <a:schemeClr val="bg1"/>
                </a:solidFill>
                <a:latin typeface="Helvetica Neue UltraLight" panose="02000206000000020004" pitchFamily="2" charset="0"/>
                <a:ea typeface="Helvetica Neue UltraLight" panose="02000206000000020004" pitchFamily="2" charset="0"/>
              </a:rPr>
              <a:t> </a:t>
            </a:r>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8" name="Slide Number Placeholder 5">
            <a:extLst>
              <a:ext uri="{FF2B5EF4-FFF2-40B4-BE49-F238E27FC236}">
                <a16:creationId xmlns:a16="http://schemas.microsoft.com/office/drawing/2014/main" id="{744636C7-C749-1C83-1882-0FBA0643F94C}"/>
              </a:ext>
            </a:extLst>
          </p:cNvPr>
          <p:cNvSpPr>
            <a:spLocks noGrp="1"/>
          </p:cNvSpPr>
          <p:nvPr>
            <p:ph type="sldNum" sz="quarter" idx="4"/>
          </p:nvPr>
        </p:nvSpPr>
        <p:spPr>
          <a:xfrm>
            <a:off x="10913166" y="6193231"/>
            <a:ext cx="1133060" cy="544512"/>
          </a:xfrm>
          <a:prstGeom prst="rect">
            <a:avLst/>
          </a:prstGeom>
          <a:ln>
            <a:noFill/>
          </a:ln>
        </p:spPr>
        <p:txBody>
          <a:bodyPr vert="horz" lIns="91440" tIns="45720" rIns="91440" bIns="45720" rtlCol="0" anchor="ctr"/>
          <a:lstStyle>
            <a:lvl1pPr algn="r">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562BA7E0-5F5E-EE41-AE8D-BD30ED9E17AD}" type="slidenum">
              <a:rPr lang="en-GB" smtClean="0"/>
              <a:pPr/>
              <a:t>‹#›</a:t>
            </a:fld>
            <a:endParaRPr lang="en-GB"/>
          </a:p>
        </p:txBody>
      </p:sp>
      <p:sp>
        <p:nvSpPr>
          <p:cNvPr id="5" name="Date Placeholder 3">
            <a:extLst>
              <a:ext uri="{FF2B5EF4-FFF2-40B4-BE49-F238E27FC236}">
                <a16:creationId xmlns:a16="http://schemas.microsoft.com/office/drawing/2014/main" id="{766DEF34-4D5D-D248-65F5-EA400F623842}"/>
              </a:ext>
            </a:extLst>
          </p:cNvPr>
          <p:cNvSpPr>
            <a:spLocks noGrp="1"/>
          </p:cNvSpPr>
          <p:nvPr>
            <p:ph type="dt" sz="half" idx="2"/>
          </p:nvPr>
        </p:nvSpPr>
        <p:spPr>
          <a:xfrm>
            <a:off x="5406889" y="6429965"/>
            <a:ext cx="1706400" cy="307778"/>
          </a:xfrm>
          <a:prstGeom prst="rect">
            <a:avLst/>
          </a:prstGeom>
          <a:ln>
            <a:noFill/>
          </a:ln>
        </p:spPr>
        <p:txBody>
          <a:bodyPr vert="horz" lIns="91440" tIns="45720" rIns="91440" bIns="45720" rtlCol="0" anchor="ctr"/>
          <a:lstStyle>
            <a:lvl1pPr algn="l">
              <a:defRPr sz="1200" b="0" i="1">
                <a:solidFill>
                  <a:schemeClr val="bg1"/>
                </a:solidFill>
                <a:latin typeface="Garamond" panose="02020404030301010803" pitchFamily="18" charset="0"/>
                <a:ea typeface="Helvetica Neue" panose="02000503000000020004" pitchFamily="2" charset="0"/>
                <a:cs typeface="Helvetica Neue" panose="02000503000000020004" pitchFamily="2" charset="0"/>
              </a:defRPr>
            </a:lvl1pPr>
          </a:lstStyle>
          <a:p>
            <a:r>
              <a:rPr lang="en-US"/>
              <a:t>October 2025</a:t>
            </a:r>
            <a:endParaRPr lang="en-GB"/>
          </a:p>
        </p:txBody>
      </p:sp>
    </p:spTree>
    <p:extLst>
      <p:ext uri="{BB962C8B-B14F-4D97-AF65-F5344CB8AC3E}">
        <p14:creationId xmlns:p14="http://schemas.microsoft.com/office/powerpoint/2010/main" val="302069612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42_Divider 4">
    <p:spTree>
      <p:nvGrpSpPr>
        <p:cNvPr id="1" name=""/>
        <p:cNvGrpSpPr/>
        <p:nvPr/>
      </p:nvGrpSpPr>
      <p:grpSpPr>
        <a:xfrm>
          <a:off x="0" y="0"/>
          <a:ext cx="0" cy="0"/>
          <a:chOff x="0" y="0"/>
          <a:chExt cx="0" cy="0"/>
        </a:xfrm>
      </p:grpSpPr>
      <p:pic>
        <p:nvPicPr>
          <p:cNvPr id="4" name="Picture 3" descr="A person standing next to a machine&#10;&#10;Description automatically generated">
            <a:extLst>
              <a:ext uri="{FF2B5EF4-FFF2-40B4-BE49-F238E27FC236}">
                <a16:creationId xmlns:a16="http://schemas.microsoft.com/office/drawing/2014/main" id="{C7EA5E0F-4819-08EA-D7F8-F78951ABDFF5}"/>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34BA1656-A1F4-C928-82D9-3E90CABC9B58}"/>
              </a:ext>
            </a:extLst>
          </p:cNvPr>
          <p:cNvSpPr/>
          <p:nvPr userDrawn="1"/>
        </p:nvSpPr>
        <p:spPr>
          <a:xfrm>
            <a:off x="0" y="0"/>
            <a:ext cx="12192000" cy="6858000"/>
          </a:xfrm>
          <a:prstGeom prst="rect">
            <a:avLst/>
          </a:prstGeom>
          <a:gradFill flip="none" rotWithShape="1">
            <a:gsLst>
              <a:gs pos="0">
                <a:srgbClr val="040010"/>
              </a:gs>
              <a:gs pos="99000">
                <a:srgbClr val="E1E6EB">
                  <a:alpha val="0"/>
                </a:srgb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F5470F66-68CB-5759-B6F7-6E9BCAB6C367}"/>
              </a:ext>
            </a:extLst>
          </p:cNvPr>
          <p:cNvSpPr>
            <a:spLocks noGrp="1"/>
          </p:cNvSpPr>
          <p:nvPr>
            <p:ph type="body" sz="quarter" idx="13"/>
          </p:nvPr>
        </p:nvSpPr>
        <p:spPr>
          <a:xfrm>
            <a:off x="1419617" y="1974233"/>
            <a:ext cx="8074025" cy="2971800"/>
          </a:xfrm>
          <a:prstGeom prst="rect">
            <a:avLst/>
          </a:prstGeom>
        </p:spPr>
        <p:txBody>
          <a:bodyPr>
            <a:noAutofit/>
          </a:bodyPr>
          <a:lstStyle>
            <a:lvl1pPr>
              <a:defRPr sz="3200"/>
            </a:lvl1pPr>
            <a:lvl2pPr>
              <a:defRPr sz="2800"/>
            </a:lvl2pPr>
            <a:lvl3pPr>
              <a:defRPr sz="2400"/>
            </a:lvl3pPr>
            <a:lvl4pPr>
              <a:defRPr sz="2000"/>
            </a:lvl4pPr>
            <a:lvl5pP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8" name="Straight Connector 17">
            <a:extLst>
              <a:ext uri="{FF2B5EF4-FFF2-40B4-BE49-F238E27FC236}">
                <a16:creationId xmlns:a16="http://schemas.microsoft.com/office/drawing/2014/main" id="{2281AFFB-9450-87C4-EC5E-9F3098E21E8B}"/>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D344B035-4975-BB69-BA44-C6C8A458112E}"/>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0E56A41D-9230-93EC-4D25-1DE55291070C}"/>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white text&#10;&#10;Description automatically generated">
            <a:extLst>
              <a:ext uri="{FF2B5EF4-FFF2-40B4-BE49-F238E27FC236}">
                <a16:creationId xmlns:a16="http://schemas.microsoft.com/office/drawing/2014/main" id="{8828859D-C46D-ECC7-BBF0-2E5698D538AE}"/>
              </a:ext>
            </a:extLst>
          </p:cNvPr>
          <p:cNvPicPr>
            <a:picLocks noChangeAspect="1"/>
          </p:cNvPicPr>
          <p:nvPr userDrawn="1"/>
        </p:nvPicPr>
        <p:blipFill rotWithShape="1">
          <a:blip r:embed="rId3"/>
          <a:srcRect l="15089" t="30009" r="30562" b="32708"/>
          <a:stretch/>
        </p:blipFill>
        <p:spPr>
          <a:xfrm>
            <a:off x="258416" y="241982"/>
            <a:ext cx="2405271" cy="928152"/>
          </a:xfrm>
          <a:prstGeom prst="rect">
            <a:avLst/>
          </a:prstGeom>
        </p:spPr>
      </p:pic>
      <p:sp>
        <p:nvSpPr>
          <p:cNvPr id="2" name="Footer Placeholder 4">
            <a:extLst>
              <a:ext uri="{FF2B5EF4-FFF2-40B4-BE49-F238E27FC236}">
                <a16:creationId xmlns:a16="http://schemas.microsoft.com/office/drawing/2014/main" id="{C8C4764E-6E41-7268-3316-36D008E1A49C}"/>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bg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Stainless Steel &amp; Raw Materials in an Era of Uncertainty</a:t>
            </a:r>
          </a:p>
        </p:txBody>
      </p:sp>
      <p:sp>
        <p:nvSpPr>
          <p:cNvPr id="6" name="TextBox 5">
            <a:extLst>
              <a:ext uri="{FF2B5EF4-FFF2-40B4-BE49-F238E27FC236}">
                <a16:creationId xmlns:a16="http://schemas.microsoft.com/office/drawing/2014/main" id="{D7393619-51F2-F498-1980-E14B1260FD67}"/>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bg1"/>
                </a:solidFill>
                <a:latin typeface="Garamond" panose="02020404030301010803" pitchFamily="18" charset="0"/>
                <a:ea typeface="Helvetica Neue UltraLight" panose="02000206000000020004" pitchFamily="2" charset="0"/>
              </a:rPr>
              <a:t>expert</a:t>
            </a:r>
            <a:r>
              <a:rPr lang="en-GB" sz="1000" b="0" i="0">
                <a:solidFill>
                  <a:schemeClr val="bg1"/>
                </a:solidFill>
                <a:latin typeface="Helvetica Neue UltraLight" panose="02000206000000020004" pitchFamily="2" charset="0"/>
                <a:ea typeface="Helvetica Neue UltraLight" panose="02000206000000020004" pitchFamily="2" charset="0"/>
              </a:rPr>
              <a:t> </a:t>
            </a:r>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8" name="Slide Number Placeholder 5">
            <a:extLst>
              <a:ext uri="{FF2B5EF4-FFF2-40B4-BE49-F238E27FC236}">
                <a16:creationId xmlns:a16="http://schemas.microsoft.com/office/drawing/2014/main" id="{C6F47963-1F62-A188-07EC-20D4CE379DC3}"/>
              </a:ext>
            </a:extLst>
          </p:cNvPr>
          <p:cNvSpPr>
            <a:spLocks noGrp="1"/>
          </p:cNvSpPr>
          <p:nvPr>
            <p:ph type="sldNum" sz="quarter" idx="4"/>
          </p:nvPr>
        </p:nvSpPr>
        <p:spPr>
          <a:xfrm>
            <a:off x="10913166" y="6193231"/>
            <a:ext cx="1133060" cy="544512"/>
          </a:xfrm>
          <a:prstGeom prst="rect">
            <a:avLst/>
          </a:prstGeom>
          <a:ln>
            <a:noFill/>
          </a:ln>
        </p:spPr>
        <p:txBody>
          <a:bodyPr vert="horz" lIns="91440" tIns="45720" rIns="91440" bIns="45720" rtlCol="0" anchor="ctr"/>
          <a:lstStyle>
            <a:lvl1pPr algn="r">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562BA7E0-5F5E-EE41-AE8D-BD30ED9E17AD}" type="slidenum">
              <a:rPr lang="en-GB" smtClean="0"/>
              <a:pPr/>
              <a:t>‹#›</a:t>
            </a:fld>
            <a:endParaRPr lang="en-GB"/>
          </a:p>
        </p:txBody>
      </p:sp>
      <p:sp>
        <p:nvSpPr>
          <p:cNvPr id="5" name="Date Placeholder 3">
            <a:extLst>
              <a:ext uri="{FF2B5EF4-FFF2-40B4-BE49-F238E27FC236}">
                <a16:creationId xmlns:a16="http://schemas.microsoft.com/office/drawing/2014/main" id="{4B824A40-C3F9-E086-4B7E-EE6F061A6E78}"/>
              </a:ext>
            </a:extLst>
          </p:cNvPr>
          <p:cNvSpPr>
            <a:spLocks noGrp="1"/>
          </p:cNvSpPr>
          <p:nvPr>
            <p:ph type="dt" sz="half" idx="2"/>
          </p:nvPr>
        </p:nvSpPr>
        <p:spPr>
          <a:xfrm>
            <a:off x="5406889" y="6429965"/>
            <a:ext cx="1706400" cy="307778"/>
          </a:xfrm>
          <a:prstGeom prst="rect">
            <a:avLst/>
          </a:prstGeom>
          <a:ln>
            <a:noFill/>
          </a:ln>
        </p:spPr>
        <p:txBody>
          <a:bodyPr vert="horz" lIns="91440" tIns="45720" rIns="91440" bIns="45720" rtlCol="0" anchor="ctr"/>
          <a:lstStyle>
            <a:lvl1pPr algn="l">
              <a:defRPr sz="1200" b="0" i="1">
                <a:solidFill>
                  <a:schemeClr val="bg1"/>
                </a:solidFill>
                <a:latin typeface="Garamond" panose="02020404030301010803" pitchFamily="18" charset="0"/>
                <a:ea typeface="Helvetica Neue" panose="02000503000000020004" pitchFamily="2" charset="0"/>
                <a:cs typeface="Helvetica Neue" panose="02000503000000020004" pitchFamily="2" charset="0"/>
              </a:defRPr>
            </a:lvl1pPr>
          </a:lstStyle>
          <a:p>
            <a:r>
              <a:rPr lang="en-US"/>
              <a:t>October 2025</a:t>
            </a:r>
            <a:endParaRPr lang="en-GB"/>
          </a:p>
        </p:txBody>
      </p:sp>
    </p:spTree>
    <p:extLst>
      <p:ext uri="{BB962C8B-B14F-4D97-AF65-F5344CB8AC3E}">
        <p14:creationId xmlns:p14="http://schemas.microsoft.com/office/powerpoint/2010/main" val="146274872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3 Content + Text -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3536" y="1251472"/>
            <a:ext cx="7585200" cy="288000"/>
          </a:xfrm>
          <a:noFill/>
        </p:spPr>
        <p:txBody>
          <a:bodyPr lIns="0">
            <a:noAutofit/>
          </a:bodyPr>
          <a:lstStyle>
            <a:lvl1pPr>
              <a:defRPr sz="1300">
                <a:solidFill>
                  <a:schemeClr val="accent6"/>
                </a:solidFill>
              </a:defRPr>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3999" y="1578916"/>
            <a:ext cx="7585200" cy="2016000"/>
          </a:xfrm>
          <a:noFill/>
        </p:spPr>
        <p:txBody>
          <a:bodyPr/>
          <a:lstStyle>
            <a:lvl1pPr algn="ctr">
              <a:defRPr b="0"/>
            </a:lvl1pPr>
            <a:lvl5pPr>
              <a:defRPr/>
            </a:lvl5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hasCustomPrompt="1"/>
          </p:nvPr>
        </p:nvSpPr>
        <p:spPr>
          <a:xfrm>
            <a:off x="7998461" y="1251472"/>
            <a:ext cx="3780000" cy="4928400"/>
          </a:xfrm>
          <a:noFill/>
          <a:effectLst/>
        </p:spPr>
        <p:txBody>
          <a:bodyPr vert="horz" lIns="252000" tIns="252000" rIns="252000" bIns="252000" rtlCol="0" anchor="ctr" anchorCtr="0">
            <a:noAutofit/>
          </a:bodyPr>
          <a:lstStyle>
            <a:lvl1pPr>
              <a:defRPr lang="en-US"/>
            </a:lvl1pPr>
            <a:lvl2pPr>
              <a:defRPr lang="en-US"/>
            </a:lvl2pPr>
            <a:lvl3pPr>
              <a:defRPr lang="en-US"/>
            </a:lvl3pPr>
            <a:lvl4pPr>
              <a:defRPr lang="en-US"/>
            </a:lvl4pPr>
            <a:lvl5pPr>
              <a:defRPr lang="en-GB"/>
            </a:lvl5pPr>
          </a:lstStyle>
          <a:p>
            <a:pPr lvl="0"/>
            <a:r>
              <a:rPr lang="en-US"/>
              <a:t>Active Headline</a:t>
            </a:r>
          </a:p>
          <a:p>
            <a:pPr lvl="1"/>
            <a:r>
              <a:rPr lang="en-US"/>
              <a:t>Body text</a:t>
            </a:r>
          </a:p>
          <a:p>
            <a:pPr lvl="2"/>
            <a:r>
              <a:rPr lang="en-US"/>
              <a:t>Bullets</a:t>
            </a:r>
          </a:p>
          <a:p>
            <a:pPr lvl="3"/>
            <a:r>
              <a:rPr lang="en-US"/>
              <a:t>2nd level bullets</a:t>
            </a:r>
          </a:p>
          <a:p>
            <a:pPr lvl="4"/>
            <a:r>
              <a:rPr lang="en-US"/>
              <a:t>Notes tex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7585200" cy="215999"/>
          </a:xfrm>
          <a:noFill/>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9" name="Text Placeholder 5">
            <a:extLst>
              <a:ext uri="{FF2B5EF4-FFF2-40B4-BE49-F238E27FC236}">
                <a16:creationId xmlns:a16="http://schemas.microsoft.com/office/drawing/2014/main" id="{D49A370F-20C1-AE2C-2D28-B67039D93F62}"/>
              </a:ext>
            </a:extLst>
          </p:cNvPr>
          <p:cNvSpPr>
            <a:spLocks noGrp="1"/>
          </p:cNvSpPr>
          <p:nvPr>
            <p:ph type="body" sz="quarter" idx="16" hasCustomPrompt="1"/>
          </p:nvPr>
        </p:nvSpPr>
        <p:spPr>
          <a:xfrm>
            <a:off x="414000" y="3636899"/>
            <a:ext cx="7585200" cy="288000"/>
          </a:xfrm>
          <a:noFill/>
        </p:spPr>
        <p:txBody>
          <a:bodyPr lIns="0">
            <a:noAutofit/>
          </a:bodyPr>
          <a:lstStyle>
            <a:lvl1pPr>
              <a:defRPr sz="1300">
                <a:solidFill>
                  <a:schemeClr val="accent6"/>
                </a:solidFill>
              </a:defRPr>
            </a:lvl1pPr>
          </a:lstStyle>
          <a:p>
            <a:pPr lvl="0"/>
            <a:r>
              <a:rPr lang="en-US"/>
              <a:t>Chart headline</a:t>
            </a:r>
          </a:p>
        </p:txBody>
      </p:sp>
      <p:sp>
        <p:nvSpPr>
          <p:cNvPr id="11" name="Content Placeholder 7">
            <a:extLst>
              <a:ext uri="{FF2B5EF4-FFF2-40B4-BE49-F238E27FC236}">
                <a16:creationId xmlns:a16="http://schemas.microsoft.com/office/drawing/2014/main" id="{9AE049FE-3B8F-256A-D7E8-577C76D40781}"/>
              </a:ext>
            </a:extLst>
          </p:cNvPr>
          <p:cNvSpPr>
            <a:spLocks noGrp="1"/>
          </p:cNvSpPr>
          <p:nvPr>
            <p:ph sz="quarter" idx="17" hasCustomPrompt="1"/>
          </p:nvPr>
        </p:nvSpPr>
        <p:spPr>
          <a:xfrm>
            <a:off x="413027" y="3966538"/>
            <a:ext cx="7585200" cy="2016000"/>
          </a:xfrm>
          <a:noFill/>
        </p:spPr>
        <p:txBody>
          <a:bodyPr/>
          <a:lstStyle>
            <a:lvl1pPr algn="ctr">
              <a:defRPr b="0"/>
            </a:lvl1pPr>
            <a:lvl5pPr>
              <a:defRPr/>
            </a:lvl5pPr>
          </a:lstStyle>
          <a:p>
            <a:pPr lvl="0"/>
            <a:r>
              <a:rPr lang="en-US"/>
              <a:t>Insert Chart</a:t>
            </a:r>
            <a:endParaRPr lang="en-GB"/>
          </a:p>
        </p:txBody>
      </p:sp>
      <p:sp>
        <p:nvSpPr>
          <p:cNvPr id="19" name="Footer Placeholder 4">
            <a:extLst>
              <a:ext uri="{FF2B5EF4-FFF2-40B4-BE49-F238E27FC236}">
                <a16:creationId xmlns:a16="http://schemas.microsoft.com/office/drawing/2014/main" id="{B0FE7F07-C9DD-79C9-6757-C27B73B8C7A5}"/>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Battery Value Chain Outlook</a:t>
            </a:r>
          </a:p>
        </p:txBody>
      </p:sp>
      <p:sp>
        <p:nvSpPr>
          <p:cNvPr id="3" name="Slide Number Placeholder 4">
            <a:extLst>
              <a:ext uri="{FF2B5EF4-FFF2-40B4-BE49-F238E27FC236}">
                <a16:creationId xmlns:a16="http://schemas.microsoft.com/office/drawing/2014/main" id="{88B3E67B-4DD1-7F1B-E5A8-6CCDBCA3C9F2}"/>
              </a:ext>
            </a:extLst>
          </p:cNvPr>
          <p:cNvSpPr>
            <a:spLocks noGrp="1"/>
          </p:cNvSpPr>
          <p:nvPr>
            <p:ph type="sldNum" sz="quarter" idx="18"/>
          </p:nvPr>
        </p:nvSpPr>
        <p:spPr>
          <a:xfrm>
            <a:off x="10913166" y="6193231"/>
            <a:ext cx="1133060" cy="544512"/>
          </a:xfrm>
        </p:spPr>
        <p:txBody>
          <a:bodyPr/>
          <a:lstStyle/>
          <a:p>
            <a:fld id="{562BA7E0-5F5E-EE41-AE8D-BD30ED9E17AD}" type="slidenum">
              <a:rPr lang="en-GB" smtClean="0"/>
              <a:pPr/>
              <a:t>‹#›</a:t>
            </a:fld>
            <a:endParaRPr lang="en-GB"/>
          </a:p>
        </p:txBody>
      </p:sp>
    </p:spTree>
    <p:extLst>
      <p:ext uri="{BB962C8B-B14F-4D97-AF65-F5344CB8AC3E}">
        <p14:creationId xmlns:p14="http://schemas.microsoft.com/office/powerpoint/2010/main" val="828145876"/>
      </p:ext>
    </p:extLst>
  </p:cSld>
  <p:clrMapOvr>
    <a:masterClrMapping/>
  </p:clrMapOvr>
  <p:extLst>
    <p:ext uri="{DCECCB84-F9BA-43D5-87BE-67443E8EF086}">
      <p15:sldGuideLst xmlns:p15="http://schemas.microsoft.com/office/powerpoint/2012/main">
        <p15:guide id="1" pos="665">
          <p15:clr>
            <a:srgbClr val="5ACBF0"/>
          </p15:clr>
        </p15:guide>
        <p15:guide id="4" pos="4747">
          <p15:clr>
            <a:srgbClr val="5ACBF0"/>
          </p15:clr>
        </p15:guide>
        <p15:guide id="5" orient="horz" pos="1071">
          <p15:clr>
            <a:srgbClr val="5ACBF0"/>
          </p15:clr>
        </p15:guide>
        <p15:guide id="6" orient="horz" pos="1911">
          <p15:clr>
            <a:srgbClr val="5ACBF0"/>
          </p15:clr>
        </p15:guide>
        <p15:guide id="7" orient="horz" pos="3521">
          <p15:clr>
            <a:srgbClr val="5ACBF0"/>
          </p15:clr>
        </p15:guide>
        <p15:guide id="8" orient="horz" pos="2636">
          <p15:clr>
            <a:srgbClr val="5ACBF0"/>
          </p15:clr>
        </p15:guide>
        <p15:guide id="9" orient="horz" pos="799">
          <p15:clr>
            <a:srgbClr val="F26B43"/>
          </p15:clr>
        </p15:guide>
        <p15:guide id="10" orient="horz" pos="2364">
          <p15:clr>
            <a:srgbClr val="F26B43"/>
          </p15:clr>
        </p15:guide>
        <p15:guide id="11" orient="horz" pos="3725">
          <p15:clr>
            <a:srgbClr val="F26B43"/>
          </p15:clr>
        </p15:guide>
        <p15:guide id="12" pos="5042">
          <p15:clr>
            <a:srgbClr val="F26B43"/>
          </p15:clr>
        </p15:guide>
        <p15:guide id="13" pos="2638">
          <p15:clr>
            <a:srgbClr val="F26B43"/>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2 Content + Text Summ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702516"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3538" y="1258504"/>
            <a:ext cx="5683250" cy="288000"/>
          </a:xfrm>
          <a:noFill/>
        </p:spPr>
        <p:txBody>
          <a:bodyPr lIns="0">
            <a:noAutofit/>
          </a:bodyPr>
          <a:lstStyle>
            <a:lvl1pPr>
              <a:defRPr sz="1300">
                <a:solidFill>
                  <a:schemeClr val="accent6"/>
                </a:solidFill>
              </a:defRPr>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2749" y="1605156"/>
            <a:ext cx="5683250" cy="1980000"/>
          </a:xfrm>
          <a:noFill/>
        </p:spPr>
        <p:txBody>
          <a:bodyPr/>
          <a:lstStyle>
            <a:lvl1pPr algn="ctr">
              <a:defRPr b="0"/>
            </a:lvl1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p:nvPr>
        </p:nvSpPr>
        <p:spPr>
          <a:xfrm>
            <a:off x="6223000" y="1258504"/>
            <a:ext cx="5555461" cy="4928400"/>
          </a:xfrm>
          <a:noFill/>
          <a:effectLst/>
        </p:spPr>
        <p:txBody>
          <a:bodyPr vert="horz" lIns="252000" tIns="252000" rIns="252000" bIns="252000" rtlCol="0" anchor="ctr" anchorCtr="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5683250" cy="215999"/>
          </a:xfrm>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5" name="Text Placeholder 5">
            <a:extLst>
              <a:ext uri="{FF2B5EF4-FFF2-40B4-BE49-F238E27FC236}">
                <a16:creationId xmlns:a16="http://schemas.microsoft.com/office/drawing/2014/main" id="{6F3DB6FA-17D2-4D4B-9C68-7E57F40924D2}"/>
              </a:ext>
            </a:extLst>
          </p:cNvPr>
          <p:cNvSpPr>
            <a:spLocks noGrp="1"/>
          </p:cNvSpPr>
          <p:nvPr>
            <p:ph type="body" sz="quarter" idx="16" hasCustomPrompt="1"/>
          </p:nvPr>
        </p:nvSpPr>
        <p:spPr>
          <a:xfrm>
            <a:off x="412749" y="3645967"/>
            <a:ext cx="5683250" cy="288000"/>
          </a:xfrm>
          <a:noFill/>
        </p:spPr>
        <p:txBody>
          <a:bodyPr lIns="0">
            <a:noAutofit/>
          </a:bodyPr>
          <a:lstStyle>
            <a:lvl1pPr>
              <a:defRPr sz="1300">
                <a:solidFill>
                  <a:schemeClr val="accent6"/>
                </a:solidFill>
              </a:defRPr>
            </a:lvl1pPr>
          </a:lstStyle>
          <a:p>
            <a:pPr lvl="0"/>
            <a:r>
              <a:rPr lang="en-US"/>
              <a:t>Chart headline</a:t>
            </a:r>
          </a:p>
        </p:txBody>
      </p:sp>
      <p:sp>
        <p:nvSpPr>
          <p:cNvPr id="7" name="Content Placeholder 7">
            <a:extLst>
              <a:ext uri="{FF2B5EF4-FFF2-40B4-BE49-F238E27FC236}">
                <a16:creationId xmlns:a16="http://schemas.microsoft.com/office/drawing/2014/main" id="{C08AD70F-27D9-726E-A182-BA90022F5C6A}"/>
              </a:ext>
            </a:extLst>
          </p:cNvPr>
          <p:cNvSpPr>
            <a:spLocks noGrp="1"/>
          </p:cNvSpPr>
          <p:nvPr>
            <p:ph sz="quarter" idx="17" hasCustomPrompt="1"/>
          </p:nvPr>
        </p:nvSpPr>
        <p:spPr>
          <a:xfrm>
            <a:off x="412749" y="3977822"/>
            <a:ext cx="5683250" cy="1980000"/>
          </a:xfrm>
          <a:noFill/>
        </p:spPr>
        <p:txBody>
          <a:bodyPr/>
          <a:lstStyle>
            <a:lvl1pPr algn="ctr">
              <a:defRPr b="0"/>
            </a:lvl1pPr>
          </a:lstStyle>
          <a:p>
            <a:pPr lvl="0"/>
            <a:r>
              <a:rPr lang="en-US"/>
              <a:t>Insert Chart</a:t>
            </a:r>
            <a:endParaRPr lang="en-GB"/>
          </a:p>
        </p:txBody>
      </p:sp>
      <p:cxnSp>
        <p:nvCxnSpPr>
          <p:cNvPr id="14" name="Straight Connector 13">
            <a:extLst>
              <a:ext uri="{FF2B5EF4-FFF2-40B4-BE49-F238E27FC236}">
                <a16:creationId xmlns:a16="http://schemas.microsoft.com/office/drawing/2014/main" id="{99F03CBC-84CD-B420-8B01-8709221EF2D7}"/>
              </a:ext>
            </a:extLst>
          </p:cNvPr>
          <p:cNvCxnSpPr>
            <a:cxnSpLocks/>
          </p:cNvCxnSpPr>
          <p:nvPr userDrawn="1"/>
        </p:nvCxnSpPr>
        <p:spPr>
          <a:xfrm>
            <a:off x="2702950" y="6356350"/>
            <a:ext cx="1274379" cy="0"/>
          </a:xfrm>
          <a:prstGeom prst="line">
            <a:avLst/>
          </a:prstGeom>
          <a:ln w="6350">
            <a:no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F1FF571E-5F0D-6DE5-BAFA-37F40C5DB574}"/>
              </a:ext>
            </a:extLst>
          </p:cNvPr>
          <p:cNvCxnSpPr>
            <a:cxnSpLocks/>
          </p:cNvCxnSpPr>
          <p:nvPr userDrawn="1"/>
        </p:nvCxnSpPr>
        <p:spPr>
          <a:xfrm>
            <a:off x="5488473" y="6356350"/>
            <a:ext cx="1274379" cy="0"/>
          </a:xfrm>
          <a:prstGeom prst="line">
            <a:avLst/>
          </a:prstGeom>
          <a:ln w="6350">
            <a:no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6B2BEF9B-0C61-8243-085B-A71234DBE5AB}"/>
              </a:ext>
            </a:extLst>
          </p:cNvPr>
          <p:cNvCxnSpPr>
            <a:cxnSpLocks/>
          </p:cNvCxnSpPr>
          <p:nvPr userDrawn="1"/>
        </p:nvCxnSpPr>
        <p:spPr>
          <a:xfrm>
            <a:off x="7411982" y="6356350"/>
            <a:ext cx="1274379" cy="0"/>
          </a:xfrm>
          <a:prstGeom prst="line">
            <a:avLst/>
          </a:prstGeom>
          <a:ln w="6350">
            <a:noFill/>
          </a:ln>
        </p:spPr>
        <p:style>
          <a:lnRef idx="2">
            <a:schemeClr val="accent1"/>
          </a:lnRef>
          <a:fillRef idx="0">
            <a:schemeClr val="accent1"/>
          </a:fillRef>
          <a:effectRef idx="1">
            <a:schemeClr val="accent1"/>
          </a:effectRef>
          <a:fontRef idx="minor">
            <a:schemeClr val="tx1"/>
          </a:fontRef>
        </p:style>
      </p:cxnSp>
      <p:sp>
        <p:nvSpPr>
          <p:cNvPr id="18" name="Footer Placeholder 4">
            <a:extLst>
              <a:ext uri="{FF2B5EF4-FFF2-40B4-BE49-F238E27FC236}">
                <a16:creationId xmlns:a16="http://schemas.microsoft.com/office/drawing/2014/main" id="{52E70746-9160-C39A-1872-2ACD9DAB8314}"/>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Battery Value Chain Outlook</a:t>
            </a:r>
          </a:p>
        </p:txBody>
      </p:sp>
    </p:spTree>
    <p:extLst>
      <p:ext uri="{BB962C8B-B14F-4D97-AF65-F5344CB8AC3E}">
        <p14:creationId xmlns:p14="http://schemas.microsoft.com/office/powerpoint/2010/main" val="1568177072"/>
      </p:ext>
    </p:extLst>
  </p:cSld>
  <p:clrMapOvr>
    <a:masterClrMapping/>
  </p:clrMapOvr>
  <p:extLst>
    <p:ext uri="{DCECCB84-F9BA-43D5-87BE-67443E8EF086}">
      <p15:sldGuideLst xmlns:p15="http://schemas.microsoft.com/office/powerpoint/2012/main">
        <p15:guide id="1" pos="665">
          <p15:clr>
            <a:srgbClr val="5ACBF0"/>
          </p15:clr>
        </p15:guide>
        <p15:guide id="2" pos="3613">
          <p15:clr>
            <a:srgbClr val="5ACBF0"/>
          </p15:clr>
        </p15:guide>
        <p15:guide id="3" orient="horz" pos="1094">
          <p15:clr>
            <a:srgbClr val="5ACBF0"/>
          </p15:clr>
        </p15:guide>
        <p15:guide id="4" orient="horz" pos="1933">
          <p15:clr>
            <a:srgbClr val="5ACBF0"/>
          </p15:clr>
        </p15:guide>
        <p15:guide id="5" orient="horz" pos="3543">
          <p15:clr>
            <a:srgbClr val="5ACBF0"/>
          </p15:clr>
        </p15:guide>
        <p15:guide id="6" orient="horz" pos="2659">
          <p15:clr>
            <a:srgbClr val="5ACBF0"/>
          </p15:clr>
        </p15:guide>
        <p15:guide id="7" orient="horz" pos="799">
          <p15:clr>
            <a:srgbClr val="F26B43"/>
          </p15:clr>
        </p15:guide>
        <p15:guide id="8" orient="horz" pos="2387">
          <p15:clr>
            <a:srgbClr val="F26B43"/>
          </p15:clr>
        </p15:guide>
        <p15:guide id="9" orient="horz" pos="377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matchingName="Title and bullet content">
  <p:cSld name="Title and bullet content">
    <p:spTree>
      <p:nvGrpSpPr>
        <p:cNvPr id="1" name="Shape 247"/>
        <p:cNvGrpSpPr/>
        <p:nvPr/>
      </p:nvGrpSpPr>
      <p:grpSpPr>
        <a:xfrm>
          <a:off x="0" y="0"/>
          <a:ext cx="0" cy="0"/>
          <a:chOff x="0" y="0"/>
          <a:chExt cx="0" cy="0"/>
        </a:xfrm>
      </p:grpSpPr>
      <p:sp>
        <p:nvSpPr>
          <p:cNvPr id="248" name="Google Shape;248;p29"/>
          <p:cNvSpPr txBox="1">
            <a:spLocks noGrp="1"/>
          </p:cNvSpPr>
          <p:nvPr>
            <p:ph type="title"/>
          </p:nvPr>
        </p:nvSpPr>
        <p:spPr>
          <a:xfrm>
            <a:off x="609600" y="870361"/>
            <a:ext cx="11015133" cy="282409"/>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1400"/>
              <a:buNone/>
              <a:defRPr>
                <a:solidFill>
                  <a:schemeClr val="accen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9" name="Google Shape;249;p29"/>
          <p:cNvSpPr txBox="1">
            <a:spLocks noGrp="1"/>
          </p:cNvSpPr>
          <p:nvPr>
            <p:ph type="body" idx="1"/>
          </p:nvPr>
        </p:nvSpPr>
        <p:spPr>
          <a:xfrm>
            <a:off x="609601" y="1363507"/>
            <a:ext cx="10993459" cy="4191000"/>
          </a:xfrm>
          <a:prstGeom prst="rect">
            <a:avLst/>
          </a:prstGeom>
          <a:noFill/>
          <a:ln>
            <a:noFill/>
          </a:ln>
        </p:spPr>
        <p:txBody>
          <a:bodyPr spcFirstLastPara="1" wrap="square" lIns="0" tIns="0" rIns="0" bIns="45700" anchor="t" anchorCtr="0">
            <a:noAutofit/>
          </a:bodyPr>
          <a:lstStyle>
            <a:lvl1pPr marL="609585" lvl="0" indent="-406390" algn="l">
              <a:lnSpc>
                <a:spcPct val="100000"/>
              </a:lnSpc>
              <a:spcBef>
                <a:spcPts val="800"/>
              </a:spcBef>
              <a:spcAft>
                <a:spcPts val="0"/>
              </a:spcAft>
              <a:buClr>
                <a:schemeClr val="accent1"/>
              </a:buClr>
              <a:buSzPts val="1200"/>
              <a:buChar char="•"/>
              <a:defRPr sz="1600">
                <a:solidFill>
                  <a:schemeClr val="accent1"/>
                </a:solidFill>
                <a:latin typeface="Arial"/>
                <a:ea typeface="Arial"/>
                <a:cs typeface="Arial"/>
                <a:sym typeface="Arial"/>
              </a:defRPr>
            </a:lvl1pPr>
            <a:lvl2pPr marL="1219170" lvl="1" indent="-393690" algn="l">
              <a:lnSpc>
                <a:spcPct val="100000"/>
              </a:lnSpc>
              <a:spcBef>
                <a:spcPts val="400"/>
              </a:spcBef>
              <a:spcAft>
                <a:spcPts val="0"/>
              </a:spcAft>
              <a:buClr>
                <a:schemeClr val="accent3"/>
              </a:buClr>
              <a:buSzPts val="1050"/>
              <a:buFont typeface="Arial"/>
              <a:buChar char="-"/>
              <a:defRPr sz="1400">
                <a:solidFill>
                  <a:schemeClr val="accent3"/>
                </a:solidFill>
                <a:latin typeface="Arial"/>
                <a:ea typeface="Arial"/>
                <a:cs typeface="Arial"/>
                <a:sym typeface="Arial"/>
              </a:defRPr>
            </a:lvl2pPr>
            <a:lvl3pPr marL="1828754" lvl="2" indent="-393690" algn="l">
              <a:lnSpc>
                <a:spcPct val="100000"/>
              </a:lnSpc>
              <a:spcBef>
                <a:spcPts val="400"/>
              </a:spcBef>
              <a:spcAft>
                <a:spcPts val="0"/>
              </a:spcAft>
              <a:buClr>
                <a:schemeClr val="accent3"/>
              </a:buClr>
              <a:buSzPts val="1050"/>
              <a:buChar char="•"/>
              <a:defRPr sz="1400">
                <a:solidFill>
                  <a:schemeClr val="accent3"/>
                </a:solidFill>
                <a:latin typeface="Arial"/>
                <a:ea typeface="Arial"/>
                <a:cs typeface="Arial"/>
                <a:sym typeface="Arial"/>
              </a:defRPr>
            </a:lvl3pPr>
            <a:lvl4pPr marL="2438339" lvl="3" indent="-457189" algn="l">
              <a:lnSpc>
                <a:spcPct val="100000"/>
              </a:lnSpc>
              <a:spcBef>
                <a:spcPts val="480"/>
              </a:spcBef>
              <a:spcAft>
                <a:spcPts val="0"/>
              </a:spcAft>
              <a:buClr>
                <a:schemeClr val="dk1"/>
              </a:buClr>
              <a:buSzPts val="1800"/>
              <a:buChar char="–"/>
              <a:defRPr/>
            </a:lvl4pPr>
            <a:lvl5pPr marL="3047924" lvl="4" indent="-457189" algn="l">
              <a:lnSpc>
                <a:spcPct val="100000"/>
              </a:lnSpc>
              <a:spcBef>
                <a:spcPts val="480"/>
              </a:spcBef>
              <a:spcAft>
                <a:spcPts val="0"/>
              </a:spcAft>
              <a:buClr>
                <a:schemeClr val="dk1"/>
              </a:buClr>
              <a:buSzPts val="1800"/>
              <a:buChar char="»"/>
              <a:defRPr/>
            </a:lvl5pPr>
            <a:lvl6pPr marL="3657509" lvl="5" indent="-457189" algn="l">
              <a:lnSpc>
                <a:spcPct val="100000"/>
              </a:lnSpc>
              <a:spcBef>
                <a:spcPts val="480"/>
              </a:spcBef>
              <a:spcAft>
                <a:spcPts val="0"/>
              </a:spcAft>
              <a:buClr>
                <a:schemeClr val="dk1"/>
              </a:buClr>
              <a:buSzPts val="1800"/>
              <a:buChar char="•"/>
              <a:defRPr/>
            </a:lvl6pPr>
            <a:lvl7pPr marL="4267093" lvl="6" indent="-457189" algn="l">
              <a:lnSpc>
                <a:spcPct val="100000"/>
              </a:lnSpc>
              <a:spcBef>
                <a:spcPts val="480"/>
              </a:spcBef>
              <a:spcAft>
                <a:spcPts val="0"/>
              </a:spcAft>
              <a:buClr>
                <a:schemeClr val="dk1"/>
              </a:buClr>
              <a:buSzPts val="1800"/>
              <a:buChar char="•"/>
              <a:defRPr/>
            </a:lvl7pPr>
            <a:lvl8pPr marL="4876678" lvl="7" indent="-457189" algn="l">
              <a:lnSpc>
                <a:spcPct val="100000"/>
              </a:lnSpc>
              <a:spcBef>
                <a:spcPts val="480"/>
              </a:spcBef>
              <a:spcAft>
                <a:spcPts val="0"/>
              </a:spcAft>
              <a:buClr>
                <a:schemeClr val="dk1"/>
              </a:buClr>
              <a:buSzPts val="1800"/>
              <a:buChar char="•"/>
              <a:defRPr/>
            </a:lvl8pPr>
            <a:lvl9pPr marL="5486263" lvl="8" indent="-457189" algn="l">
              <a:lnSpc>
                <a:spcPct val="100000"/>
              </a:lnSpc>
              <a:spcBef>
                <a:spcPts val="480"/>
              </a:spcBef>
              <a:spcAft>
                <a:spcPts val="0"/>
              </a:spcAft>
              <a:buClr>
                <a:schemeClr val="dk1"/>
              </a:buClr>
              <a:buSzPts val="1800"/>
              <a:buChar char="•"/>
              <a:defRPr/>
            </a:lvl9pPr>
          </a:lstStyle>
          <a:p>
            <a:endParaRPr/>
          </a:p>
        </p:txBody>
      </p:sp>
      <p:sp>
        <p:nvSpPr>
          <p:cNvPr id="250" name="Google Shape;250;p29"/>
          <p:cNvSpPr txBox="1">
            <a:spLocks noGrp="1"/>
          </p:cNvSpPr>
          <p:nvPr>
            <p:ph type="body" idx="2"/>
          </p:nvPr>
        </p:nvSpPr>
        <p:spPr>
          <a:xfrm>
            <a:off x="601133" y="399752"/>
            <a:ext cx="11023600" cy="344488"/>
          </a:xfrm>
          <a:prstGeom prst="rect">
            <a:avLst/>
          </a:prstGeom>
          <a:noFill/>
          <a:ln>
            <a:noFill/>
          </a:ln>
        </p:spPr>
        <p:txBody>
          <a:bodyPr spcFirstLastPara="1" wrap="square" lIns="0" tIns="0" rIns="0" bIns="0" anchor="t" anchorCtr="0">
            <a:noAutofit/>
          </a:bodyPr>
          <a:lstStyle>
            <a:lvl1pPr marL="609585" lvl="0" indent="-304792" algn="l">
              <a:lnSpc>
                <a:spcPct val="100000"/>
              </a:lnSpc>
              <a:spcBef>
                <a:spcPts val="0"/>
              </a:spcBef>
              <a:spcAft>
                <a:spcPts val="0"/>
              </a:spcAft>
              <a:buSzPts val="1800"/>
              <a:buNone/>
              <a:defRPr sz="2400" b="1">
                <a:solidFill>
                  <a:schemeClr val="accent2"/>
                </a:solidFill>
                <a:latin typeface="Arial"/>
                <a:ea typeface="Arial"/>
                <a:cs typeface="Arial"/>
                <a:sym typeface="Arial"/>
              </a:defRPr>
            </a:lvl1pPr>
            <a:lvl2pPr marL="1219170" lvl="1" indent="-457189" algn="l">
              <a:lnSpc>
                <a:spcPct val="100000"/>
              </a:lnSpc>
              <a:spcBef>
                <a:spcPts val="400"/>
              </a:spcBef>
              <a:spcAft>
                <a:spcPts val="0"/>
              </a:spcAft>
              <a:buSzPts val="1800"/>
              <a:buChar char="-"/>
              <a:defRPr/>
            </a:lvl2pPr>
            <a:lvl3pPr marL="1828754" lvl="2" indent="-457189" algn="l">
              <a:lnSpc>
                <a:spcPct val="100000"/>
              </a:lnSpc>
              <a:spcBef>
                <a:spcPts val="400"/>
              </a:spcBef>
              <a:spcAft>
                <a:spcPts val="0"/>
              </a:spcAft>
              <a:buSzPts val="1800"/>
              <a:buChar char="•"/>
              <a:defRPr/>
            </a:lvl3pPr>
            <a:lvl4pPr marL="2438339" lvl="3" indent="-457189" algn="l">
              <a:lnSpc>
                <a:spcPct val="100000"/>
              </a:lnSpc>
              <a:spcBef>
                <a:spcPts val="480"/>
              </a:spcBef>
              <a:spcAft>
                <a:spcPts val="0"/>
              </a:spcAft>
              <a:buClr>
                <a:schemeClr val="dk1"/>
              </a:buClr>
              <a:buSzPts val="1800"/>
              <a:buChar char="–"/>
              <a:defRPr/>
            </a:lvl4pPr>
            <a:lvl5pPr marL="3047924" lvl="4" indent="-457189" algn="l">
              <a:lnSpc>
                <a:spcPct val="100000"/>
              </a:lnSpc>
              <a:spcBef>
                <a:spcPts val="480"/>
              </a:spcBef>
              <a:spcAft>
                <a:spcPts val="0"/>
              </a:spcAft>
              <a:buClr>
                <a:schemeClr val="dk1"/>
              </a:buClr>
              <a:buSzPts val="1800"/>
              <a:buChar char="»"/>
              <a:defRPr/>
            </a:lvl5pPr>
            <a:lvl6pPr marL="3657509" lvl="5" indent="-457189" algn="l">
              <a:lnSpc>
                <a:spcPct val="100000"/>
              </a:lnSpc>
              <a:spcBef>
                <a:spcPts val="480"/>
              </a:spcBef>
              <a:spcAft>
                <a:spcPts val="0"/>
              </a:spcAft>
              <a:buClr>
                <a:schemeClr val="dk1"/>
              </a:buClr>
              <a:buSzPts val="1800"/>
              <a:buChar char="•"/>
              <a:defRPr/>
            </a:lvl6pPr>
            <a:lvl7pPr marL="4267093" lvl="6" indent="-457189" algn="l">
              <a:lnSpc>
                <a:spcPct val="100000"/>
              </a:lnSpc>
              <a:spcBef>
                <a:spcPts val="480"/>
              </a:spcBef>
              <a:spcAft>
                <a:spcPts val="0"/>
              </a:spcAft>
              <a:buClr>
                <a:schemeClr val="dk1"/>
              </a:buClr>
              <a:buSzPts val="1800"/>
              <a:buChar char="•"/>
              <a:defRPr/>
            </a:lvl7pPr>
            <a:lvl8pPr marL="4876678" lvl="7" indent="-457189" algn="l">
              <a:lnSpc>
                <a:spcPct val="100000"/>
              </a:lnSpc>
              <a:spcBef>
                <a:spcPts val="480"/>
              </a:spcBef>
              <a:spcAft>
                <a:spcPts val="0"/>
              </a:spcAft>
              <a:buClr>
                <a:schemeClr val="dk1"/>
              </a:buClr>
              <a:buSzPts val="1800"/>
              <a:buChar char="•"/>
              <a:defRPr/>
            </a:lvl8pPr>
            <a:lvl9pPr marL="5486263" lvl="8" indent="-457189" algn="l">
              <a:lnSpc>
                <a:spcPct val="100000"/>
              </a:lnSpc>
              <a:spcBef>
                <a:spcPts val="48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462526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3 Content + Text -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3537" y="1251472"/>
            <a:ext cx="7584923" cy="288000"/>
          </a:xfrm>
          <a:noFill/>
        </p:spPr>
        <p:txBody>
          <a:bodyPr lIns="0">
            <a:noAutofit/>
          </a:bodyPr>
          <a:lstStyle>
            <a:lvl1pPr>
              <a:defRPr sz="1300">
                <a:solidFill>
                  <a:schemeClr val="accent6"/>
                </a:solidFill>
              </a:defRPr>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4000" y="1576613"/>
            <a:ext cx="7584923" cy="2016000"/>
          </a:xfrm>
          <a:noFill/>
        </p:spPr>
        <p:txBody>
          <a:bodyPr/>
          <a:lstStyle>
            <a:lvl1pPr algn="ctr">
              <a:defRPr b="0"/>
            </a:lvl1pPr>
            <a:lvl5pPr>
              <a:defRPr/>
            </a:lvl5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hasCustomPrompt="1"/>
          </p:nvPr>
        </p:nvSpPr>
        <p:spPr>
          <a:xfrm>
            <a:off x="7998461" y="1251472"/>
            <a:ext cx="3780000" cy="4928400"/>
          </a:xfrm>
          <a:noFill/>
          <a:effectLst/>
        </p:spPr>
        <p:txBody>
          <a:bodyPr vert="horz" lIns="252000" tIns="252000" rIns="252000" bIns="252000" rtlCol="0" anchor="ctr" anchorCtr="0">
            <a:noAutofit/>
          </a:bodyPr>
          <a:lstStyle>
            <a:lvl1pPr>
              <a:defRPr lang="en-US"/>
            </a:lvl1pPr>
            <a:lvl2pPr>
              <a:defRPr lang="en-US"/>
            </a:lvl2pPr>
            <a:lvl3pPr>
              <a:defRPr lang="en-US"/>
            </a:lvl3pPr>
            <a:lvl4pPr>
              <a:defRPr lang="en-US"/>
            </a:lvl4pPr>
            <a:lvl5pPr>
              <a:defRPr lang="en-GB"/>
            </a:lvl5pPr>
          </a:lstStyle>
          <a:p>
            <a:pPr lvl="0"/>
            <a:r>
              <a:rPr lang="en-US"/>
              <a:t>Active Headline</a:t>
            </a:r>
          </a:p>
          <a:p>
            <a:pPr lvl="1"/>
            <a:r>
              <a:rPr lang="en-US"/>
              <a:t>Body text</a:t>
            </a:r>
          </a:p>
          <a:p>
            <a:pPr lvl="2"/>
            <a:r>
              <a:rPr lang="en-US"/>
              <a:t>Bullets</a:t>
            </a:r>
          </a:p>
          <a:p>
            <a:pPr lvl="3"/>
            <a:r>
              <a:rPr lang="en-US"/>
              <a:t>2nd level bullets</a:t>
            </a:r>
          </a:p>
          <a:p>
            <a:pPr lvl="4"/>
            <a:r>
              <a:rPr lang="en-US"/>
              <a:t>Notes tex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7585200" cy="215999"/>
          </a:xfrm>
          <a:noFill/>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9" name="Text Placeholder 5">
            <a:extLst>
              <a:ext uri="{FF2B5EF4-FFF2-40B4-BE49-F238E27FC236}">
                <a16:creationId xmlns:a16="http://schemas.microsoft.com/office/drawing/2014/main" id="{D49A370F-20C1-AE2C-2D28-B67039D93F62}"/>
              </a:ext>
            </a:extLst>
          </p:cNvPr>
          <p:cNvSpPr>
            <a:spLocks noGrp="1"/>
          </p:cNvSpPr>
          <p:nvPr>
            <p:ph type="body" sz="quarter" idx="16" hasCustomPrompt="1"/>
          </p:nvPr>
        </p:nvSpPr>
        <p:spPr>
          <a:xfrm>
            <a:off x="414000" y="3611386"/>
            <a:ext cx="3780000" cy="288000"/>
          </a:xfrm>
          <a:noFill/>
        </p:spPr>
        <p:txBody>
          <a:bodyPr lIns="0">
            <a:noAutofit/>
          </a:bodyPr>
          <a:lstStyle>
            <a:lvl1pPr>
              <a:defRPr sz="1300">
                <a:solidFill>
                  <a:schemeClr val="accent6"/>
                </a:solidFill>
              </a:defRPr>
            </a:lvl1pPr>
          </a:lstStyle>
          <a:p>
            <a:pPr lvl="0"/>
            <a:r>
              <a:rPr lang="en-US"/>
              <a:t>Chart headline</a:t>
            </a:r>
          </a:p>
        </p:txBody>
      </p:sp>
      <p:sp>
        <p:nvSpPr>
          <p:cNvPr id="11" name="Content Placeholder 7">
            <a:extLst>
              <a:ext uri="{FF2B5EF4-FFF2-40B4-BE49-F238E27FC236}">
                <a16:creationId xmlns:a16="http://schemas.microsoft.com/office/drawing/2014/main" id="{9AE049FE-3B8F-256A-D7E8-577C76D40781}"/>
              </a:ext>
            </a:extLst>
          </p:cNvPr>
          <p:cNvSpPr>
            <a:spLocks noGrp="1"/>
          </p:cNvSpPr>
          <p:nvPr>
            <p:ph sz="quarter" idx="17" hasCustomPrompt="1"/>
          </p:nvPr>
        </p:nvSpPr>
        <p:spPr>
          <a:xfrm>
            <a:off x="413027" y="3933637"/>
            <a:ext cx="3780000" cy="2016000"/>
          </a:xfrm>
          <a:noFill/>
        </p:spPr>
        <p:txBody>
          <a:bodyPr/>
          <a:lstStyle>
            <a:lvl1pPr algn="ctr">
              <a:defRPr b="0"/>
            </a:lvl1pPr>
            <a:lvl5pPr>
              <a:defRPr/>
            </a:lvl5pPr>
          </a:lstStyle>
          <a:p>
            <a:pPr lvl="0"/>
            <a:r>
              <a:rPr lang="en-US"/>
              <a:t>Insert Chart</a:t>
            </a:r>
            <a:endParaRPr lang="en-GB"/>
          </a:p>
        </p:txBody>
      </p:sp>
      <p:sp>
        <p:nvSpPr>
          <p:cNvPr id="13" name="Text Placeholder 5">
            <a:extLst>
              <a:ext uri="{FF2B5EF4-FFF2-40B4-BE49-F238E27FC236}">
                <a16:creationId xmlns:a16="http://schemas.microsoft.com/office/drawing/2014/main" id="{4FBC210F-4D18-EBDF-D1C0-974165764030}"/>
              </a:ext>
            </a:extLst>
          </p:cNvPr>
          <p:cNvSpPr>
            <a:spLocks noGrp="1"/>
          </p:cNvSpPr>
          <p:nvPr>
            <p:ph type="body" sz="quarter" idx="18" hasCustomPrompt="1"/>
          </p:nvPr>
        </p:nvSpPr>
        <p:spPr>
          <a:xfrm>
            <a:off x="4212000" y="3611386"/>
            <a:ext cx="3780000" cy="288000"/>
          </a:xfrm>
          <a:noFill/>
        </p:spPr>
        <p:txBody>
          <a:bodyPr lIns="0">
            <a:noAutofit/>
          </a:bodyPr>
          <a:lstStyle>
            <a:lvl1pPr>
              <a:defRPr sz="1300">
                <a:solidFill>
                  <a:schemeClr val="accent6"/>
                </a:solidFill>
              </a:defRPr>
            </a:lvl1pPr>
          </a:lstStyle>
          <a:p>
            <a:pPr lvl="0"/>
            <a:r>
              <a:rPr lang="en-US"/>
              <a:t>Chart headline</a:t>
            </a:r>
          </a:p>
        </p:txBody>
      </p:sp>
      <p:sp>
        <p:nvSpPr>
          <p:cNvPr id="14" name="Content Placeholder 7">
            <a:extLst>
              <a:ext uri="{FF2B5EF4-FFF2-40B4-BE49-F238E27FC236}">
                <a16:creationId xmlns:a16="http://schemas.microsoft.com/office/drawing/2014/main" id="{ACB90CD1-FFAF-0A5C-32B6-F90923321EA4}"/>
              </a:ext>
            </a:extLst>
          </p:cNvPr>
          <p:cNvSpPr>
            <a:spLocks noGrp="1"/>
          </p:cNvSpPr>
          <p:nvPr>
            <p:ph sz="quarter" idx="19" hasCustomPrompt="1"/>
          </p:nvPr>
        </p:nvSpPr>
        <p:spPr>
          <a:xfrm>
            <a:off x="4212000" y="3933637"/>
            <a:ext cx="3780000" cy="2016000"/>
          </a:xfrm>
          <a:noFill/>
        </p:spPr>
        <p:txBody>
          <a:bodyPr/>
          <a:lstStyle>
            <a:lvl1pPr algn="ctr">
              <a:defRPr b="0"/>
            </a:lvl1pPr>
            <a:lvl5pPr>
              <a:defRPr/>
            </a:lvl5pPr>
          </a:lstStyle>
          <a:p>
            <a:pPr lvl="0"/>
            <a:r>
              <a:rPr lang="en-US"/>
              <a:t>Insert Chart</a:t>
            </a:r>
            <a:endParaRPr lang="en-GB"/>
          </a:p>
        </p:txBody>
      </p:sp>
      <p:sp>
        <p:nvSpPr>
          <p:cNvPr id="21" name="Footer Placeholder 4">
            <a:extLst>
              <a:ext uri="{FF2B5EF4-FFF2-40B4-BE49-F238E27FC236}">
                <a16:creationId xmlns:a16="http://schemas.microsoft.com/office/drawing/2014/main" id="{9E91E95F-0B78-B0DD-44F1-9229CA6FC1F7}"/>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Tree>
    <p:extLst>
      <p:ext uri="{BB962C8B-B14F-4D97-AF65-F5344CB8AC3E}">
        <p14:creationId xmlns:p14="http://schemas.microsoft.com/office/powerpoint/2010/main" val="154739053"/>
      </p:ext>
    </p:extLst>
  </p:cSld>
  <p:clrMapOvr>
    <a:masterClrMapping/>
  </p:clrMapOvr>
  <p:extLst>
    <p:ext uri="{DCECCB84-F9BA-43D5-87BE-67443E8EF086}">
      <p15:sldGuideLst xmlns:p15="http://schemas.microsoft.com/office/powerpoint/2012/main">
        <p15:guide id="1" pos="665">
          <p15:clr>
            <a:srgbClr val="5ACBF0"/>
          </p15:clr>
        </p15:guide>
        <p15:guide id="2" pos="2434">
          <p15:clr>
            <a:srgbClr val="5ACBF0"/>
          </p15:clr>
        </p15:guide>
        <p15:guide id="3" pos="3069">
          <p15:clr>
            <a:srgbClr val="5ACBF0"/>
          </p15:clr>
        </p15:guide>
        <p15:guide id="4" pos="4838">
          <p15:clr>
            <a:srgbClr val="5ACBF0"/>
          </p15:clr>
        </p15:guide>
        <p15:guide id="5" orient="horz" pos="1071">
          <p15:clr>
            <a:srgbClr val="5ACBF0"/>
          </p15:clr>
        </p15:guide>
        <p15:guide id="6" orient="horz" pos="1911">
          <p15:clr>
            <a:srgbClr val="5ACBF0"/>
          </p15:clr>
        </p15:guide>
        <p15:guide id="7" orient="horz" pos="3521">
          <p15:clr>
            <a:srgbClr val="5ACBF0"/>
          </p15:clr>
        </p15:guide>
        <p15:guide id="8" orient="horz" pos="2636">
          <p15:clr>
            <a:srgbClr val="5ACBF0"/>
          </p15:clr>
        </p15:guide>
        <p15:guide id="9" orient="horz" pos="799">
          <p15:clr>
            <a:srgbClr val="F26B43"/>
          </p15:clr>
        </p15:guide>
        <p15:guide id="10" orient="horz" pos="2364">
          <p15:clr>
            <a:srgbClr val="F26B43"/>
          </p15:clr>
        </p15:guide>
        <p15:guide id="11" orient="horz" pos="3725">
          <p15:clr>
            <a:srgbClr val="F26B43"/>
          </p15:clr>
        </p15:guide>
        <p15:guide id="12" pos="5042">
          <p15:clr>
            <a:srgbClr val="F26B43"/>
          </p15:clr>
        </p15:guide>
        <p15:guide id="13" pos="2638">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matchingName="Title and content 2 column">
  <p:cSld name="Title and content 2 column">
    <p:spTree>
      <p:nvGrpSpPr>
        <p:cNvPr id="1" name="Shape 257"/>
        <p:cNvGrpSpPr/>
        <p:nvPr/>
      </p:nvGrpSpPr>
      <p:grpSpPr>
        <a:xfrm>
          <a:off x="0" y="0"/>
          <a:ext cx="0" cy="0"/>
          <a:chOff x="0" y="0"/>
          <a:chExt cx="0" cy="0"/>
        </a:xfrm>
      </p:grpSpPr>
      <p:sp>
        <p:nvSpPr>
          <p:cNvPr id="258" name="Google Shape;258;p30"/>
          <p:cNvSpPr txBox="1">
            <a:spLocks noGrp="1"/>
          </p:cNvSpPr>
          <p:nvPr>
            <p:ph type="body" idx="1"/>
          </p:nvPr>
        </p:nvSpPr>
        <p:spPr>
          <a:xfrm>
            <a:off x="601133" y="399752"/>
            <a:ext cx="11023600" cy="344488"/>
          </a:xfrm>
          <a:prstGeom prst="rect">
            <a:avLst/>
          </a:prstGeom>
          <a:noFill/>
          <a:ln>
            <a:noFill/>
          </a:ln>
        </p:spPr>
        <p:txBody>
          <a:bodyPr spcFirstLastPara="1" wrap="square" lIns="0" tIns="0" rIns="0" bIns="0" anchor="t" anchorCtr="0">
            <a:noAutofit/>
          </a:bodyPr>
          <a:lstStyle>
            <a:lvl1pPr marL="609585" lvl="0" indent="-304792" algn="l">
              <a:lnSpc>
                <a:spcPct val="100000"/>
              </a:lnSpc>
              <a:spcBef>
                <a:spcPts val="0"/>
              </a:spcBef>
              <a:spcAft>
                <a:spcPts val="0"/>
              </a:spcAft>
              <a:buSzPts val="1800"/>
              <a:buNone/>
              <a:defRPr sz="2400" b="1">
                <a:solidFill>
                  <a:schemeClr val="accent2"/>
                </a:solidFill>
                <a:latin typeface="Arial"/>
                <a:ea typeface="Arial"/>
                <a:cs typeface="Arial"/>
                <a:sym typeface="Arial"/>
              </a:defRPr>
            </a:lvl1pPr>
            <a:lvl2pPr marL="1219170" lvl="1" indent="-457189" algn="l">
              <a:lnSpc>
                <a:spcPct val="100000"/>
              </a:lnSpc>
              <a:spcBef>
                <a:spcPts val="400"/>
              </a:spcBef>
              <a:spcAft>
                <a:spcPts val="0"/>
              </a:spcAft>
              <a:buSzPts val="1800"/>
              <a:buChar char="-"/>
              <a:defRPr/>
            </a:lvl2pPr>
            <a:lvl3pPr marL="1828754" lvl="2" indent="-457189" algn="l">
              <a:lnSpc>
                <a:spcPct val="100000"/>
              </a:lnSpc>
              <a:spcBef>
                <a:spcPts val="400"/>
              </a:spcBef>
              <a:spcAft>
                <a:spcPts val="0"/>
              </a:spcAft>
              <a:buSzPts val="1800"/>
              <a:buChar char="•"/>
              <a:defRPr/>
            </a:lvl3pPr>
            <a:lvl4pPr marL="2438339" lvl="3" indent="-457189" algn="l">
              <a:lnSpc>
                <a:spcPct val="100000"/>
              </a:lnSpc>
              <a:spcBef>
                <a:spcPts val="480"/>
              </a:spcBef>
              <a:spcAft>
                <a:spcPts val="0"/>
              </a:spcAft>
              <a:buClr>
                <a:schemeClr val="dk1"/>
              </a:buClr>
              <a:buSzPts val="1800"/>
              <a:buChar char="–"/>
              <a:defRPr/>
            </a:lvl4pPr>
            <a:lvl5pPr marL="3047924" lvl="4" indent="-457189" algn="l">
              <a:lnSpc>
                <a:spcPct val="100000"/>
              </a:lnSpc>
              <a:spcBef>
                <a:spcPts val="480"/>
              </a:spcBef>
              <a:spcAft>
                <a:spcPts val="0"/>
              </a:spcAft>
              <a:buClr>
                <a:schemeClr val="dk1"/>
              </a:buClr>
              <a:buSzPts val="1800"/>
              <a:buChar char="»"/>
              <a:defRPr/>
            </a:lvl5pPr>
            <a:lvl6pPr marL="3657509" lvl="5" indent="-457189" algn="l">
              <a:lnSpc>
                <a:spcPct val="100000"/>
              </a:lnSpc>
              <a:spcBef>
                <a:spcPts val="480"/>
              </a:spcBef>
              <a:spcAft>
                <a:spcPts val="0"/>
              </a:spcAft>
              <a:buClr>
                <a:schemeClr val="dk1"/>
              </a:buClr>
              <a:buSzPts val="1800"/>
              <a:buChar char="•"/>
              <a:defRPr/>
            </a:lvl6pPr>
            <a:lvl7pPr marL="4267093" lvl="6" indent="-457189" algn="l">
              <a:lnSpc>
                <a:spcPct val="100000"/>
              </a:lnSpc>
              <a:spcBef>
                <a:spcPts val="480"/>
              </a:spcBef>
              <a:spcAft>
                <a:spcPts val="0"/>
              </a:spcAft>
              <a:buClr>
                <a:schemeClr val="dk1"/>
              </a:buClr>
              <a:buSzPts val="1800"/>
              <a:buChar char="•"/>
              <a:defRPr/>
            </a:lvl7pPr>
            <a:lvl8pPr marL="4876678" lvl="7" indent="-457189" algn="l">
              <a:lnSpc>
                <a:spcPct val="100000"/>
              </a:lnSpc>
              <a:spcBef>
                <a:spcPts val="480"/>
              </a:spcBef>
              <a:spcAft>
                <a:spcPts val="0"/>
              </a:spcAft>
              <a:buClr>
                <a:schemeClr val="dk1"/>
              </a:buClr>
              <a:buSzPts val="1800"/>
              <a:buChar char="•"/>
              <a:defRPr/>
            </a:lvl8pPr>
            <a:lvl9pPr marL="5486263" lvl="8" indent="-457189" algn="l">
              <a:lnSpc>
                <a:spcPct val="100000"/>
              </a:lnSpc>
              <a:spcBef>
                <a:spcPts val="480"/>
              </a:spcBef>
              <a:spcAft>
                <a:spcPts val="0"/>
              </a:spcAft>
              <a:buClr>
                <a:schemeClr val="dk1"/>
              </a:buClr>
              <a:buSzPts val="1800"/>
              <a:buChar char="•"/>
              <a:defRPr/>
            </a:lvl9pPr>
          </a:lstStyle>
          <a:p>
            <a:endParaRPr/>
          </a:p>
        </p:txBody>
      </p:sp>
      <p:sp>
        <p:nvSpPr>
          <p:cNvPr id="259" name="Google Shape;259;p30"/>
          <p:cNvSpPr txBox="1">
            <a:spLocks noGrp="1"/>
          </p:cNvSpPr>
          <p:nvPr>
            <p:ph type="body" idx="2"/>
          </p:nvPr>
        </p:nvSpPr>
        <p:spPr>
          <a:xfrm>
            <a:off x="6561823" y="1369683"/>
            <a:ext cx="5057836" cy="4229100"/>
          </a:xfrm>
          <a:prstGeom prst="rect">
            <a:avLst/>
          </a:prstGeom>
          <a:noFill/>
          <a:ln>
            <a:noFill/>
          </a:ln>
        </p:spPr>
        <p:txBody>
          <a:bodyPr spcFirstLastPara="1" wrap="square" lIns="0" tIns="0" rIns="0" bIns="0" anchor="t" anchorCtr="0">
            <a:noAutofit/>
          </a:bodyPr>
          <a:lstStyle>
            <a:lvl1pPr marL="609585" lvl="0" indent="-304792" algn="l">
              <a:lnSpc>
                <a:spcPct val="100000"/>
              </a:lnSpc>
              <a:spcBef>
                <a:spcPts val="0"/>
              </a:spcBef>
              <a:spcAft>
                <a:spcPts val="0"/>
              </a:spcAft>
              <a:buSzPts val="1200"/>
              <a:buNone/>
              <a:defRPr>
                <a:solidFill>
                  <a:schemeClr val="accent1"/>
                </a:solidFill>
                <a:latin typeface="Arial"/>
                <a:ea typeface="Arial"/>
                <a:cs typeface="Arial"/>
                <a:sym typeface="Arial"/>
              </a:defRPr>
            </a:lvl1pPr>
            <a:lvl2pPr marL="1219170" lvl="1" indent="-457189" algn="l">
              <a:lnSpc>
                <a:spcPct val="100000"/>
              </a:lnSpc>
              <a:spcBef>
                <a:spcPts val="1200"/>
              </a:spcBef>
              <a:spcAft>
                <a:spcPts val="0"/>
              </a:spcAft>
              <a:buSzPts val="1800"/>
              <a:buChar char="-"/>
              <a:defRPr/>
            </a:lvl2pPr>
            <a:lvl3pPr marL="1828754" lvl="2" indent="-457189" algn="l">
              <a:lnSpc>
                <a:spcPct val="100000"/>
              </a:lnSpc>
              <a:spcBef>
                <a:spcPts val="400"/>
              </a:spcBef>
              <a:spcAft>
                <a:spcPts val="0"/>
              </a:spcAft>
              <a:buSzPts val="1800"/>
              <a:buChar char="•"/>
              <a:defRPr/>
            </a:lvl3pPr>
            <a:lvl4pPr marL="2438339" lvl="3" indent="-457189" algn="l">
              <a:lnSpc>
                <a:spcPct val="100000"/>
              </a:lnSpc>
              <a:spcBef>
                <a:spcPts val="480"/>
              </a:spcBef>
              <a:spcAft>
                <a:spcPts val="0"/>
              </a:spcAft>
              <a:buClr>
                <a:schemeClr val="dk1"/>
              </a:buClr>
              <a:buSzPts val="1800"/>
              <a:buChar char="–"/>
              <a:defRPr/>
            </a:lvl4pPr>
            <a:lvl5pPr marL="3047924" lvl="4" indent="-457189" algn="l">
              <a:lnSpc>
                <a:spcPct val="100000"/>
              </a:lnSpc>
              <a:spcBef>
                <a:spcPts val="480"/>
              </a:spcBef>
              <a:spcAft>
                <a:spcPts val="0"/>
              </a:spcAft>
              <a:buClr>
                <a:schemeClr val="dk1"/>
              </a:buClr>
              <a:buSzPts val="1800"/>
              <a:buChar char="»"/>
              <a:defRPr/>
            </a:lvl5pPr>
            <a:lvl6pPr marL="3657509" lvl="5" indent="-457189" algn="l">
              <a:lnSpc>
                <a:spcPct val="100000"/>
              </a:lnSpc>
              <a:spcBef>
                <a:spcPts val="480"/>
              </a:spcBef>
              <a:spcAft>
                <a:spcPts val="0"/>
              </a:spcAft>
              <a:buClr>
                <a:schemeClr val="dk1"/>
              </a:buClr>
              <a:buSzPts val="1800"/>
              <a:buChar char="•"/>
              <a:defRPr/>
            </a:lvl6pPr>
            <a:lvl7pPr marL="4267093" lvl="6" indent="-457189" algn="l">
              <a:lnSpc>
                <a:spcPct val="100000"/>
              </a:lnSpc>
              <a:spcBef>
                <a:spcPts val="480"/>
              </a:spcBef>
              <a:spcAft>
                <a:spcPts val="0"/>
              </a:spcAft>
              <a:buClr>
                <a:schemeClr val="dk1"/>
              </a:buClr>
              <a:buSzPts val="1800"/>
              <a:buChar char="•"/>
              <a:defRPr/>
            </a:lvl7pPr>
            <a:lvl8pPr marL="4876678" lvl="7" indent="-457189" algn="l">
              <a:lnSpc>
                <a:spcPct val="100000"/>
              </a:lnSpc>
              <a:spcBef>
                <a:spcPts val="480"/>
              </a:spcBef>
              <a:spcAft>
                <a:spcPts val="0"/>
              </a:spcAft>
              <a:buClr>
                <a:schemeClr val="dk1"/>
              </a:buClr>
              <a:buSzPts val="1800"/>
              <a:buChar char="•"/>
              <a:defRPr/>
            </a:lvl8pPr>
            <a:lvl9pPr marL="5486263" lvl="8" indent="-457189" algn="l">
              <a:lnSpc>
                <a:spcPct val="100000"/>
              </a:lnSpc>
              <a:spcBef>
                <a:spcPts val="480"/>
              </a:spcBef>
              <a:spcAft>
                <a:spcPts val="0"/>
              </a:spcAft>
              <a:buClr>
                <a:schemeClr val="dk1"/>
              </a:buClr>
              <a:buSzPts val="1800"/>
              <a:buChar char="•"/>
              <a:defRPr/>
            </a:lvl9pPr>
          </a:lstStyle>
          <a:p>
            <a:endParaRPr/>
          </a:p>
        </p:txBody>
      </p:sp>
      <p:sp>
        <p:nvSpPr>
          <p:cNvPr id="260" name="Google Shape;260;p30"/>
          <p:cNvSpPr txBox="1">
            <a:spLocks noGrp="1"/>
          </p:cNvSpPr>
          <p:nvPr>
            <p:ph type="body" idx="3"/>
          </p:nvPr>
        </p:nvSpPr>
        <p:spPr>
          <a:xfrm>
            <a:off x="612741" y="1361749"/>
            <a:ext cx="5067303" cy="4244975"/>
          </a:xfrm>
          <a:prstGeom prst="rect">
            <a:avLst/>
          </a:prstGeom>
          <a:noFill/>
          <a:ln>
            <a:noFill/>
          </a:ln>
        </p:spPr>
        <p:txBody>
          <a:bodyPr spcFirstLastPara="1" wrap="square" lIns="0" tIns="0" rIns="0" bIns="0" anchor="t" anchorCtr="0">
            <a:noAutofit/>
          </a:bodyPr>
          <a:lstStyle>
            <a:lvl1pPr marL="609585" lvl="0" indent="-304792" algn="l">
              <a:lnSpc>
                <a:spcPct val="100000"/>
              </a:lnSpc>
              <a:spcBef>
                <a:spcPts val="0"/>
              </a:spcBef>
              <a:spcAft>
                <a:spcPts val="0"/>
              </a:spcAft>
              <a:buSzPts val="1200"/>
              <a:buNone/>
              <a:defRPr>
                <a:solidFill>
                  <a:schemeClr val="accent1"/>
                </a:solidFill>
                <a:latin typeface="Arial"/>
                <a:ea typeface="Arial"/>
                <a:cs typeface="Arial"/>
                <a:sym typeface="Arial"/>
              </a:defRPr>
            </a:lvl1pPr>
            <a:lvl2pPr marL="1219170" lvl="1" indent="-457189" algn="l">
              <a:lnSpc>
                <a:spcPct val="100000"/>
              </a:lnSpc>
              <a:spcBef>
                <a:spcPts val="1200"/>
              </a:spcBef>
              <a:spcAft>
                <a:spcPts val="0"/>
              </a:spcAft>
              <a:buSzPts val="1800"/>
              <a:buChar char="-"/>
              <a:defRPr/>
            </a:lvl2pPr>
            <a:lvl3pPr marL="1828754" lvl="2" indent="-457189" algn="l">
              <a:lnSpc>
                <a:spcPct val="100000"/>
              </a:lnSpc>
              <a:spcBef>
                <a:spcPts val="400"/>
              </a:spcBef>
              <a:spcAft>
                <a:spcPts val="0"/>
              </a:spcAft>
              <a:buSzPts val="1800"/>
              <a:buChar char="•"/>
              <a:defRPr/>
            </a:lvl3pPr>
            <a:lvl4pPr marL="2438339" lvl="3" indent="-457189" algn="l">
              <a:lnSpc>
                <a:spcPct val="100000"/>
              </a:lnSpc>
              <a:spcBef>
                <a:spcPts val="480"/>
              </a:spcBef>
              <a:spcAft>
                <a:spcPts val="0"/>
              </a:spcAft>
              <a:buClr>
                <a:schemeClr val="dk1"/>
              </a:buClr>
              <a:buSzPts val="1800"/>
              <a:buChar char="–"/>
              <a:defRPr/>
            </a:lvl4pPr>
            <a:lvl5pPr marL="3047924" lvl="4" indent="-457189" algn="l">
              <a:lnSpc>
                <a:spcPct val="100000"/>
              </a:lnSpc>
              <a:spcBef>
                <a:spcPts val="480"/>
              </a:spcBef>
              <a:spcAft>
                <a:spcPts val="0"/>
              </a:spcAft>
              <a:buClr>
                <a:schemeClr val="dk1"/>
              </a:buClr>
              <a:buSzPts val="1800"/>
              <a:buChar char="»"/>
              <a:defRPr/>
            </a:lvl5pPr>
            <a:lvl6pPr marL="3657509" lvl="5" indent="-457189" algn="l">
              <a:lnSpc>
                <a:spcPct val="100000"/>
              </a:lnSpc>
              <a:spcBef>
                <a:spcPts val="480"/>
              </a:spcBef>
              <a:spcAft>
                <a:spcPts val="0"/>
              </a:spcAft>
              <a:buClr>
                <a:schemeClr val="dk1"/>
              </a:buClr>
              <a:buSzPts val="1800"/>
              <a:buChar char="•"/>
              <a:defRPr/>
            </a:lvl6pPr>
            <a:lvl7pPr marL="4267093" lvl="6" indent="-457189" algn="l">
              <a:lnSpc>
                <a:spcPct val="100000"/>
              </a:lnSpc>
              <a:spcBef>
                <a:spcPts val="480"/>
              </a:spcBef>
              <a:spcAft>
                <a:spcPts val="0"/>
              </a:spcAft>
              <a:buClr>
                <a:schemeClr val="dk1"/>
              </a:buClr>
              <a:buSzPts val="1800"/>
              <a:buChar char="•"/>
              <a:defRPr/>
            </a:lvl7pPr>
            <a:lvl8pPr marL="4876678" lvl="7" indent="-457189" algn="l">
              <a:lnSpc>
                <a:spcPct val="100000"/>
              </a:lnSpc>
              <a:spcBef>
                <a:spcPts val="480"/>
              </a:spcBef>
              <a:spcAft>
                <a:spcPts val="0"/>
              </a:spcAft>
              <a:buClr>
                <a:schemeClr val="dk1"/>
              </a:buClr>
              <a:buSzPts val="1800"/>
              <a:buChar char="•"/>
              <a:defRPr/>
            </a:lvl8pPr>
            <a:lvl9pPr marL="5486263" lvl="8" indent="-457189" algn="l">
              <a:lnSpc>
                <a:spcPct val="100000"/>
              </a:lnSpc>
              <a:spcBef>
                <a:spcPts val="480"/>
              </a:spcBef>
              <a:spcAft>
                <a:spcPts val="0"/>
              </a:spcAft>
              <a:buClr>
                <a:schemeClr val="dk1"/>
              </a:buClr>
              <a:buSzPts val="1800"/>
              <a:buChar char="•"/>
              <a:defRPr/>
            </a:lvl9pPr>
          </a:lstStyle>
          <a:p>
            <a:endParaRPr/>
          </a:p>
        </p:txBody>
      </p:sp>
      <p:sp>
        <p:nvSpPr>
          <p:cNvPr id="261" name="Google Shape;261;p30"/>
          <p:cNvSpPr txBox="1">
            <a:spLocks noGrp="1"/>
          </p:cNvSpPr>
          <p:nvPr>
            <p:ph type="title"/>
          </p:nvPr>
        </p:nvSpPr>
        <p:spPr>
          <a:xfrm>
            <a:off x="609600" y="876502"/>
            <a:ext cx="11015133" cy="282409"/>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1400"/>
              <a:buNone/>
              <a:defRPr>
                <a:solidFill>
                  <a:schemeClr val="accen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11387785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Use for Legal not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A8F113-68E2-ECC6-90D7-9788310C6379}"/>
              </a:ext>
            </a:extLst>
          </p:cNvPr>
          <p:cNvSpPr>
            <a:spLocks noGrp="1"/>
          </p:cNvSpPr>
          <p:nvPr>
            <p:ph type="title"/>
          </p:nvPr>
        </p:nvSpPr>
        <p:spPr>
          <a:xfrm>
            <a:off x="1505778" y="319266"/>
            <a:ext cx="9954025" cy="803053"/>
          </a:xfrm>
        </p:spPr>
        <p:txBody>
          <a:bodyPr>
            <a:noAutofit/>
          </a:bodyPr>
          <a:lstStyle/>
          <a:p>
            <a:r>
              <a:rPr lang="en-US"/>
              <a:t>Click to edit Master title style</a:t>
            </a:r>
            <a:endParaRPr lang="en-GB"/>
          </a:p>
        </p:txBody>
      </p:sp>
      <p:sp>
        <p:nvSpPr>
          <p:cNvPr id="3" name="Date Placeholder 2">
            <a:extLst>
              <a:ext uri="{FF2B5EF4-FFF2-40B4-BE49-F238E27FC236}">
                <a16:creationId xmlns:a16="http://schemas.microsoft.com/office/drawing/2014/main" id="{506CC354-EFC9-A16F-86EB-0447836F1F8B}"/>
              </a:ext>
            </a:extLst>
          </p:cNvPr>
          <p:cNvSpPr>
            <a:spLocks noGrp="1"/>
          </p:cNvSpPr>
          <p:nvPr>
            <p:ph type="dt" sz="half" idx="10"/>
          </p:nvPr>
        </p:nvSpPr>
        <p:spPr/>
        <p:txBody>
          <a:bodyPr/>
          <a:lstStyle>
            <a:lvl1pPr>
              <a:defRPr/>
            </a:lvl1pPr>
          </a:lstStyle>
          <a:p>
            <a:r>
              <a:rPr lang="en-US"/>
              <a:t>October 2025</a:t>
            </a:r>
            <a:endParaRPr lang="en-GB"/>
          </a:p>
        </p:txBody>
      </p:sp>
      <p:sp>
        <p:nvSpPr>
          <p:cNvPr id="4" name="Footer Placeholder 3">
            <a:extLst>
              <a:ext uri="{FF2B5EF4-FFF2-40B4-BE49-F238E27FC236}">
                <a16:creationId xmlns:a16="http://schemas.microsoft.com/office/drawing/2014/main" id="{7D93C41F-81C1-1AC0-D0F4-F72507C60C56}"/>
              </a:ext>
            </a:extLst>
          </p:cNvPr>
          <p:cNvSpPr>
            <a:spLocks noGrp="1"/>
          </p:cNvSpPr>
          <p:nvPr>
            <p:ph type="ftr" sz="quarter" idx="11"/>
          </p:nvPr>
        </p:nvSpPr>
        <p:spPr/>
        <p:txBody>
          <a:bodyPr/>
          <a:lstStyle/>
          <a:p>
            <a:r>
              <a:rPr lang="en-US"/>
              <a:t>CRU Cobalt Market Outlook</a:t>
            </a:r>
            <a:endParaRPr lang="en-GB"/>
          </a:p>
        </p:txBody>
      </p:sp>
      <p:sp>
        <p:nvSpPr>
          <p:cNvPr id="5" name="Slide Number Placeholder 4">
            <a:extLst>
              <a:ext uri="{FF2B5EF4-FFF2-40B4-BE49-F238E27FC236}">
                <a16:creationId xmlns:a16="http://schemas.microsoft.com/office/drawing/2014/main" id="{BEA874AD-0890-6E3D-EFCE-DCB8E425B1F7}"/>
              </a:ext>
            </a:extLst>
          </p:cNvPr>
          <p:cNvSpPr>
            <a:spLocks noGrp="1"/>
          </p:cNvSpPr>
          <p:nvPr>
            <p:ph type="sldNum" sz="quarter" idx="12"/>
          </p:nvPr>
        </p:nvSpPr>
        <p:spPr/>
        <p:txBody>
          <a:bodyPr/>
          <a:lstStyle/>
          <a:p>
            <a:fld id="{562BA7E0-5F5E-EE41-AE8D-BD30ED9E17AD}" type="slidenum">
              <a:rPr lang="en-GB" smtClean="0"/>
              <a:pPr/>
              <a:t>‹#›</a:t>
            </a:fld>
            <a:endParaRPr lang="en-GB"/>
          </a:p>
        </p:txBody>
      </p:sp>
      <p:sp>
        <p:nvSpPr>
          <p:cNvPr id="6" name="Content Placeholder 6">
            <a:extLst>
              <a:ext uri="{FF2B5EF4-FFF2-40B4-BE49-F238E27FC236}">
                <a16:creationId xmlns:a16="http://schemas.microsoft.com/office/drawing/2014/main" id="{96F98337-0FC9-BBC4-4CCC-17B081E8FA92}"/>
              </a:ext>
            </a:extLst>
          </p:cNvPr>
          <p:cNvSpPr>
            <a:spLocks noGrp="1"/>
          </p:cNvSpPr>
          <p:nvPr>
            <p:ph sz="quarter" idx="13"/>
          </p:nvPr>
        </p:nvSpPr>
        <p:spPr>
          <a:xfrm>
            <a:off x="397585" y="1480931"/>
            <a:ext cx="11062225" cy="4712301"/>
          </a:xfrm>
        </p:spPr>
        <p:txBody>
          <a:bodyPr numCol="1">
            <a:noAutofit/>
          </a:bodyPr>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534063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2 Column Dat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FABB3B-4008-C1B4-A19A-475B4093C14D}"/>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F166D3F1-7D4D-9ECF-48BF-ECC934055CF5}"/>
              </a:ext>
            </a:extLst>
          </p:cNvPr>
          <p:cNvSpPr>
            <a:spLocks noGrp="1"/>
          </p:cNvSpPr>
          <p:nvPr>
            <p:ph type="dt" sz="half" idx="10"/>
          </p:nvPr>
        </p:nvSpPr>
        <p:spPr/>
        <p:txBody>
          <a:bodyPr/>
          <a:lstStyle>
            <a:lvl1pPr>
              <a:defRPr/>
            </a:lvl1pPr>
          </a:lstStyle>
          <a:p>
            <a:r>
              <a:rPr lang="en-US"/>
              <a:t>October 2025</a:t>
            </a:r>
            <a:endParaRPr lang="en-GB"/>
          </a:p>
        </p:txBody>
      </p:sp>
      <p:sp>
        <p:nvSpPr>
          <p:cNvPr id="4" name="Footer Placeholder 3">
            <a:extLst>
              <a:ext uri="{FF2B5EF4-FFF2-40B4-BE49-F238E27FC236}">
                <a16:creationId xmlns:a16="http://schemas.microsoft.com/office/drawing/2014/main" id="{92372FC6-4E1E-892E-25BA-97FEC2A7CE30}"/>
              </a:ext>
            </a:extLst>
          </p:cNvPr>
          <p:cNvSpPr>
            <a:spLocks noGrp="1"/>
          </p:cNvSpPr>
          <p:nvPr>
            <p:ph type="ftr" sz="quarter" idx="11"/>
          </p:nvPr>
        </p:nvSpPr>
        <p:spPr/>
        <p:txBody>
          <a:bodyPr/>
          <a:lstStyle>
            <a:lvl1pPr>
              <a:defRPr/>
            </a:lvl1pPr>
          </a:lstStyle>
          <a:p>
            <a:r>
              <a:rPr lang="en-US"/>
              <a:t>CRU Cobalt Market Outlook</a:t>
            </a:r>
            <a:endParaRPr lang="en-GB"/>
          </a:p>
        </p:txBody>
      </p:sp>
      <p:sp>
        <p:nvSpPr>
          <p:cNvPr id="5" name="Slide Number Placeholder 4">
            <a:extLst>
              <a:ext uri="{FF2B5EF4-FFF2-40B4-BE49-F238E27FC236}">
                <a16:creationId xmlns:a16="http://schemas.microsoft.com/office/drawing/2014/main" id="{1A7BEB0D-A513-E10C-B419-7299F0A4769D}"/>
              </a:ext>
            </a:extLst>
          </p:cNvPr>
          <p:cNvSpPr>
            <a:spLocks noGrp="1"/>
          </p:cNvSpPr>
          <p:nvPr>
            <p:ph type="sldNum" sz="quarter" idx="12"/>
          </p:nvPr>
        </p:nvSpPr>
        <p:spPr/>
        <p:txBody>
          <a:bodyPr/>
          <a:lstStyle/>
          <a:p>
            <a:fld id="{562BA7E0-5F5E-EE41-AE8D-BD30ED9E17AD}" type="slidenum">
              <a:rPr lang="en-GB" smtClean="0"/>
              <a:pPr/>
              <a:t>‹#›</a:t>
            </a:fld>
            <a:endParaRPr lang="en-GB"/>
          </a:p>
        </p:txBody>
      </p:sp>
      <p:sp>
        <p:nvSpPr>
          <p:cNvPr id="7" name="Content Placeholder 6">
            <a:extLst>
              <a:ext uri="{FF2B5EF4-FFF2-40B4-BE49-F238E27FC236}">
                <a16:creationId xmlns:a16="http://schemas.microsoft.com/office/drawing/2014/main" id="{3D82AC04-9ACE-84F2-B397-3BD79D609C97}"/>
              </a:ext>
            </a:extLst>
          </p:cNvPr>
          <p:cNvSpPr>
            <a:spLocks noGrp="1"/>
          </p:cNvSpPr>
          <p:nvPr>
            <p:ph sz="quarter" idx="13"/>
          </p:nvPr>
        </p:nvSpPr>
        <p:spPr>
          <a:xfrm>
            <a:off x="366889" y="1480931"/>
            <a:ext cx="5220000" cy="4618211"/>
          </a:xfrm>
        </p:spPr>
        <p:txBody>
          <a:bodyPr numCol="1"/>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6">
            <a:extLst>
              <a:ext uri="{FF2B5EF4-FFF2-40B4-BE49-F238E27FC236}">
                <a16:creationId xmlns:a16="http://schemas.microsoft.com/office/drawing/2014/main" id="{8C6A408C-03FE-3FB9-AFDD-AF80EEACA644}"/>
              </a:ext>
            </a:extLst>
          </p:cNvPr>
          <p:cNvSpPr>
            <a:spLocks noGrp="1"/>
          </p:cNvSpPr>
          <p:nvPr>
            <p:ph sz="quarter" idx="14"/>
          </p:nvPr>
        </p:nvSpPr>
        <p:spPr>
          <a:xfrm>
            <a:off x="6239818" y="1480931"/>
            <a:ext cx="5220000" cy="4618211"/>
          </a:xfrm>
        </p:spPr>
        <p:txBody>
          <a:bodyPr numCol="1"/>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0213331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Single Column Dat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A8F113-68E2-ECC6-90D7-9788310C6379}"/>
              </a:ext>
            </a:extLst>
          </p:cNvPr>
          <p:cNvSpPr>
            <a:spLocks noGrp="1"/>
          </p:cNvSpPr>
          <p:nvPr>
            <p:ph type="title"/>
          </p:nvPr>
        </p:nvSpPr>
        <p:spPr>
          <a:xfrm>
            <a:off x="1505778" y="319266"/>
            <a:ext cx="9954025" cy="803053"/>
          </a:xfrm>
        </p:spPr>
        <p:txBody>
          <a:bodyPr>
            <a:noAutofit/>
          </a:bodyPr>
          <a:lstStyle/>
          <a:p>
            <a:r>
              <a:rPr lang="en-GB"/>
              <a:t>Click to edit Master title style</a:t>
            </a:r>
          </a:p>
        </p:txBody>
      </p:sp>
      <p:sp>
        <p:nvSpPr>
          <p:cNvPr id="3" name="Date Placeholder 2">
            <a:extLst>
              <a:ext uri="{FF2B5EF4-FFF2-40B4-BE49-F238E27FC236}">
                <a16:creationId xmlns:a16="http://schemas.microsoft.com/office/drawing/2014/main" id="{506CC354-EFC9-A16F-86EB-0447836F1F8B}"/>
              </a:ext>
            </a:extLst>
          </p:cNvPr>
          <p:cNvSpPr>
            <a:spLocks noGrp="1"/>
          </p:cNvSpPr>
          <p:nvPr>
            <p:ph type="dt" sz="half" idx="10"/>
          </p:nvPr>
        </p:nvSpPr>
        <p:spPr/>
        <p:txBody>
          <a:bodyPr/>
          <a:lstStyle>
            <a:lvl1pPr>
              <a:defRPr/>
            </a:lvl1pPr>
          </a:lstStyle>
          <a:p>
            <a:r>
              <a:rPr lang="en-US"/>
              <a:t>May 2025</a:t>
            </a:r>
            <a:endParaRPr lang="en-GB"/>
          </a:p>
        </p:txBody>
      </p:sp>
      <p:sp>
        <p:nvSpPr>
          <p:cNvPr id="4" name="Footer Placeholder 3">
            <a:extLst>
              <a:ext uri="{FF2B5EF4-FFF2-40B4-BE49-F238E27FC236}">
                <a16:creationId xmlns:a16="http://schemas.microsoft.com/office/drawing/2014/main" id="{7D93C41F-81C1-1AC0-D0F4-F72507C60C56}"/>
              </a:ext>
            </a:extLst>
          </p:cNvPr>
          <p:cNvSpPr>
            <a:spLocks noGrp="1"/>
          </p:cNvSpPr>
          <p:nvPr>
            <p:ph type="ftr" sz="quarter" idx="11"/>
          </p:nvPr>
        </p:nvSpPr>
        <p:spPr/>
        <p:txBody>
          <a:bodyPr/>
          <a:lstStyle/>
          <a:p>
            <a:r>
              <a:rPr lang="en-GB"/>
              <a:t>Stainless Steel &amp; Raw Materials in an Era of Uncertainty</a:t>
            </a:r>
          </a:p>
        </p:txBody>
      </p:sp>
      <p:sp>
        <p:nvSpPr>
          <p:cNvPr id="5" name="Slide Number Placeholder 4">
            <a:extLst>
              <a:ext uri="{FF2B5EF4-FFF2-40B4-BE49-F238E27FC236}">
                <a16:creationId xmlns:a16="http://schemas.microsoft.com/office/drawing/2014/main" id="{BEA874AD-0890-6E3D-EFCE-DCB8E425B1F7}"/>
              </a:ext>
            </a:extLst>
          </p:cNvPr>
          <p:cNvSpPr>
            <a:spLocks noGrp="1"/>
          </p:cNvSpPr>
          <p:nvPr>
            <p:ph type="sldNum" sz="quarter" idx="12"/>
          </p:nvPr>
        </p:nvSpPr>
        <p:spPr/>
        <p:txBody>
          <a:bodyPr/>
          <a:lstStyle/>
          <a:p>
            <a:fld id="{562BA7E0-5F5E-EE41-AE8D-BD30ED9E17AD}" type="slidenum">
              <a:rPr lang="en-GB" smtClean="0"/>
              <a:pPr/>
              <a:t>‹#›</a:t>
            </a:fld>
            <a:endParaRPr lang="en-GB"/>
          </a:p>
        </p:txBody>
      </p:sp>
      <p:sp>
        <p:nvSpPr>
          <p:cNvPr id="6" name="Content Placeholder 6">
            <a:extLst>
              <a:ext uri="{FF2B5EF4-FFF2-40B4-BE49-F238E27FC236}">
                <a16:creationId xmlns:a16="http://schemas.microsoft.com/office/drawing/2014/main" id="{96F98337-0FC9-BBC4-4CCC-17B081E8FA92}"/>
              </a:ext>
            </a:extLst>
          </p:cNvPr>
          <p:cNvSpPr>
            <a:spLocks noGrp="1"/>
          </p:cNvSpPr>
          <p:nvPr>
            <p:ph sz="quarter" idx="13"/>
          </p:nvPr>
        </p:nvSpPr>
        <p:spPr>
          <a:xfrm>
            <a:off x="397585" y="1480931"/>
            <a:ext cx="11062225" cy="4712301"/>
          </a:xfrm>
        </p:spPr>
        <p:txBody>
          <a:bodyPr numCol="1">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4050398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 Content + Text -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p:nvPr>
        </p:nvSpPr>
        <p:spPr>
          <a:xfrm>
            <a:off x="413537" y="1251472"/>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4000" y="1594633"/>
            <a:ext cx="3780000" cy="1980000"/>
          </a:xfrm>
          <a:noFill/>
        </p:spPr>
        <p:txBody>
          <a:bodyPr/>
          <a:lstStyle>
            <a:lvl1pPr algn="ctr">
              <a:defRPr sz="1300" b="0"/>
            </a:lvl1pPr>
            <a:lvl5pPr>
              <a:defRPr/>
            </a:lvl5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hasCustomPrompt="1"/>
          </p:nvPr>
        </p:nvSpPr>
        <p:spPr>
          <a:xfrm>
            <a:off x="7998461" y="1251472"/>
            <a:ext cx="3780000" cy="4936100"/>
          </a:xfrm>
          <a:noFill/>
          <a:effectLst/>
        </p:spPr>
        <p:txBody>
          <a:bodyPr vert="horz" lIns="252000" tIns="252000" rIns="252000" bIns="252000" rtlCol="0" anchor="ctr" anchorCtr="0">
            <a:noAutofit/>
          </a:bodyPr>
          <a:lstStyle>
            <a:lvl1pPr>
              <a:defRPr lang="en-US"/>
            </a:lvl1pPr>
            <a:lvl2pPr>
              <a:defRPr lang="en-US"/>
            </a:lvl2pPr>
            <a:lvl3pPr>
              <a:defRPr lang="en-US"/>
            </a:lvl3pPr>
            <a:lvl4pPr>
              <a:defRPr lang="en-US"/>
            </a:lvl4pPr>
            <a:lvl5pPr>
              <a:defRPr lang="en-GB"/>
            </a:lvl5pPr>
          </a:lstStyle>
          <a:p>
            <a:pPr lvl="0"/>
            <a:r>
              <a:rPr lang="en-US"/>
              <a:t>Active Headline</a:t>
            </a:r>
          </a:p>
          <a:p>
            <a:pPr lvl="1"/>
            <a:r>
              <a:rPr lang="en-US"/>
              <a:t>Body text</a:t>
            </a:r>
          </a:p>
          <a:p>
            <a:pPr lvl="2"/>
            <a:r>
              <a:rPr lang="en-US"/>
              <a:t>Bullets</a:t>
            </a:r>
          </a:p>
          <a:p>
            <a:pPr lvl="3"/>
            <a:r>
              <a:rPr lang="en-US"/>
              <a:t>2nd level bullets</a:t>
            </a:r>
          </a:p>
          <a:p>
            <a:pPr lvl="4"/>
            <a:r>
              <a:rPr lang="en-US"/>
              <a:t>Notes tex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7585200" cy="215999"/>
          </a:xfrm>
          <a:noFill/>
        </p:spPr>
        <p:txBody>
          <a:bodyPr lIns="0"/>
          <a:lstStyle>
            <a:lvl1pPr>
              <a:defRPr sz="105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5" name="Text Placeholder 5">
            <a:extLst>
              <a:ext uri="{FF2B5EF4-FFF2-40B4-BE49-F238E27FC236}">
                <a16:creationId xmlns:a16="http://schemas.microsoft.com/office/drawing/2014/main" id="{D7616806-7E32-D88B-F740-18B7BC6A1ECE}"/>
              </a:ext>
            </a:extLst>
          </p:cNvPr>
          <p:cNvSpPr>
            <a:spLocks noGrp="1"/>
          </p:cNvSpPr>
          <p:nvPr>
            <p:ph type="body" sz="quarter" idx="16"/>
          </p:nvPr>
        </p:nvSpPr>
        <p:spPr>
          <a:xfrm>
            <a:off x="414000" y="3662850"/>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7" name="Content Placeholder 7">
            <a:extLst>
              <a:ext uri="{FF2B5EF4-FFF2-40B4-BE49-F238E27FC236}">
                <a16:creationId xmlns:a16="http://schemas.microsoft.com/office/drawing/2014/main" id="{301ACA0B-90BD-21BF-F5A6-4461A144284D}"/>
              </a:ext>
            </a:extLst>
          </p:cNvPr>
          <p:cNvSpPr>
            <a:spLocks noGrp="1"/>
          </p:cNvSpPr>
          <p:nvPr>
            <p:ph sz="quarter" idx="17" hasCustomPrompt="1"/>
          </p:nvPr>
        </p:nvSpPr>
        <p:spPr>
          <a:xfrm>
            <a:off x="413027" y="3988194"/>
            <a:ext cx="3780000" cy="1980000"/>
          </a:xfrm>
          <a:noFill/>
        </p:spPr>
        <p:txBody>
          <a:bodyPr/>
          <a:lstStyle>
            <a:lvl1pPr algn="ctr">
              <a:defRPr b="0"/>
            </a:lvl1pPr>
            <a:lvl5pPr>
              <a:defRPr/>
            </a:lvl5pPr>
          </a:lstStyle>
          <a:p>
            <a:pPr lvl="0"/>
            <a:r>
              <a:rPr lang="en-US"/>
              <a:t>Insert Chart</a:t>
            </a:r>
            <a:endParaRPr lang="en-GB"/>
          </a:p>
        </p:txBody>
      </p:sp>
      <p:sp>
        <p:nvSpPr>
          <p:cNvPr id="9" name="Text Placeholder 5">
            <a:extLst>
              <a:ext uri="{FF2B5EF4-FFF2-40B4-BE49-F238E27FC236}">
                <a16:creationId xmlns:a16="http://schemas.microsoft.com/office/drawing/2014/main" id="{41A38980-B6C7-2C12-669B-DF4E926D0985}"/>
              </a:ext>
            </a:extLst>
          </p:cNvPr>
          <p:cNvSpPr>
            <a:spLocks noGrp="1"/>
          </p:cNvSpPr>
          <p:nvPr>
            <p:ph type="body" sz="quarter" idx="18"/>
          </p:nvPr>
        </p:nvSpPr>
        <p:spPr>
          <a:xfrm>
            <a:off x="4212000" y="3662850"/>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11" name="Content Placeholder 7">
            <a:extLst>
              <a:ext uri="{FF2B5EF4-FFF2-40B4-BE49-F238E27FC236}">
                <a16:creationId xmlns:a16="http://schemas.microsoft.com/office/drawing/2014/main" id="{D63835D9-5A9C-436E-DE0E-681C84B793FD}"/>
              </a:ext>
            </a:extLst>
          </p:cNvPr>
          <p:cNvSpPr>
            <a:spLocks noGrp="1"/>
          </p:cNvSpPr>
          <p:nvPr>
            <p:ph sz="quarter" idx="19" hasCustomPrompt="1"/>
          </p:nvPr>
        </p:nvSpPr>
        <p:spPr>
          <a:xfrm>
            <a:off x="4212000" y="3988194"/>
            <a:ext cx="3780000" cy="1980000"/>
          </a:xfrm>
          <a:noFill/>
        </p:spPr>
        <p:txBody>
          <a:bodyPr/>
          <a:lstStyle>
            <a:lvl1pPr algn="ctr">
              <a:defRPr b="0"/>
            </a:lvl1pPr>
            <a:lvl5pPr>
              <a:defRPr/>
            </a:lvl5pPr>
          </a:lstStyle>
          <a:p>
            <a:pPr lvl="0"/>
            <a:r>
              <a:rPr lang="en-US"/>
              <a:t>Insert Chart</a:t>
            </a:r>
            <a:endParaRPr lang="en-GB"/>
          </a:p>
        </p:txBody>
      </p:sp>
      <p:sp>
        <p:nvSpPr>
          <p:cNvPr id="13" name="Text Placeholder 5">
            <a:extLst>
              <a:ext uri="{FF2B5EF4-FFF2-40B4-BE49-F238E27FC236}">
                <a16:creationId xmlns:a16="http://schemas.microsoft.com/office/drawing/2014/main" id="{0F05E3CC-77D8-00D4-3892-43359D3D440D}"/>
              </a:ext>
            </a:extLst>
          </p:cNvPr>
          <p:cNvSpPr>
            <a:spLocks noGrp="1"/>
          </p:cNvSpPr>
          <p:nvPr>
            <p:ph type="body" sz="quarter" idx="20"/>
          </p:nvPr>
        </p:nvSpPr>
        <p:spPr>
          <a:xfrm>
            <a:off x="4212000" y="1251472"/>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14" name="Content Placeholder 7">
            <a:extLst>
              <a:ext uri="{FF2B5EF4-FFF2-40B4-BE49-F238E27FC236}">
                <a16:creationId xmlns:a16="http://schemas.microsoft.com/office/drawing/2014/main" id="{CB8F5FCB-FB91-1CC1-0B13-4616C17F6F8D}"/>
              </a:ext>
            </a:extLst>
          </p:cNvPr>
          <p:cNvSpPr>
            <a:spLocks noGrp="1"/>
          </p:cNvSpPr>
          <p:nvPr>
            <p:ph sz="quarter" idx="21" hasCustomPrompt="1"/>
          </p:nvPr>
        </p:nvSpPr>
        <p:spPr>
          <a:xfrm>
            <a:off x="4211999" y="1594633"/>
            <a:ext cx="3780000" cy="1980000"/>
          </a:xfrm>
          <a:noFill/>
        </p:spPr>
        <p:txBody>
          <a:bodyPr/>
          <a:lstStyle>
            <a:lvl1pPr algn="ctr">
              <a:defRPr b="0"/>
            </a:lvl1pPr>
            <a:lvl5pPr>
              <a:defRPr/>
            </a:lvl5pPr>
          </a:lstStyle>
          <a:p>
            <a:pPr lvl="0"/>
            <a:r>
              <a:rPr lang="en-US"/>
              <a:t>Insert Chart</a:t>
            </a:r>
            <a:endParaRPr lang="en-GB"/>
          </a:p>
        </p:txBody>
      </p:sp>
      <p:sp>
        <p:nvSpPr>
          <p:cNvPr id="23" name="Footer Placeholder 4">
            <a:extLst>
              <a:ext uri="{FF2B5EF4-FFF2-40B4-BE49-F238E27FC236}">
                <a16:creationId xmlns:a16="http://schemas.microsoft.com/office/drawing/2014/main" id="{26092300-6B2D-E291-F26E-F0EFBCCA1C83}"/>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Tree>
    <p:extLst>
      <p:ext uri="{BB962C8B-B14F-4D97-AF65-F5344CB8AC3E}">
        <p14:creationId xmlns:p14="http://schemas.microsoft.com/office/powerpoint/2010/main" val="525050727"/>
      </p:ext>
    </p:extLst>
  </p:cSld>
  <p:clrMapOvr>
    <a:masterClrMapping/>
  </p:clrMapOvr>
  <p:extLst>
    <p:ext uri="{DCECCB84-F9BA-43D5-87BE-67443E8EF086}">
      <p15:sldGuideLst xmlns:p15="http://schemas.microsoft.com/office/powerpoint/2012/main">
        <p15:guide id="1" pos="665">
          <p15:clr>
            <a:srgbClr val="5ACBF0"/>
          </p15:clr>
        </p15:guide>
        <p15:guide id="2" pos="2434">
          <p15:clr>
            <a:srgbClr val="5ACBF0"/>
          </p15:clr>
        </p15:guide>
        <p15:guide id="3" pos="3069">
          <p15:clr>
            <a:srgbClr val="5ACBF0"/>
          </p15:clr>
        </p15:guide>
        <p15:guide id="4" pos="4838">
          <p15:clr>
            <a:srgbClr val="5ACBF0"/>
          </p15:clr>
        </p15:guide>
        <p15:guide id="5" orient="horz" pos="1071">
          <p15:clr>
            <a:srgbClr val="5ACBF0"/>
          </p15:clr>
        </p15:guide>
        <p15:guide id="6" orient="horz" pos="1911">
          <p15:clr>
            <a:srgbClr val="5ACBF0"/>
          </p15:clr>
        </p15:guide>
        <p15:guide id="7" orient="horz" pos="3521">
          <p15:clr>
            <a:srgbClr val="5ACBF0"/>
          </p15:clr>
        </p15:guide>
        <p15:guide id="8" orient="horz" pos="2636">
          <p15:clr>
            <a:srgbClr val="5ACBF0"/>
          </p15:clr>
        </p15:guide>
        <p15:guide id="9" orient="horz" pos="799">
          <p15:clr>
            <a:srgbClr val="F26B43"/>
          </p15:clr>
        </p15:guide>
        <p15:guide id="10" orient="horz" pos="2364">
          <p15:clr>
            <a:srgbClr val="F26B43"/>
          </p15:clr>
        </p15:guide>
        <p15:guide id="11" orient="horz" pos="3725">
          <p15:clr>
            <a:srgbClr val="F26B43"/>
          </p15:clr>
        </p15:guide>
        <p15:guide id="12" pos="5042">
          <p15:clr>
            <a:srgbClr val="F26B43"/>
          </p15:clr>
        </p15:guide>
        <p15:guide id="13" pos="2638">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age Vis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2750" y="1251472"/>
            <a:ext cx="11365200" cy="4641401"/>
          </a:xfrm>
          <a:noFill/>
        </p:spPr>
        <p:txBody>
          <a:bodyPr anchor="t"/>
          <a:lstStyle>
            <a:lvl1pPr algn="ctr">
              <a:defRPr b="0"/>
            </a:lvl1pPr>
            <a:lvl2pPr algn="ctr">
              <a:defRPr/>
            </a:lvl2pPr>
            <a:lvl3pPr algn="ctr">
              <a:defRPr/>
            </a:lvl3pPr>
            <a:lvl4pPr algn="ctr">
              <a:defRPr/>
            </a:lvl4pPr>
            <a:lvl5pPr algn="ctr">
              <a:defRPr/>
            </a:lvl5pPr>
          </a:lstStyle>
          <a:p>
            <a:pPr lvl="0"/>
            <a:r>
              <a:rPr lang="en-US"/>
              <a:t>Insert Chart or Table</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11430000" cy="215999"/>
          </a:xfrm>
          <a:noFill/>
        </p:spPr>
        <p:txBody>
          <a:bodyPr lIns="0"/>
          <a:lstStyle>
            <a:lvl1pPr>
              <a:defRPr sz="1050" b="0">
                <a:solidFill>
                  <a:schemeClr val="bg2">
                    <a:lumMod val="10000"/>
                  </a:schemeClr>
                </a:solidFill>
              </a:defRPr>
            </a:lvl1pPr>
            <a:lvl5pPr>
              <a:defRPr sz="700">
                <a:solidFill>
                  <a:schemeClr val="tx1"/>
                </a:solidFill>
              </a:defRPr>
            </a:lvl5pPr>
          </a:lstStyle>
          <a:p>
            <a:pPr lvl="0"/>
            <a:r>
              <a:rPr lang="en-US"/>
              <a:t>Add your DATA source here</a:t>
            </a:r>
            <a:endParaRPr lang="en-GB"/>
          </a:p>
        </p:txBody>
      </p:sp>
      <p:sp>
        <p:nvSpPr>
          <p:cNvPr id="6" name="Footer Placeholder 4">
            <a:extLst>
              <a:ext uri="{FF2B5EF4-FFF2-40B4-BE49-F238E27FC236}">
                <a16:creationId xmlns:a16="http://schemas.microsoft.com/office/drawing/2014/main" id="{A400B9E1-C65A-1F67-73D1-8910394C1C83}"/>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Tree>
    <p:extLst>
      <p:ext uri="{BB962C8B-B14F-4D97-AF65-F5344CB8AC3E}">
        <p14:creationId xmlns:p14="http://schemas.microsoft.com/office/powerpoint/2010/main" val="376624088"/>
      </p:ext>
    </p:extLst>
  </p:cSld>
  <p:clrMapOvr>
    <a:masterClrMapping/>
  </p:clrMapOvr>
  <p:extLst>
    <p:ext uri="{DCECCB84-F9BA-43D5-87BE-67443E8EF086}">
      <p15:sldGuideLst xmlns:p15="http://schemas.microsoft.com/office/powerpoint/2012/main">
        <p15:guide id="1" pos="3840">
          <p15:clr>
            <a:srgbClr val="F26B43"/>
          </p15:clr>
        </p15:guide>
        <p15:guide id="2" pos="2366">
          <p15:clr>
            <a:srgbClr val="5ACBF0"/>
          </p15:clr>
        </p15:guide>
        <p15:guide id="3" pos="5314">
          <p15:clr>
            <a:srgbClr val="5ACBF0"/>
          </p15:clr>
        </p15:guide>
        <p15:guide id="4" orient="horz" pos="1253">
          <p15:clr>
            <a:srgbClr val="5ACBF0"/>
          </p15:clr>
        </p15:guide>
        <p15:guide id="5" orient="horz" pos="3090">
          <p15:clr>
            <a:srgbClr val="5ACBF0"/>
          </p15:clr>
        </p15:guide>
        <p15:guide id="6" orient="horz" pos="3725">
          <p15:clr>
            <a:srgbClr val="F26B43"/>
          </p15:clr>
        </p15:guide>
        <p15:guide id="7" orient="horz" pos="618">
          <p15:clr>
            <a:srgbClr val="F26B43"/>
          </p15:clr>
        </p15:guide>
        <p15:guide id="8" pos="914">
          <p15:clr>
            <a:srgbClr val="5ACBF0"/>
          </p15:clr>
        </p15:guide>
        <p15:guide id="9" pos="701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0E1236C-1F6A-C310-B3AD-04FE10631AEA}"/>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1" name="Straight Connector 10">
            <a:extLst>
              <a:ext uri="{FF2B5EF4-FFF2-40B4-BE49-F238E27FC236}">
                <a16:creationId xmlns:a16="http://schemas.microsoft.com/office/drawing/2014/main" id="{AB2564B3-A172-D336-E774-6508A518A9A4}"/>
              </a:ext>
            </a:extLst>
          </p:cNvPr>
          <p:cNvCxnSpPr>
            <a:cxnSpLocks/>
          </p:cNvCxnSpPr>
          <p:nvPr userDrawn="1"/>
        </p:nvCxnSpPr>
        <p:spPr>
          <a:xfrm>
            <a:off x="2702950"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1A251F91-00BD-73A5-1690-EA7889C27005}"/>
              </a:ext>
            </a:extLst>
          </p:cNvPr>
          <p:cNvCxnSpPr>
            <a:cxnSpLocks/>
          </p:cNvCxnSpPr>
          <p:nvPr userDrawn="1"/>
        </p:nvCxnSpPr>
        <p:spPr>
          <a:xfrm>
            <a:off x="5488473"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7A48A5AD-122B-445F-8918-5620E751FE74}"/>
              </a:ext>
            </a:extLst>
          </p:cNvPr>
          <p:cNvCxnSpPr>
            <a:cxnSpLocks/>
          </p:cNvCxnSpPr>
          <p:nvPr userDrawn="1"/>
        </p:nvCxnSpPr>
        <p:spPr>
          <a:xfrm>
            <a:off x="7411982"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000DE161-39A1-09A9-5060-B0B52242AFFA}"/>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tx1">
                    <a:lumMod val="50000"/>
                  </a:schemeClr>
                </a:solidFill>
                <a:latin typeface="Garamond" panose="02020404030301010803" pitchFamily="18" charset="0"/>
                <a:ea typeface="Helvetica Neue UltraLight" panose="02000206000000020004" pitchFamily="2" charset="0"/>
              </a:rPr>
              <a:t>expert</a:t>
            </a:r>
            <a:r>
              <a:rPr lang="en-GB" sz="1000" b="0" i="0">
                <a:solidFill>
                  <a:schemeClr val="tx1">
                    <a:lumMod val="50000"/>
                  </a:schemeClr>
                </a:solidFill>
                <a:latin typeface="Helvetica Neue UltraLight" panose="02000206000000020004" pitchFamily="2" charset="0"/>
                <a:ea typeface="Helvetica Neue UltraLight" panose="02000206000000020004" pitchFamily="2" charset="0"/>
              </a:rPr>
              <a:t> </a:t>
            </a:r>
            <a:r>
              <a:rPr lang="en-GB"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3" name="TextBox 2">
            <a:extLst>
              <a:ext uri="{FF2B5EF4-FFF2-40B4-BE49-F238E27FC236}">
                <a16:creationId xmlns:a16="http://schemas.microsoft.com/office/drawing/2014/main" id="{FB636495-F7C7-0C00-108D-E654D2A6EE13}"/>
              </a:ext>
            </a:extLst>
          </p:cNvPr>
          <p:cNvSpPr txBox="1"/>
          <p:nvPr userDrawn="1"/>
        </p:nvSpPr>
        <p:spPr>
          <a:xfrm>
            <a:off x="11682742" y="6458310"/>
            <a:ext cx="409669" cy="276999"/>
          </a:xfrm>
          <a:prstGeom prst="rect">
            <a:avLst/>
          </a:prstGeom>
          <a:noFill/>
        </p:spPr>
        <p:txBody>
          <a:bodyPr wrap="square" anchor="ctr">
            <a:spAutoFit/>
          </a:bodyPr>
          <a:lstStyle/>
          <a:p>
            <a:fld id="{562BA7E0-5F5E-EE41-AE8D-BD30ED9E17AD}" type="slidenum">
              <a:rPr lang="en-GB" sz="1200" smtClean="0">
                <a:solidFill>
                  <a:schemeClr val="tx1"/>
                </a:solidFill>
                <a:latin typeface="Arial" panose="020B0604020202020204" pitchFamily="34" charset="0"/>
                <a:cs typeface="Arial" panose="020B0604020202020204" pitchFamily="34" charset="0"/>
              </a:rPr>
              <a:pPr/>
              <a:t>‹#›</a:t>
            </a:fld>
            <a:endParaRPr lang="en-GB" sz="1200">
              <a:solidFill>
                <a:schemeClr val="tx1"/>
              </a:solidFill>
              <a:latin typeface="Arial" panose="020B0604020202020204" pitchFamily="34" charset="0"/>
              <a:cs typeface="Arial" panose="020B0604020202020204" pitchFamily="34" charset="0"/>
            </a:endParaRPr>
          </a:p>
        </p:txBody>
      </p:sp>
      <p:pic>
        <p:nvPicPr>
          <p:cNvPr id="7" name="Picture 6" descr="A logo on a black background&#10;&#10;Description automatically generated">
            <a:extLst>
              <a:ext uri="{FF2B5EF4-FFF2-40B4-BE49-F238E27FC236}">
                <a16:creationId xmlns:a16="http://schemas.microsoft.com/office/drawing/2014/main" id="{05A14DB0-CEA8-2F77-EF59-84BB507E2FC6}"/>
              </a:ext>
            </a:extLst>
          </p:cNvPr>
          <p:cNvPicPr>
            <a:picLocks noChangeAspect="1"/>
          </p:cNvPicPr>
          <p:nvPr userDrawn="1"/>
        </p:nvPicPr>
        <p:blipFill rotWithShape="1">
          <a:blip r:embed="rId2"/>
          <a:srcRect l="7819" t="33017" r="74362" b="36885"/>
          <a:stretch/>
        </p:blipFill>
        <p:spPr>
          <a:xfrm>
            <a:off x="263816" y="334800"/>
            <a:ext cx="682031" cy="648000"/>
          </a:xfrm>
          <a:prstGeom prst="rect">
            <a:avLst/>
          </a:prstGeom>
        </p:spPr>
      </p:pic>
      <p:sp>
        <p:nvSpPr>
          <p:cNvPr id="4" name="Footer Placeholder 4">
            <a:extLst>
              <a:ext uri="{FF2B5EF4-FFF2-40B4-BE49-F238E27FC236}">
                <a16:creationId xmlns:a16="http://schemas.microsoft.com/office/drawing/2014/main" id="{8938CF6B-AAA5-A040-9E6A-575D26301D55}"/>
              </a:ext>
            </a:extLst>
          </p:cNvPr>
          <p:cNvSpPr>
            <a:spLocks noGrp="1"/>
          </p:cNvSpPr>
          <p:nvPr>
            <p:ph type="ftr" sz="quarter" idx="3"/>
          </p:nvPr>
        </p:nvSpPr>
        <p:spPr>
          <a:xfrm>
            <a:off x="7350369" y="6429964"/>
            <a:ext cx="3176758" cy="309600"/>
          </a:xfrm>
          <a:prstGeom prst="rect">
            <a:avLst/>
          </a:prstGeom>
          <a:ln>
            <a:noFill/>
          </a:ln>
        </p:spPr>
        <p:txBody>
          <a:bodyPr vert="horz" lIns="91440" tIns="45720" rIns="91440" bIns="45720" rtlCol="0" anchor="ctr"/>
          <a:lstStyle>
            <a:lvl1pPr algn="l">
              <a:defRPr sz="1000" b="0" i="0">
                <a:solidFill>
                  <a:schemeClr val="tx1"/>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
        <p:nvSpPr>
          <p:cNvPr id="6" name="TextBox 5">
            <a:extLst>
              <a:ext uri="{FF2B5EF4-FFF2-40B4-BE49-F238E27FC236}">
                <a16:creationId xmlns:a16="http://schemas.microsoft.com/office/drawing/2014/main" id="{89AFE2E4-3750-7F12-6F58-EFABEA1B26B7}"/>
              </a:ext>
            </a:extLst>
          </p:cNvPr>
          <p:cNvSpPr txBox="1"/>
          <p:nvPr userDrawn="1"/>
        </p:nvSpPr>
        <p:spPr>
          <a:xfrm>
            <a:off x="5476126" y="6429964"/>
            <a:ext cx="1286726" cy="276999"/>
          </a:xfrm>
          <a:prstGeom prst="rect">
            <a:avLst/>
          </a:prstGeom>
          <a:noFill/>
          <a:ln>
            <a:noFill/>
          </a:ln>
        </p:spPr>
        <p:txBody>
          <a:bodyPr wrap="square">
            <a:spAutoFit/>
          </a:bodyPr>
          <a:lstStyle/>
          <a:p>
            <a:pPr algn="ctr"/>
            <a:r>
              <a:rPr lang="en-GB" sz="1200" b="0" i="1">
                <a:solidFill>
                  <a:schemeClr val="tx1">
                    <a:lumMod val="50000"/>
                  </a:schemeClr>
                </a:solidFill>
                <a:latin typeface="Garamond" panose="02020404030301010803" pitchFamily="18" charset="0"/>
                <a:ea typeface="Helvetica Neue Thin" panose="020B0403020202020204" pitchFamily="34" charset="0"/>
                <a:cs typeface="Arial" panose="020B0604020202020204" pitchFamily="34" charset="0"/>
              </a:rPr>
              <a:t>May 2024</a:t>
            </a:r>
          </a:p>
        </p:txBody>
      </p:sp>
      <p:sp>
        <p:nvSpPr>
          <p:cNvPr id="8" name="Title 1">
            <a:extLst>
              <a:ext uri="{FF2B5EF4-FFF2-40B4-BE49-F238E27FC236}">
                <a16:creationId xmlns:a16="http://schemas.microsoft.com/office/drawing/2014/main" id="{3F37CBC1-6CFA-E518-6D9B-C298DCD2EBAB}"/>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Tree>
    <p:extLst>
      <p:ext uri="{BB962C8B-B14F-4D97-AF65-F5344CB8AC3E}">
        <p14:creationId xmlns:p14="http://schemas.microsoft.com/office/powerpoint/2010/main" val="6360287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7D93C41F-81C1-1AC0-D0F4-F72507C60C56}"/>
              </a:ext>
            </a:extLst>
          </p:cNvPr>
          <p:cNvSpPr>
            <a:spLocks noGrp="1"/>
          </p:cNvSpPr>
          <p:nvPr>
            <p:ph type="ftr" sz="quarter" idx="11"/>
          </p:nvPr>
        </p:nvSpPr>
        <p:spPr/>
        <p:txBody>
          <a:bodyPr/>
          <a:lstStyle>
            <a:lvl1pPr>
              <a:defRPr/>
            </a:lvl1pPr>
          </a:lstStyle>
          <a:p>
            <a:r>
              <a:rPr lang="en-US"/>
              <a:t>Co &amp; Li supply: stopgap or structural shift</a:t>
            </a:r>
            <a:endParaRPr lang="en-GB"/>
          </a:p>
        </p:txBody>
      </p:sp>
      <p:sp>
        <p:nvSpPr>
          <p:cNvPr id="8" name="Content Placeholder 6">
            <a:extLst>
              <a:ext uri="{FF2B5EF4-FFF2-40B4-BE49-F238E27FC236}">
                <a16:creationId xmlns:a16="http://schemas.microsoft.com/office/drawing/2014/main" id="{24DEDFF0-0973-2840-F3E9-DBEA8FD25CD3}"/>
              </a:ext>
            </a:extLst>
          </p:cNvPr>
          <p:cNvSpPr>
            <a:spLocks noGrp="1"/>
          </p:cNvSpPr>
          <p:nvPr>
            <p:ph sz="quarter" idx="13" hasCustomPrompt="1"/>
          </p:nvPr>
        </p:nvSpPr>
        <p:spPr>
          <a:xfrm>
            <a:off x="1216417" y="3361764"/>
            <a:ext cx="9293087" cy="2097158"/>
          </a:xfrm>
        </p:spPr>
        <p:txBody>
          <a:bodyPr numCol="1" anchor="t">
            <a:noAutofit/>
          </a:bodyPr>
          <a:lstStyle>
            <a:lvl1pPr algn="l">
              <a:defRPr sz="2800"/>
            </a:lvl1pPr>
            <a:lvl2pPr algn="ctr">
              <a:defRPr/>
            </a:lvl2pPr>
            <a:lvl3pPr algn="ctr">
              <a:defRPr/>
            </a:lvl3pPr>
            <a:lvl4pPr algn="ctr">
              <a:defRPr/>
            </a:lvl4pPr>
            <a:lvl5pPr algn="ctr">
              <a:defRPr/>
            </a:lvl5pPr>
          </a:lstStyle>
          <a:p>
            <a:pPr lvl="0"/>
            <a:r>
              <a:rPr lang="en-US"/>
              <a:t>“Add your section teaser text here”</a:t>
            </a:r>
          </a:p>
        </p:txBody>
      </p:sp>
      <p:sp>
        <p:nvSpPr>
          <p:cNvPr id="2" name="Content Placeholder 6">
            <a:extLst>
              <a:ext uri="{FF2B5EF4-FFF2-40B4-BE49-F238E27FC236}">
                <a16:creationId xmlns:a16="http://schemas.microsoft.com/office/drawing/2014/main" id="{025DED29-018A-C121-E3C5-FD06C659750A}"/>
              </a:ext>
            </a:extLst>
          </p:cNvPr>
          <p:cNvSpPr>
            <a:spLocks noGrp="1"/>
          </p:cNvSpPr>
          <p:nvPr>
            <p:ph sz="quarter" idx="14" hasCustomPrompt="1"/>
          </p:nvPr>
        </p:nvSpPr>
        <p:spPr>
          <a:xfrm>
            <a:off x="1216417" y="2064735"/>
            <a:ext cx="9293087" cy="1021968"/>
          </a:xfrm>
        </p:spPr>
        <p:txBody>
          <a:bodyPr numCol="1" anchor="ctr">
            <a:noAutofit/>
          </a:bodyPr>
          <a:lstStyle>
            <a:lvl1pPr algn="l">
              <a:defRPr sz="3200" b="1"/>
            </a:lvl1pPr>
            <a:lvl2pPr algn="ctr">
              <a:defRPr/>
            </a:lvl2pPr>
            <a:lvl3pPr algn="ctr">
              <a:defRPr/>
            </a:lvl3pPr>
            <a:lvl4pPr algn="ctr">
              <a:defRPr/>
            </a:lvl4pPr>
            <a:lvl5pPr algn="ctr">
              <a:defRPr/>
            </a:lvl5pPr>
          </a:lstStyle>
          <a:p>
            <a:pPr lvl="0"/>
            <a:r>
              <a:rPr lang="en-US"/>
              <a:t>“Add your section title here”</a:t>
            </a:r>
          </a:p>
        </p:txBody>
      </p:sp>
      <p:sp>
        <p:nvSpPr>
          <p:cNvPr id="6" name="Content Placeholder 6">
            <a:extLst>
              <a:ext uri="{FF2B5EF4-FFF2-40B4-BE49-F238E27FC236}">
                <a16:creationId xmlns:a16="http://schemas.microsoft.com/office/drawing/2014/main" id="{6404F8F2-7E6A-926E-5CDA-D62B629E400B}"/>
              </a:ext>
            </a:extLst>
          </p:cNvPr>
          <p:cNvSpPr>
            <a:spLocks noGrp="1"/>
          </p:cNvSpPr>
          <p:nvPr>
            <p:ph sz="quarter" idx="15" hasCustomPrompt="1"/>
          </p:nvPr>
        </p:nvSpPr>
        <p:spPr>
          <a:xfrm>
            <a:off x="1216417" y="1393963"/>
            <a:ext cx="9293087" cy="395710"/>
          </a:xfrm>
        </p:spPr>
        <p:txBody>
          <a:bodyPr numCol="1" anchor="ctr">
            <a:noAutofit/>
          </a:bodyPr>
          <a:lstStyle>
            <a:lvl1pPr algn="l">
              <a:defRPr sz="2000" b="1" cap="all" baseline="0">
                <a:solidFill>
                  <a:schemeClr val="accent3">
                    <a:lumMod val="20000"/>
                    <a:lumOff val="80000"/>
                  </a:schemeClr>
                </a:solidFill>
              </a:defRPr>
            </a:lvl1pPr>
            <a:lvl2pPr algn="ctr">
              <a:defRPr/>
            </a:lvl2pPr>
            <a:lvl3pPr algn="ctr">
              <a:defRPr/>
            </a:lvl3pPr>
            <a:lvl4pPr algn="ctr">
              <a:defRPr/>
            </a:lvl4pPr>
            <a:lvl5pPr algn="ctr">
              <a:defRPr/>
            </a:lvl5pPr>
          </a:lstStyle>
          <a:p>
            <a:pPr lvl="0"/>
            <a:r>
              <a:rPr lang="en-US"/>
              <a:t>ADD YOUR SECTION HERE”</a:t>
            </a:r>
          </a:p>
        </p:txBody>
      </p:sp>
      <p:sp>
        <p:nvSpPr>
          <p:cNvPr id="11" name="TextBox 10">
            <a:hlinkClick r:id="" action="ppaction://noaction"/>
            <a:extLst>
              <a:ext uri="{FF2B5EF4-FFF2-40B4-BE49-F238E27FC236}">
                <a16:creationId xmlns:a16="http://schemas.microsoft.com/office/drawing/2014/main" id="{A81E518D-6CFF-E7B8-B6A9-6B3ED1B6312D}"/>
              </a:ext>
            </a:extLst>
          </p:cNvPr>
          <p:cNvSpPr txBox="1"/>
          <p:nvPr userDrawn="1"/>
        </p:nvSpPr>
        <p:spPr bwMode="white">
          <a:xfrm>
            <a:off x="350874" y="6485861"/>
            <a:ext cx="1626782" cy="230832"/>
          </a:xfrm>
          <a:prstGeom prst="rect">
            <a:avLst/>
          </a:prstGeom>
          <a:noFill/>
        </p:spPr>
        <p:txBody>
          <a:bodyPr wrap="square" rtlCol="0">
            <a:spAutoFit/>
          </a:bodyPr>
          <a:lstStyle/>
          <a:p>
            <a:pPr marL="171450" indent="-171450">
              <a:buClr>
                <a:schemeClr val="accent3">
                  <a:lumMod val="20000"/>
                  <a:lumOff val="80000"/>
                </a:schemeClr>
              </a:buClr>
              <a:buFont typeface="Arial" panose="020B0604020202020204" pitchFamily="34" charset="0"/>
              <a:buChar char="◄"/>
            </a:pPr>
            <a:r>
              <a:rPr lang="en-GB" sz="900">
                <a:solidFill>
                  <a:schemeClr val="bg1"/>
                </a:solidFill>
                <a:latin typeface="Arial" panose="020B0604020202020204" pitchFamily="34" charset="0"/>
                <a:cs typeface="Arial" panose="020B0604020202020204" pitchFamily="34" charset="0"/>
              </a:rPr>
              <a:t>Return to Contents</a:t>
            </a:r>
          </a:p>
        </p:txBody>
      </p:sp>
    </p:spTree>
    <p:extLst>
      <p:ext uri="{BB962C8B-B14F-4D97-AF65-F5344CB8AC3E}">
        <p14:creationId xmlns:p14="http://schemas.microsoft.com/office/powerpoint/2010/main" val="42043410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amp; Blank_OUTLOOK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089F6B3-B184-CD35-917E-7E6D3B7A8CDE}"/>
              </a:ext>
            </a:extLst>
          </p:cNvPr>
          <p:cNvSpPr>
            <a:spLocks noGrp="1"/>
          </p:cNvSpPr>
          <p:nvPr>
            <p:ph type="ftr" sz="quarter" idx="11"/>
          </p:nvPr>
        </p:nvSpPr>
        <p:spPr>
          <a:xfrm>
            <a:off x="7350369" y="6429965"/>
            <a:ext cx="3176758" cy="307777"/>
          </a:xfrm>
          <a:prstGeom prst="rect">
            <a:avLst/>
          </a:prstGeom>
        </p:spPr>
        <p:txBody>
          <a:bodyPr/>
          <a:lstStyle/>
          <a:p>
            <a:r>
              <a:rPr lang="en-US"/>
              <a:t>Co &amp; Li supply: stopgap or structural shift</a:t>
            </a:r>
            <a:endParaRPr lang="en-GB"/>
          </a:p>
        </p:txBody>
      </p:sp>
      <p:sp>
        <p:nvSpPr>
          <p:cNvPr id="6" name="Content Placeholder 7">
            <a:extLst>
              <a:ext uri="{FF2B5EF4-FFF2-40B4-BE49-F238E27FC236}">
                <a16:creationId xmlns:a16="http://schemas.microsoft.com/office/drawing/2014/main" id="{4C4CE95A-F585-280E-7C05-6A4582FA0F9C}"/>
              </a:ext>
            </a:extLst>
          </p:cNvPr>
          <p:cNvSpPr>
            <a:spLocks noGrp="1"/>
          </p:cNvSpPr>
          <p:nvPr>
            <p:ph sz="quarter" idx="4294967295"/>
          </p:nvPr>
        </p:nvSpPr>
        <p:spPr>
          <a:xfrm>
            <a:off x="397585" y="1432803"/>
            <a:ext cx="11062225" cy="4712301"/>
          </a:xfrm>
        </p:spPr>
        <p:txBody>
          <a:bodyPr>
            <a:normAutofit/>
          </a:bodyPr>
          <a:lstStyle/>
          <a:p>
            <a:pPr marL="0" lvl="0" indent="0">
              <a:lnSpc>
                <a:spcPct val="120000"/>
              </a:lnSpc>
              <a:buFont typeface="Arial" panose="020B0604020202020204" pitchFamily="34" charset="0"/>
              <a:buNone/>
            </a:pPr>
            <a:r>
              <a:rPr lang="en-US" sz="1600"/>
              <a:t>Click to edit Master text styles</a:t>
            </a:r>
          </a:p>
          <a:p>
            <a:pPr marL="0" lvl="1" indent="0">
              <a:lnSpc>
                <a:spcPct val="120000"/>
              </a:lnSpc>
              <a:buFont typeface="Arial" panose="020B0604020202020204" pitchFamily="34" charset="0"/>
              <a:buNone/>
            </a:pPr>
            <a:r>
              <a:rPr lang="en-US" sz="1600"/>
              <a:t>Second level</a:t>
            </a:r>
          </a:p>
        </p:txBody>
      </p:sp>
      <p:sp>
        <p:nvSpPr>
          <p:cNvPr id="3" name="Title 1">
            <a:extLst>
              <a:ext uri="{FF2B5EF4-FFF2-40B4-BE49-F238E27FC236}">
                <a16:creationId xmlns:a16="http://schemas.microsoft.com/office/drawing/2014/main" id="{983889C3-CEF2-7FEC-83F3-8CE52AD60B5F}"/>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Tree>
    <p:extLst>
      <p:ext uri="{BB962C8B-B14F-4D97-AF65-F5344CB8AC3E}">
        <p14:creationId xmlns:p14="http://schemas.microsoft.com/office/powerpoint/2010/main" val="5576628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x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noFill/>
        </p:spPr>
        <p:txBody>
          <a:bodyPr lIns="0"/>
          <a:lstStyle/>
          <a:p>
            <a:r>
              <a:rPr lang="en-US"/>
              <a:t>Click to edit Master title style</a:t>
            </a:r>
            <a:endParaRPr lang="en-GB"/>
          </a:p>
        </p:txBody>
      </p:sp>
      <p:sp>
        <p:nvSpPr>
          <p:cNvPr id="3" name="Slide Number Placeholder 2">
            <a:extLst>
              <a:ext uri="{FF2B5EF4-FFF2-40B4-BE49-F238E27FC236}">
                <a16:creationId xmlns:a16="http://schemas.microsoft.com/office/drawing/2014/main" id="{F6A6F3C7-49FD-B21D-A71C-794307806CB1}"/>
              </a:ext>
            </a:extLst>
          </p:cNvPr>
          <p:cNvSpPr>
            <a:spLocks noGrp="1"/>
          </p:cNvSpPr>
          <p:nvPr>
            <p:ph type="sldNum" sz="quarter" idx="10"/>
          </p:nvPr>
        </p:nvSpPr>
        <p:spPr>
          <a:noFill/>
        </p:spPr>
        <p:txBody>
          <a:bodyPr/>
          <a:lstStyle>
            <a:lvl1pPr>
              <a:defRPr sz="1200">
                <a:solidFill>
                  <a:schemeClr val="tx1"/>
                </a:solidFill>
              </a:defRPr>
            </a:lvl1pPr>
          </a:lstStyle>
          <a:p>
            <a:endParaRPr lang="en-GB"/>
          </a:p>
        </p:txBody>
      </p:sp>
      <p:sp>
        <p:nvSpPr>
          <p:cNvPr id="4" name="Footer Placeholder 3">
            <a:extLst>
              <a:ext uri="{FF2B5EF4-FFF2-40B4-BE49-F238E27FC236}">
                <a16:creationId xmlns:a16="http://schemas.microsoft.com/office/drawing/2014/main" id="{5E7FC5AF-5497-9574-95D6-1D004FDD63BA}"/>
              </a:ext>
            </a:extLst>
          </p:cNvPr>
          <p:cNvSpPr>
            <a:spLocks noGrp="1"/>
          </p:cNvSpPr>
          <p:nvPr>
            <p:ph type="ftr" sz="quarter" idx="11"/>
          </p:nvPr>
        </p:nvSpPr>
        <p:spPr>
          <a:xfrm>
            <a:off x="7350369" y="6429965"/>
            <a:ext cx="3176758" cy="307777"/>
          </a:xfrm>
          <a:prstGeom prst="rect">
            <a:avLst/>
          </a:prstGeom>
          <a:noFill/>
        </p:spPr>
        <p:txBody>
          <a:bodyPr/>
          <a:lstStyle/>
          <a:p>
            <a:r>
              <a:rPr lang="en-US"/>
              <a:t>Co &amp; Li supply: stopgap or structural shift</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3536" y="972000"/>
            <a:ext cx="3768557" cy="288000"/>
          </a:xfrm>
          <a:noFill/>
        </p:spPr>
        <p:txBody>
          <a:bodyPr lIns="0"/>
          <a:lstStyle>
            <a:lvl1pPr>
              <a:defRPr sz="1300"/>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35266" y="1260000"/>
            <a:ext cx="3744000" cy="4746998"/>
          </a:xfrm>
          <a:noFill/>
        </p:spPr>
        <p:txBody>
          <a:bodyPr/>
          <a:lstStyle>
            <a:lvl1pPr algn="ctr">
              <a:defRPr/>
            </a:lvl1pPr>
            <a:lvl5pPr>
              <a:defRPr/>
            </a:lvl5pPr>
          </a:lstStyle>
          <a:p>
            <a:pPr lvl="0"/>
            <a:r>
              <a:rPr lang="en-US"/>
              <a:t>Insert Char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11365200" cy="215999"/>
          </a:xfrm>
          <a:noFill/>
        </p:spPr>
        <p:txBody>
          <a:bodyPr lIns="0"/>
          <a:lstStyle>
            <a:lvl1pPr>
              <a:defRPr sz="1050">
                <a:solidFill>
                  <a:schemeClr val="tx1"/>
                </a:solidFill>
              </a:defRPr>
            </a:lvl1pPr>
            <a:lvl5pPr>
              <a:defRPr sz="1050">
                <a:solidFill>
                  <a:schemeClr val="tx1"/>
                </a:solidFill>
              </a:defRPr>
            </a:lvl5pPr>
          </a:lstStyle>
          <a:p>
            <a:pPr lvl="0"/>
            <a:r>
              <a:rPr lang="en-US"/>
              <a:t>DATA: CRU</a:t>
            </a:r>
            <a:endParaRPr lang="en-GB"/>
          </a:p>
        </p:txBody>
      </p:sp>
      <p:sp>
        <p:nvSpPr>
          <p:cNvPr id="13" name="Text Placeholder 5">
            <a:extLst>
              <a:ext uri="{FF2B5EF4-FFF2-40B4-BE49-F238E27FC236}">
                <a16:creationId xmlns:a16="http://schemas.microsoft.com/office/drawing/2014/main" id="{0F05E3CC-77D8-00D4-3892-43359D3D440D}"/>
              </a:ext>
            </a:extLst>
          </p:cNvPr>
          <p:cNvSpPr>
            <a:spLocks noGrp="1"/>
          </p:cNvSpPr>
          <p:nvPr>
            <p:ph type="body" sz="quarter" idx="20" hasCustomPrompt="1"/>
          </p:nvPr>
        </p:nvSpPr>
        <p:spPr>
          <a:xfrm>
            <a:off x="4212000" y="972000"/>
            <a:ext cx="3768556" cy="288000"/>
          </a:xfrm>
          <a:noFill/>
        </p:spPr>
        <p:txBody>
          <a:bodyPr lIns="108000"/>
          <a:lstStyle>
            <a:lvl1pPr>
              <a:defRPr sz="1300"/>
            </a:lvl1pPr>
          </a:lstStyle>
          <a:p>
            <a:pPr lvl="0"/>
            <a:r>
              <a:rPr lang="en-US"/>
              <a:t>Chart headline</a:t>
            </a:r>
          </a:p>
        </p:txBody>
      </p:sp>
      <p:sp>
        <p:nvSpPr>
          <p:cNvPr id="14" name="Content Placeholder 7">
            <a:extLst>
              <a:ext uri="{FF2B5EF4-FFF2-40B4-BE49-F238E27FC236}">
                <a16:creationId xmlns:a16="http://schemas.microsoft.com/office/drawing/2014/main" id="{CB8F5FCB-FB91-1CC1-0B13-4616C17F6F8D}"/>
              </a:ext>
            </a:extLst>
          </p:cNvPr>
          <p:cNvSpPr>
            <a:spLocks noGrp="1"/>
          </p:cNvSpPr>
          <p:nvPr>
            <p:ph sz="quarter" idx="21" hasCustomPrompt="1"/>
          </p:nvPr>
        </p:nvSpPr>
        <p:spPr>
          <a:xfrm>
            <a:off x="4233266" y="1260000"/>
            <a:ext cx="3744000" cy="4747000"/>
          </a:xfrm>
          <a:noFill/>
        </p:spPr>
        <p:txBody>
          <a:bodyPr/>
          <a:lstStyle>
            <a:lvl1pPr algn="ctr">
              <a:defRPr/>
            </a:lvl1pPr>
            <a:lvl5pPr>
              <a:defRPr/>
            </a:lvl5pPr>
          </a:lstStyle>
          <a:p>
            <a:pPr lvl="0"/>
            <a:r>
              <a:rPr lang="en-US"/>
              <a:t>Insert Chart</a:t>
            </a:r>
            <a:endParaRPr lang="en-GB"/>
          </a:p>
        </p:txBody>
      </p:sp>
      <p:sp>
        <p:nvSpPr>
          <p:cNvPr id="17" name="Text Placeholder 5">
            <a:extLst>
              <a:ext uri="{FF2B5EF4-FFF2-40B4-BE49-F238E27FC236}">
                <a16:creationId xmlns:a16="http://schemas.microsoft.com/office/drawing/2014/main" id="{82725930-D425-C749-FEC9-D1707FF63950}"/>
              </a:ext>
            </a:extLst>
          </p:cNvPr>
          <p:cNvSpPr>
            <a:spLocks noGrp="1"/>
          </p:cNvSpPr>
          <p:nvPr>
            <p:ph type="body" sz="quarter" idx="24" hasCustomPrompt="1"/>
          </p:nvPr>
        </p:nvSpPr>
        <p:spPr>
          <a:xfrm>
            <a:off x="8010000" y="972000"/>
            <a:ext cx="3767950" cy="288000"/>
          </a:xfrm>
          <a:noFill/>
        </p:spPr>
        <p:txBody>
          <a:bodyPr lIns="108000"/>
          <a:lstStyle>
            <a:lvl1pPr>
              <a:defRPr sz="1300"/>
            </a:lvl1pPr>
          </a:lstStyle>
          <a:p>
            <a:pPr lvl="0"/>
            <a:r>
              <a:rPr lang="en-US"/>
              <a:t>Chart headline</a:t>
            </a:r>
          </a:p>
        </p:txBody>
      </p:sp>
      <p:sp>
        <p:nvSpPr>
          <p:cNvPr id="18" name="Content Placeholder 7">
            <a:extLst>
              <a:ext uri="{FF2B5EF4-FFF2-40B4-BE49-F238E27FC236}">
                <a16:creationId xmlns:a16="http://schemas.microsoft.com/office/drawing/2014/main" id="{ECAB1B5D-539C-8387-B045-BAF0C5698A72}"/>
              </a:ext>
            </a:extLst>
          </p:cNvPr>
          <p:cNvSpPr>
            <a:spLocks noGrp="1"/>
          </p:cNvSpPr>
          <p:nvPr>
            <p:ph sz="quarter" idx="25" hasCustomPrompt="1"/>
          </p:nvPr>
        </p:nvSpPr>
        <p:spPr>
          <a:xfrm>
            <a:off x="8031266" y="1259999"/>
            <a:ext cx="3744000" cy="4746999"/>
          </a:xfrm>
          <a:noFill/>
        </p:spPr>
        <p:txBody>
          <a:bodyPr/>
          <a:lstStyle>
            <a:lvl1pPr algn="ctr">
              <a:defRPr/>
            </a:lvl1pPr>
            <a:lvl5pPr>
              <a:defRPr/>
            </a:lvl5pPr>
          </a:lstStyle>
          <a:p>
            <a:pPr lvl="0"/>
            <a:r>
              <a:rPr lang="en-US"/>
              <a:t>Insert Chart</a:t>
            </a:r>
            <a:endParaRPr lang="en-GB"/>
          </a:p>
        </p:txBody>
      </p:sp>
      <p:sp>
        <p:nvSpPr>
          <p:cNvPr id="5" name="Rectangle 4">
            <a:extLst>
              <a:ext uri="{FF2B5EF4-FFF2-40B4-BE49-F238E27FC236}">
                <a16:creationId xmlns:a16="http://schemas.microsoft.com/office/drawing/2014/main" id="{A8E08B8C-3D67-710F-F333-4E871126F2E1}"/>
              </a:ext>
            </a:extLst>
          </p:cNvPr>
          <p:cNvSpPr/>
          <p:nvPr userDrawn="1"/>
        </p:nvSpPr>
        <p:spPr>
          <a:xfrm>
            <a:off x="10273" y="20548"/>
            <a:ext cx="1335640" cy="19520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688087181"/>
      </p:ext>
    </p:extLst>
  </p:cSld>
  <p:clrMapOvr>
    <a:masterClrMapping/>
  </p:clrMapOvr>
  <p:extLst>
    <p:ext uri="{DCECCB84-F9BA-43D5-87BE-67443E8EF086}">
      <p15:sldGuideLst xmlns:p15="http://schemas.microsoft.com/office/powerpoint/2012/main">
        <p15:guide id="1" pos="551">
          <p15:clr>
            <a:srgbClr val="5ACBF0"/>
          </p15:clr>
        </p15:guide>
        <p15:guide id="2" pos="2479">
          <p15:clr>
            <a:srgbClr val="5ACBF0"/>
          </p15:clr>
        </p15:guide>
        <p15:guide id="3" pos="2955">
          <p15:clr>
            <a:srgbClr val="5ACBF0"/>
          </p15:clr>
        </p15:guide>
        <p15:guide id="4" pos="4861">
          <p15:clr>
            <a:srgbClr val="5ACBF0"/>
          </p15:clr>
        </p15:guide>
        <p15:guide id="5" pos="7242">
          <p15:clr>
            <a:srgbClr val="5ACBF0"/>
          </p15:clr>
        </p15:guide>
        <p15:guide id="6" pos="5337">
          <p15:clr>
            <a:srgbClr val="5ACBF0"/>
          </p15:clr>
        </p15:guide>
        <p15:guide id="7" orient="horz" pos="1094">
          <p15:clr>
            <a:srgbClr val="5ACBF0"/>
          </p15:clr>
        </p15:guide>
        <p15:guide id="8" orient="horz" pos="1933">
          <p15:clr>
            <a:srgbClr val="5ACBF0"/>
          </p15:clr>
        </p15:guide>
        <p15:guide id="9" orient="horz" pos="799">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eam P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581E154-12C6-B32E-8C4E-90F758005B0D}"/>
              </a:ext>
            </a:extLst>
          </p:cNvPr>
          <p:cNvGraphicFramePr>
            <a:graphicFrameLocks noChangeAspect="1"/>
          </p:cNvGraphicFramePr>
          <p:nvPr userDrawn="1">
            <p:custDataLst>
              <p:tags r:id="rId2"/>
            </p:custDataLst>
            <p:extLst>
              <p:ext uri="{D42A27DB-BD31-4B8C-83A1-F6EECF244321}">
                <p14:modId xmlns:p14="http://schemas.microsoft.com/office/powerpoint/2010/main" val="620071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4" imgW="351" imgH="351" progId="TCLayout.ActiveDocument.1">
                  <p:embed/>
                </p:oleObj>
              </mc:Choice>
              <mc:Fallback>
                <p:oleObj name="think-cell Slide" r:id="rId4" imgW="351" imgH="351" progId="TCLayout.ActiveDocument.1">
                  <p:embed/>
                  <p:pic>
                    <p:nvPicPr>
                      <p:cNvPr id="5" name="Object 4" hidden="1">
                        <a:extLst>
                          <a:ext uri="{FF2B5EF4-FFF2-40B4-BE49-F238E27FC236}">
                            <a16:creationId xmlns:a16="http://schemas.microsoft.com/office/drawing/2014/main" id="{E581E154-12C6-B32E-8C4E-90F758005B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Rounded Corners 9">
            <a:extLst>
              <a:ext uri="{FF2B5EF4-FFF2-40B4-BE49-F238E27FC236}">
                <a16:creationId xmlns:a16="http://schemas.microsoft.com/office/drawing/2014/main" id="{FAE624B0-5547-F5EA-E417-94D7B3A020E3}"/>
              </a:ext>
            </a:extLst>
          </p:cNvPr>
          <p:cNvSpPr/>
          <p:nvPr userDrawn="1"/>
        </p:nvSpPr>
        <p:spPr>
          <a:xfrm>
            <a:off x="536240" y="1324723"/>
            <a:ext cx="3200873" cy="1488767"/>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Picture Placeholder 35">
            <a:extLst>
              <a:ext uri="{FF2B5EF4-FFF2-40B4-BE49-F238E27FC236}">
                <a16:creationId xmlns:a16="http://schemas.microsoft.com/office/drawing/2014/main" id="{316DD513-D78D-1467-2CE4-9E3E97407AC1}"/>
              </a:ext>
            </a:extLst>
          </p:cNvPr>
          <p:cNvSpPr>
            <a:spLocks noGrp="1"/>
          </p:cNvSpPr>
          <p:nvPr>
            <p:ph type="pic" sz="quarter" idx="22" hasCustomPrompt="1"/>
          </p:nvPr>
        </p:nvSpPr>
        <p:spPr>
          <a:xfrm>
            <a:off x="646043" y="1405826"/>
            <a:ext cx="617260" cy="631696"/>
          </a:xfrm>
          <a:prstGeom prst="roundRect">
            <a:avLst>
              <a:gd name="adj" fmla="val 0"/>
            </a:avLst>
          </a:prstGeom>
        </p:spPr>
        <p:txBody>
          <a:bodyPr>
            <a:normAutofit/>
          </a:bodyPr>
          <a:lstStyle>
            <a:lvl1pPr algn="ctr">
              <a:defRPr sz="900"/>
            </a:lvl1pPr>
          </a:lstStyle>
          <a:p>
            <a:r>
              <a:rPr lang="en-US"/>
              <a:t>Add photo</a:t>
            </a:r>
            <a:endParaRPr lang="en-GB"/>
          </a:p>
        </p:txBody>
      </p:sp>
      <p:sp>
        <p:nvSpPr>
          <p:cNvPr id="34" name="Content Placeholder 16">
            <a:extLst>
              <a:ext uri="{FF2B5EF4-FFF2-40B4-BE49-F238E27FC236}">
                <a16:creationId xmlns:a16="http://schemas.microsoft.com/office/drawing/2014/main" id="{C68F7F20-C153-6BBF-D4F1-1B5EFF3660D3}"/>
              </a:ext>
            </a:extLst>
          </p:cNvPr>
          <p:cNvSpPr>
            <a:spLocks noGrp="1"/>
          </p:cNvSpPr>
          <p:nvPr>
            <p:ph sz="quarter" idx="36" hasCustomPrompt="1"/>
          </p:nvPr>
        </p:nvSpPr>
        <p:spPr>
          <a:xfrm>
            <a:off x="655982" y="2067340"/>
            <a:ext cx="2971800" cy="694304"/>
          </a:xfrm>
        </p:spPr>
        <p:txBody>
          <a:bodyPr>
            <a:noAutofit/>
          </a:bodyPr>
          <a:lstStyle>
            <a:lvl1pPr>
              <a:lnSpc>
                <a:spcPct val="100000"/>
              </a:lnSpc>
              <a:spcBef>
                <a:spcPts val="0"/>
              </a:spcBef>
              <a:defRPr sz="900" b="0">
                <a:solidFill>
                  <a:schemeClr val="tx1"/>
                </a:solidFill>
              </a:defRPr>
            </a:lvl1pPr>
            <a:lvl2pPr>
              <a:defRPr/>
            </a:lvl2pPr>
          </a:lstStyle>
          <a:p>
            <a:pPr>
              <a:spcAft>
                <a:spcPts val="0"/>
              </a:spcAft>
            </a:pPr>
            <a:r>
              <a:rPr lang="en-GB" sz="1050"/>
              <a:t>Title</a:t>
            </a:r>
          </a:p>
          <a:p>
            <a:pPr>
              <a:spcAft>
                <a:spcPts val="0"/>
              </a:spcAft>
            </a:pPr>
            <a:r>
              <a:rPr lang="en-GB" sz="1050"/>
              <a:t>+44 20 7903 ####</a:t>
            </a:r>
            <a:br>
              <a:rPr lang="en-GB" sz="1050"/>
            </a:br>
            <a:r>
              <a:rPr lang="en-GB" sz="1050">
                <a:hlinkClick r:id="rId6">
                  <a:extLst>
                    <a:ext uri="{A12FA001-AC4F-418D-AE19-62706E023703}">
                      <ahyp:hlinkClr xmlns:ahyp="http://schemas.microsoft.com/office/drawing/2018/hyperlinkcolor" xmlns="" val="tx"/>
                    </a:ext>
                  </a:extLst>
                </a:hlinkClick>
              </a:rPr>
              <a:t>forename.surname@crugroup.com</a:t>
            </a:r>
            <a:endParaRPr lang="en-GB" sz="1050"/>
          </a:p>
        </p:txBody>
      </p:sp>
      <p:sp>
        <p:nvSpPr>
          <p:cNvPr id="35" name="Title 1">
            <a:extLst>
              <a:ext uri="{FF2B5EF4-FFF2-40B4-BE49-F238E27FC236}">
                <a16:creationId xmlns:a16="http://schemas.microsoft.com/office/drawing/2014/main" id="{820141C6-811C-1496-E441-5E0335BD5F2B}"/>
              </a:ext>
            </a:extLst>
          </p:cNvPr>
          <p:cNvSpPr>
            <a:spLocks noGrp="1"/>
          </p:cNvSpPr>
          <p:nvPr>
            <p:ph type="ctrTitle" hasCustomPrompt="1"/>
          </p:nvPr>
        </p:nvSpPr>
        <p:spPr>
          <a:xfrm>
            <a:off x="1076400" y="329400"/>
            <a:ext cx="10386000" cy="648000"/>
          </a:xfrm>
          <a:prstGeom prst="rect">
            <a:avLst/>
          </a:prstGeom>
        </p:spPr>
        <p:txBody>
          <a:bodyPr vert="horz" lIns="36000" anchor="ctr" anchorCtr="0">
            <a:normAutofit/>
          </a:bodyPr>
          <a:lstStyle>
            <a:lvl1pPr algn="l">
              <a:defRPr sz="2400" b="0">
                <a:solidFill>
                  <a:schemeClr val="accent6"/>
                </a:solidFill>
              </a:defRPr>
            </a:lvl1pPr>
          </a:lstStyle>
          <a:p>
            <a:r>
              <a:rPr lang="en-GB"/>
              <a:t>Team</a:t>
            </a:r>
          </a:p>
        </p:txBody>
      </p:sp>
      <p:sp>
        <p:nvSpPr>
          <p:cNvPr id="6" name="Content Placeholder 16">
            <a:extLst>
              <a:ext uri="{FF2B5EF4-FFF2-40B4-BE49-F238E27FC236}">
                <a16:creationId xmlns:a16="http://schemas.microsoft.com/office/drawing/2014/main" id="{A66053A2-6C75-499D-D45E-B5863D4524A5}"/>
              </a:ext>
            </a:extLst>
          </p:cNvPr>
          <p:cNvSpPr>
            <a:spLocks noGrp="1"/>
          </p:cNvSpPr>
          <p:nvPr>
            <p:ph sz="quarter" idx="39" hasCustomPrompt="1"/>
          </p:nvPr>
        </p:nvSpPr>
        <p:spPr>
          <a:xfrm>
            <a:off x="1315278" y="1404731"/>
            <a:ext cx="2302565" cy="624731"/>
          </a:xfrm>
        </p:spPr>
        <p:txBody>
          <a:bodyPr anchor="ctr">
            <a:noAutofit/>
          </a:bodyPr>
          <a:lstStyle>
            <a:lvl1pPr>
              <a:defRPr sz="1600">
                <a:solidFill>
                  <a:schemeClr val="tx1"/>
                </a:solidFill>
              </a:defRPr>
            </a:lvl1pPr>
            <a:lvl2pPr>
              <a:defRPr/>
            </a:lvl2pPr>
          </a:lstStyle>
          <a:p>
            <a:r>
              <a:rPr lang="en-GB" b="1"/>
              <a:t>Forename Surname</a:t>
            </a:r>
          </a:p>
        </p:txBody>
      </p:sp>
      <p:cxnSp>
        <p:nvCxnSpPr>
          <p:cNvPr id="8" name="Straight Connector 7">
            <a:extLst>
              <a:ext uri="{FF2B5EF4-FFF2-40B4-BE49-F238E27FC236}">
                <a16:creationId xmlns:a16="http://schemas.microsoft.com/office/drawing/2014/main" id="{3A80A350-EF92-135F-4301-688D3A079558}"/>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924A05CC-2FEE-853D-7F8F-6500D93D85A2}"/>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3EB130DC-0D21-1E15-E0C6-0E896C32BCFA}"/>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0B6B9D07-B0CA-DB18-CB71-2D01C232952A}"/>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tx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tx1"/>
                </a:solidFill>
                <a:latin typeface="Garamond" panose="02020404030301010803" pitchFamily="18" charset="0"/>
                <a:ea typeface="Helvetica Neue UltraLight" panose="02000206000000020004" pitchFamily="2" charset="0"/>
              </a:rPr>
              <a:t>expert</a:t>
            </a:r>
            <a:r>
              <a:rPr lang="en-GB" sz="1000" b="0" i="0">
                <a:solidFill>
                  <a:schemeClr val="tx1"/>
                </a:solidFill>
                <a:latin typeface="Helvetica Neue UltraLight" panose="02000206000000020004" pitchFamily="2" charset="0"/>
                <a:ea typeface="Helvetica Neue UltraLight" panose="02000206000000020004" pitchFamily="2" charset="0"/>
              </a:rPr>
              <a:t> </a:t>
            </a:r>
            <a:r>
              <a:rPr lang="en-GB" sz="1000" b="0" i="0">
                <a:solidFill>
                  <a:schemeClr val="tx1"/>
                </a:solidFill>
                <a:latin typeface="Arial" panose="020B0604020202020204" pitchFamily="34" charset="0"/>
                <a:ea typeface="Helvetica Neue Thin" panose="020B0403020202020204" pitchFamily="34" charset="0"/>
                <a:cs typeface="Arial" panose="020B0604020202020204" pitchFamily="34" charset="0"/>
              </a:rPr>
              <a:t>intelligence</a:t>
            </a:r>
          </a:p>
        </p:txBody>
      </p:sp>
      <p:cxnSp>
        <p:nvCxnSpPr>
          <p:cNvPr id="14" name="Straight Connector 13">
            <a:extLst>
              <a:ext uri="{FF2B5EF4-FFF2-40B4-BE49-F238E27FC236}">
                <a16:creationId xmlns:a16="http://schemas.microsoft.com/office/drawing/2014/main" id="{AB546CAA-7358-0DA5-002D-443820B17593}"/>
              </a:ext>
            </a:extLst>
          </p:cNvPr>
          <p:cNvCxnSpPr>
            <a:cxnSpLocks/>
          </p:cNvCxnSpPr>
          <p:nvPr userDrawn="1"/>
        </p:nvCxnSpPr>
        <p:spPr>
          <a:xfrm>
            <a:off x="27036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00148053-661C-1878-27DA-50B22FA392D2}"/>
              </a:ext>
            </a:extLst>
          </p:cNvPr>
          <p:cNvCxnSpPr>
            <a:cxnSpLocks/>
          </p:cNvCxnSpPr>
          <p:nvPr userDrawn="1"/>
        </p:nvCxnSpPr>
        <p:spPr>
          <a:xfrm>
            <a:off x="54900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DF0CE452-C855-0C56-0130-7FFC627A2009}"/>
              </a:ext>
            </a:extLst>
          </p:cNvPr>
          <p:cNvCxnSpPr>
            <a:cxnSpLocks/>
          </p:cNvCxnSpPr>
          <p:nvPr userDrawn="1"/>
        </p:nvCxnSpPr>
        <p:spPr>
          <a:xfrm>
            <a:off x="74124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EF81B579-3519-62E8-7C39-8031991E0EBC}"/>
              </a:ext>
            </a:extLst>
          </p:cNvPr>
          <p:cNvSpPr txBox="1"/>
          <p:nvPr userDrawn="1"/>
        </p:nvSpPr>
        <p:spPr>
          <a:xfrm>
            <a:off x="11682742" y="6458310"/>
            <a:ext cx="409669" cy="276999"/>
          </a:xfrm>
          <a:prstGeom prst="rect">
            <a:avLst/>
          </a:prstGeom>
          <a:noFill/>
        </p:spPr>
        <p:txBody>
          <a:bodyPr wrap="square" anchor="ctr">
            <a:spAutoFit/>
          </a:bodyPr>
          <a:lstStyle/>
          <a:p>
            <a:fld id="{562BA7E0-5F5E-EE41-AE8D-BD30ED9E17AD}" type="slidenum">
              <a:rPr lang="en-GB" sz="1200" smtClean="0">
                <a:solidFill>
                  <a:schemeClr val="tx1"/>
                </a:solidFill>
                <a:latin typeface="Arial" panose="020B0604020202020204" pitchFamily="34" charset="0"/>
                <a:cs typeface="Arial" panose="020B0604020202020204" pitchFamily="34" charset="0"/>
              </a:rPr>
              <a:pPr/>
              <a:t>‹#›</a:t>
            </a:fld>
            <a:endParaRPr lang="en-GB" sz="1200">
              <a:solidFill>
                <a:schemeClr val="tx1"/>
              </a:solidFill>
              <a:latin typeface="Arial" panose="020B0604020202020204" pitchFamily="34" charset="0"/>
              <a:cs typeface="Arial" panose="020B0604020202020204" pitchFamily="34" charset="0"/>
            </a:endParaRPr>
          </a:p>
        </p:txBody>
      </p:sp>
      <p:pic>
        <p:nvPicPr>
          <p:cNvPr id="19" name="Picture 18" descr="A logo on a black background&#10;&#10;Description automatically generated">
            <a:extLst>
              <a:ext uri="{FF2B5EF4-FFF2-40B4-BE49-F238E27FC236}">
                <a16:creationId xmlns:a16="http://schemas.microsoft.com/office/drawing/2014/main" id="{C0F5C329-0EEB-0B51-D6DA-616C688658C9}"/>
              </a:ext>
            </a:extLst>
          </p:cNvPr>
          <p:cNvPicPr>
            <a:picLocks noChangeAspect="1"/>
          </p:cNvPicPr>
          <p:nvPr userDrawn="1"/>
        </p:nvPicPr>
        <p:blipFill rotWithShape="1">
          <a:blip r:embed="rId7"/>
          <a:srcRect l="7819" t="33017" r="74362" b="36885"/>
          <a:stretch/>
        </p:blipFill>
        <p:spPr>
          <a:xfrm>
            <a:off x="263816" y="329400"/>
            <a:ext cx="682031" cy="648000"/>
          </a:xfrm>
          <a:prstGeom prst="rect">
            <a:avLst/>
          </a:prstGeom>
        </p:spPr>
      </p:pic>
      <p:sp>
        <p:nvSpPr>
          <p:cNvPr id="3" name="Footer Placeholder 4">
            <a:extLst>
              <a:ext uri="{FF2B5EF4-FFF2-40B4-BE49-F238E27FC236}">
                <a16:creationId xmlns:a16="http://schemas.microsoft.com/office/drawing/2014/main" id="{F9C4B2B8-F44A-8FDA-C1AD-6424EE0D5B90}"/>
              </a:ext>
            </a:extLst>
          </p:cNvPr>
          <p:cNvSpPr>
            <a:spLocks noGrp="1"/>
          </p:cNvSpPr>
          <p:nvPr>
            <p:ph type="ftr" sz="quarter" idx="3"/>
          </p:nvPr>
        </p:nvSpPr>
        <p:spPr>
          <a:xfrm>
            <a:off x="7350369" y="6429964"/>
            <a:ext cx="3176758" cy="309600"/>
          </a:xfrm>
          <a:prstGeom prst="rect">
            <a:avLst/>
          </a:prstGeom>
          <a:ln>
            <a:noFill/>
          </a:ln>
        </p:spPr>
        <p:txBody>
          <a:bodyPr vert="horz" lIns="91440" tIns="45720" rIns="91440" bIns="45720" rtlCol="0" anchor="ctr"/>
          <a:lstStyle>
            <a:lvl1pPr algn="l">
              <a:defRPr sz="1000" b="0" i="0">
                <a:solidFill>
                  <a:schemeClr val="tx1"/>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
        <p:nvSpPr>
          <p:cNvPr id="7" name="TextBox 6">
            <a:extLst>
              <a:ext uri="{FF2B5EF4-FFF2-40B4-BE49-F238E27FC236}">
                <a16:creationId xmlns:a16="http://schemas.microsoft.com/office/drawing/2014/main" id="{61C21230-0854-6359-BC4D-8832DDBED263}"/>
              </a:ext>
            </a:extLst>
          </p:cNvPr>
          <p:cNvSpPr txBox="1"/>
          <p:nvPr userDrawn="1"/>
        </p:nvSpPr>
        <p:spPr>
          <a:xfrm>
            <a:off x="5476126" y="6429964"/>
            <a:ext cx="1286726" cy="276999"/>
          </a:xfrm>
          <a:prstGeom prst="rect">
            <a:avLst/>
          </a:prstGeom>
          <a:noFill/>
          <a:ln>
            <a:noFill/>
          </a:ln>
        </p:spPr>
        <p:txBody>
          <a:bodyPr wrap="square">
            <a:spAutoFit/>
          </a:bodyPr>
          <a:lstStyle/>
          <a:p>
            <a:pPr algn="ctr"/>
            <a:r>
              <a:rPr lang="en-GB" sz="1200" b="0" i="1">
                <a:solidFill>
                  <a:schemeClr val="tx1">
                    <a:lumMod val="50000"/>
                  </a:schemeClr>
                </a:solidFill>
                <a:latin typeface="Garamond" panose="02020404030301010803" pitchFamily="18" charset="0"/>
                <a:ea typeface="Helvetica Neue Thin" panose="020B0403020202020204" pitchFamily="34" charset="0"/>
                <a:cs typeface="Arial" panose="020B0604020202020204" pitchFamily="34" charset="0"/>
              </a:rPr>
              <a:t>May 2024</a:t>
            </a:r>
          </a:p>
        </p:txBody>
      </p:sp>
    </p:spTree>
    <p:extLst>
      <p:ext uri="{BB962C8B-B14F-4D97-AF65-F5344CB8AC3E}">
        <p14:creationId xmlns:p14="http://schemas.microsoft.com/office/powerpoint/2010/main" val="406259659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581E154-12C6-B32E-8C4E-90F758005B0D}"/>
              </a:ext>
            </a:extLst>
          </p:cNvPr>
          <p:cNvGraphicFramePr>
            <a:graphicFrameLocks noChangeAspect="1"/>
          </p:cNvGraphicFramePr>
          <p:nvPr userDrawn="1">
            <p:custDataLst>
              <p:tags r:id="rId2"/>
            </p:custDataLst>
            <p:extLst>
              <p:ext uri="{D42A27DB-BD31-4B8C-83A1-F6EECF244321}">
                <p14:modId xmlns:p14="http://schemas.microsoft.com/office/powerpoint/2010/main" val="620071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4" imgW="351" imgH="351" progId="TCLayout.ActiveDocument.1">
                  <p:embed/>
                </p:oleObj>
              </mc:Choice>
              <mc:Fallback>
                <p:oleObj name="think-cell Slide" r:id="rId4" imgW="351" imgH="351" progId="TCLayout.ActiveDocument.1">
                  <p:embed/>
                  <p:pic>
                    <p:nvPicPr>
                      <p:cNvPr id="5" name="Object 4" hidden="1">
                        <a:extLst>
                          <a:ext uri="{FF2B5EF4-FFF2-40B4-BE49-F238E27FC236}">
                            <a16:creationId xmlns:a16="http://schemas.microsoft.com/office/drawing/2014/main" id="{E581E154-12C6-B32E-8C4E-90F758005B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Picture Placeholder 5">
            <a:extLst>
              <a:ext uri="{FF2B5EF4-FFF2-40B4-BE49-F238E27FC236}">
                <a16:creationId xmlns:a16="http://schemas.microsoft.com/office/drawing/2014/main" id="{36DA5A59-BF83-DE0C-5917-402DFEFB8C38}"/>
              </a:ext>
            </a:extLst>
          </p:cNvPr>
          <p:cNvSpPr>
            <a:spLocks noGrp="1" noChangeAspect="1"/>
          </p:cNvSpPr>
          <p:nvPr>
            <p:ph type="pic" sz="quarter" idx="18" hasCustomPrompt="1"/>
          </p:nvPr>
        </p:nvSpPr>
        <p:spPr>
          <a:xfrm>
            <a:off x="422367" y="1549106"/>
            <a:ext cx="2738486" cy="1224000"/>
          </a:xfrm>
        </p:spPr>
        <p:txBody>
          <a:bodyPr/>
          <a:lstStyle>
            <a:lvl1pPr algn="ctr">
              <a:defRPr b="0"/>
            </a:lvl1pPr>
          </a:lstStyle>
          <a:p>
            <a:r>
              <a:rPr lang="en-US"/>
              <a:t>Drag n drop section slide</a:t>
            </a:r>
            <a:endParaRPr lang="en-GB"/>
          </a:p>
        </p:txBody>
      </p:sp>
      <p:sp>
        <p:nvSpPr>
          <p:cNvPr id="7" name="Picture Placeholder 7">
            <a:extLst>
              <a:ext uri="{FF2B5EF4-FFF2-40B4-BE49-F238E27FC236}">
                <a16:creationId xmlns:a16="http://schemas.microsoft.com/office/drawing/2014/main" id="{50662AE9-18DD-C207-B02D-8ABAE44B1083}"/>
              </a:ext>
            </a:extLst>
          </p:cNvPr>
          <p:cNvSpPr>
            <a:spLocks noGrp="1" noChangeAspect="1"/>
          </p:cNvSpPr>
          <p:nvPr>
            <p:ph type="pic" sz="quarter" idx="19" hasCustomPrompt="1"/>
          </p:nvPr>
        </p:nvSpPr>
        <p:spPr>
          <a:xfrm>
            <a:off x="3254114" y="1549106"/>
            <a:ext cx="2839907" cy="1224000"/>
          </a:xfrm>
        </p:spPr>
        <p:txBody>
          <a:bodyPr/>
          <a:lstStyle>
            <a:lvl1pPr algn="ctr">
              <a:defRPr b="0"/>
            </a:lvl1pPr>
          </a:lstStyle>
          <a:p>
            <a:r>
              <a:rPr lang="en-US"/>
              <a:t>Drag n drop section slide</a:t>
            </a:r>
            <a:endParaRPr lang="en-GB"/>
          </a:p>
        </p:txBody>
      </p:sp>
      <p:sp>
        <p:nvSpPr>
          <p:cNvPr id="8" name="Picture Placeholder 7">
            <a:extLst>
              <a:ext uri="{FF2B5EF4-FFF2-40B4-BE49-F238E27FC236}">
                <a16:creationId xmlns:a16="http://schemas.microsoft.com/office/drawing/2014/main" id="{8C715289-9D6C-7FA2-0770-999CDEF06C80}"/>
              </a:ext>
            </a:extLst>
          </p:cNvPr>
          <p:cNvSpPr>
            <a:spLocks noGrp="1" noChangeAspect="1"/>
          </p:cNvSpPr>
          <p:nvPr>
            <p:ph type="pic" sz="quarter" idx="20" hasCustomPrompt="1"/>
          </p:nvPr>
        </p:nvSpPr>
        <p:spPr>
          <a:xfrm>
            <a:off x="6184145" y="1549106"/>
            <a:ext cx="2839907" cy="1224000"/>
          </a:xfrm>
        </p:spPr>
        <p:txBody>
          <a:bodyPr/>
          <a:lstStyle>
            <a:lvl1pPr algn="ctr">
              <a:defRPr b="0"/>
            </a:lvl1pPr>
          </a:lstStyle>
          <a:p>
            <a:r>
              <a:rPr lang="en-US"/>
              <a:t>Drag n drop section slide</a:t>
            </a:r>
            <a:endParaRPr lang="en-GB"/>
          </a:p>
        </p:txBody>
      </p:sp>
      <p:sp>
        <p:nvSpPr>
          <p:cNvPr id="9" name="Picture Placeholder 7">
            <a:extLst>
              <a:ext uri="{FF2B5EF4-FFF2-40B4-BE49-F238E27FC236}">
                <a16:creationId xmlns:a16="http://schemas.microsoft.com/office/drawing/2014/main" id="{81D0CD92-68B7-E0B2-74A8-FBFD382598FA}"/>
              </a:ext>
            </a:extLst>
          </p:cNvPr>
          <p:cNvSpPr>
            <a:spLocks noGrp="1" noChangeAspect="1"/>
          </p:cNvSpPr>
          <p:nvPr>
            <p:ph type="pic" sz="quarter" idx="21" hasCustomPrompt="1"/>
          </p:nvPr>
        </p:nvSpPr>
        <p:spPr>
          <a:xfrm>
            <a:off x="9114177" y="1549106"/>
            <a:ext cx="2839907" cy="1224000"/>
          </a:xfrm>
        </p:spPr>
        <p:txBody>
          <a:bodyPr/>
          <a:lstStyle>
            <a:lvl1pPr algn="ctr">
              <a:defRPr b="0"/>
            </a:lvl1pPr>
          </a:lstStyle>
          <a:p>
            <a:r>
              <a:rPr lang="en-US"/>
              <a:t>Drag n drop section slide</a:t>
            </a:r>
            <a:endParaRPr lang="en-GB"/>
          </a:p>
        </p:txBody>
      </p:sp>
      <p:pic>
        <p:nvPicPr>
          <p:cNvPr id="3" name="Picture 2">
            <a:extLst>
              <a:ext uri="{FF2B5EF4-FFF2-40B4-BE49-F238E27FC236}">
                <a16:creationId xmlns:a16="http://schemas.microsoft.com/office/drawing/2014/main" id="{1E9453E1-634C-4A45-A6C2-46A9F05D3C6D}"/>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22368" y="6210000"/>
            <a:ext cx="606504" cy="576000"/>
          </a:xfrm>
          <a:prstGeom prst="rect">
            <a:avLst/>
          </a:prstGeom>
        </p:spPr>
      </p:pic>
      <p:sp>
        <p:nvSpPr>
          <p:cNvPr id="16" name="Title 1">
            <a:extLst>
              <a:ext uri="{FF2B5EF4-FFF2-40B4-BE49-F238E27FC236}">
                <a16:creationId xmlns:a16="http://schemas.microsoft.com/office/drawing/2014/main" id="{F687563E-6141-7CD2-D650-D6DAC2DBC9D8}"/>
              </a:ext>
            </a:extLst>
          </p:cNvPr>
          <p:cNvSpPr>
            <a:spLocks noGrp="1"/>
          </p:cNvSpPr>
          <p:nvPr>
            <p:ph type="ctrTitle" hasCustomPrompt="1"/>
          </p:nvPr>
        </p:nvSpPr>
        <p:spPr>
          <a:xfrm>
            <a:off x="1076400" y="329400"/>
            <a:ext cx="10386000" cy="648000"/>
          </a:xfrm>
          <a:prstGeom prst="rect">
            <a:avLst/>
          </a:prstGeom>
        </p:spPr>
        <p:txBody>
          <a:bodyPr vert="horz" lIns="36000" anchor="ctr" anchorCtr="0">
            <a:normAutofit/>
          </a:bodyPr>
          <a:lstStyle>
            <a:lvl1pPr algn="l">
              <a:defRPr sz="2400" b="0">
                <a:solidFill>
                  <a:schemeClr val="accent6"/>
                </a:solidFill>
              </a:defRPr>
            </a:lvl1pPr>
          </a:lstStyle>
          <a:p>
            <a:r>
              <a:rPr lang="en-GB"/>
              <a:t>Contents</a:t>
            </a:r>
          </a:p>
        </p:txBody>
      </p:sp>
      <p:cxnSp>
        <p:nvCxnSpPr>
          <p:cNvPr id="18" name="Straight Connector 17">
            <a:extLst>
              <a:ext uri="{FF2B5EF4-FFF2-40B4-BE49-F238E27FC236}">
                <a16:creationId xmlns:a16="http://schemas.microsoft.com/office/drawing/2014/main" id="{7F719F48-EE31-3F7E-3424-7AC85470B969}"/>
              </a:ext>
            </a:extLst>
          </p:cNvPr>
          <p:cNvCxnSpPr>
            <a:cxnSpLocks/>
          </p:cNvCxnSpPr>
          <p:nvPr userDrawn="1"/>
        </p:nvCxnSpPr>
        <p:spPr>
          <a:xfrm>
            <a:off x="2702950"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4BBE08DB-2638-CD5E-4BBC-BB24AEFF1FF9}"/>
              </a:ext>
            </a:extLst>
          </p:cNvPr>
          <p:cNvCxnSpPr>
            <a:cxnSpLocks/>
          </p:cNvCxnSpPr>
          <p:nvPr userDrawn="1"/>
        </p:nvCxnSpPr>
        <p:spPr>
          <a:xfrm>
            <a:off x="5488473"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5024E3DE-3AE9-ED05-E144-EB3C0635DA95}"/>
              </a:ext>
            </a:extLst>
          </p:cNvPr>
          <p:cNvCxnSpPr>
            <a:cxnSpLocks/>
          </p:cNvCxnSpPr>
          <p:nvPr userDrawn="1"/>
        </p:nvCxnSpPr>
        <p:spPr>
          <a:xfrm>
            <a:off x="7411982"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6BA4DEDC-C5AB-F3EA-4ABF-927FBEDCAB98}"/>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tx1">
                    <a:lumMod val="50000"/>
                  </a:schemeClr>
                </a:solidFill>
                <a:latin typeface="Garamond" panose="02020404030301010803" pitchFamily="18" charset="0"/>
                <a:ea typeface="Helvetica Neue UltraLight" panose="02000206000000020004" pitchFamily="2" charset="0"/>
              </a:rPr>
              <a:t>expert</a:t>
            </a:r>
            <a:r>
              <a:rPr lang="en-GB" sz="1000" b="0" i="0">
                <a:solidFill>
                  <a:schemeClr val="tx1">
                    <a:lumMod val="50000"/>
                  </a:schemeClr>
                </a:solidFill>
                <a:latin typeface="Helvetica Neue UltraLight" panose="02000206000000020004" pitchFamily="2" charset="0"/>
                <a:ea typeface="Helvetica Neue UltraLight" panose="02000206000000020004" pitchFamily="2" charset="0"/>
              </a:rPr>
              <a:t> </a:t>
            </a:r>
            <a:r>
              <a:rPr lang="en-GB"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2" name="Picture Placeholder 5">
            <a:extLst>
              <a:ext uri="{FF2B5EF4-FFF2-40B4-BE49-F238E27FC236}">
                <a16:creationId xmlns:a16="http://schemas.microsoft.com/office/drawing/2014/main" id="{E31E5DA5-564E-9086-9805-71AE5E0941E0}"/>
              </a:ext>
            </a:extLst>
          </p:cNvPr>
          <p:cNvSpPr>
            <a:spLocks noGrp="1" noChangeAspect="1"/>
          </p:cNvSpPr>
          <p:nvPr>
            <p:ph type="pic" sz="quarter" idx="22" hasCustomPrompt="1"/>
          </p:nvPr>
        </p:nvSpPr>
        <p:spPr>
          <a:xfrm>
            <a:off x="415742" y="2900276"/>
            <a:ext cx="2738486" cy="1224000"/>
          </a:xfrm>
        </p:spPr>
        <p:txBody>
          <a:bodyPr/>
          <a:lstStyle>
            <a:lvl1pPr algn="ctr">
              <a:defRPr b="0"/>
            </a:lvl1pPr>
          </a:lstStyle>
          <a:p>
            <a:r>
              <a:rPr lang="en-US"/>
              <a:t>Drag n drop section slide</a:t>
            </a:r>
            <a:endParaRPr lang="en-GB"/>
          </a:p>
        </p:txBody>
      </p:sp>
      <p:sp>
        <p:nvSpPr>
          <p:cNvPr id="17" name="Picture Placeholder 7">
            <a:extLst>
              <a:ext uri="{FF2B5EF4-FFF2-40B4-BE49-F238E27FC236}">
                <a16:creationId xmlns:a16="http://schemas.microsoft.com/office/drawing/2014/main" id="{9C8C18EE-D4A7-5652-5C56-CA3376D5792A}"/>
              </a:ext>
            </a:extLst>
          </p:cNvPr>
          <p:cNvSpPr>
            <a:spLocks noGrp="1" noChangeAspect="1"/>
          </p:cNvSpPr>
          <p:nvPr>
            <p:ph type="pic" sz="quarter" idx="23" hasCustomPrompt="1"/>
          </p:nvPr>
        </p:nvSpPr>
        <p:spPr>
          <a:xfrm>
            <a:off x="3247489" y="2900276"/>
            <a:ext cx="2839907" cy="1224000"/>
          </a:xfrm>
        </p:spPr>
        <p:txBody>
          <a:bodyPr/>
          <a:lstStyle>
            <a:lvl1pPr algn="ctr">
              <a:defRPr b="0"/>
            </a:lvl1pPr>
          </a:lstStyle>
          <a:p>
            <a:r>
              <a:rPr lang="en-US"/>
              <a:t>Drag n drop section slide</a:t>
            </a:r>
            <a:endParaRPr lang="en-GB"/>
          </a:p>
        </p:txBody>
      </p:sp>
      <p:sp>
        <p:nvSpPr>
          <p:cNvPr id="22" name="Picture Placeholder 7">
            <a:extLst>
              <a:ext uri="{FF2B5EF4-FFF2-40B4-BE49-F238E27FC236}">
                <a16:creationId xmlns:a16="http://schemas.microsoft.com/office/drawing/2014/main" id="{C611C755-0FB9-25C3-F957-E7E7490CC8F1}"/>
              </a:ext>
            </a:extLst>
          </p:cNvPr>
          <p:cNvSpPr>
            <a:spLocks noGrp="1" noChangeAspect="1"/>
          </p:cNvSpPr>
          <p:nvPr>
            <p:ph type="pic" sz="quarter" idx="24" hasCustomPrompt="1"/>
          </p:nvPr>
        </p:nvSpPr>
        <p:spPr>
          <a:xfrm>
            <a:off x="6177520" y="2900276"/>
            <a:ext cx="2839907" cy="1224000"/>
          </a:xfrm>
        </p:spPr>
        <p:txBody>
          <a:bodyPr/>
          <a:lstStyle>
            <a:lvl1pPr algn="ctr">
              <a:defRPr b="0"/>
            </a:lvl1pPr>
          </a:lstStyle>
          <a:p>
            <a:r>
              <a:rPr lang="en-US"/>
              <a:t>Drag n drop section slide</a:t>
            </a:r>
            <a:endParaRPr lang="en-GB"/>
          </a:p>
        </p:txBody>
      </p:sp>
      <p:sp>
        <p:nvSpPr>
          <p:cNvPr id="23" name="Picture Placeholder 7">
            <a:extLst>
              <a:ext uri="{FF2B5EF4-FFF2-40B4-BE49-F238E27FC236}">
                <a16:creationId xmlns:a16="http://schemas.microsoft.com/office/drawing/2014/main" id="{623E7F9A-E663-E8EA-3D49-8CA69F84BEF7}"/>
              </a:ext>
            </a:extLst>
          </p:cNvPr>
          <p:cNvSpPr>
            <a:spLocks noGrp="1" noChangeAspect="1"/>
          </p:cNvSpPr>
          <p:nvPr>
            <p:ph type="pic" sz="quarter" idx="25" hasCustomPrompt="1"/>
          </p:nvPr>
        </p:nvSpPr>
        <p:spPr>
          <a:xfrm>
            <a:off x="9107552" y="2900276"/>
            <a:ext cx="2839907" cy="1224000"/>
          </a:xfrm>
        </p:spPr>
        <p:txBody>
          <a:bodyPr/>
          <a:lstStyle>
            <a:lvl1pPr algn="ctr">
              <a:defRPr b="0"/>
            </a:lvl1pPr>
          </a:lstStyle>
          <a:p>
            <a:r>
              <a:rPr lang="en-US"/>
              <a:t>Drag n drop section slide</a:t>
            </a:r>
            <a:endParaRPr lang="en-GB"/>
          </a:p>
        </p:txBody>
      </p:sp>
      <p:sp>
        <p:nvSpPr>
          <p:cNvPr id="24" name="Picture Placeholder 5">
            <a:extLst>
              <a:ext uri="{FF2B5EF4-FFF2-40B4-BE49-F238E27FC236}">
                <a16:creationId xmlns:a16="http://schemas.microsoft.com/office/drawing/2014/main" id="{1087F912-FFF1-F6EE-0BDB-72B934075D45}"/>
              </a:ext>
            </a:extLst>
          </p:cNvPr>
          <p:cNvSpPr>
            <a:spLocks noGrp="1" noChangeAspect="1"/>
          </p:cNvSpPr>
          <p:nvPr>
            <p:ph type="pic" sz="quarter" idx="26" hasCustomPrompt="1"/>
          </p:nvPr>
        </p:nvSpPr>
        <p:spPr>
          <a:xfrm>
            <a:off x="448873" y="4242328"/>
            <a:ext cx="2738486" cy="1224000"/>
          </a:xfrm>
        </p:spPr>
        <p:txBody>
          <a:bodyPr/>
          <a:lstStyle>
            <a:lvl1pPr algn="ctr">
              <a:defRPr b="0"/>
            </a:lvl1pPr>
          </a:lstStyle>
          <a:p>
            <a:r>
              <a:rPr lang="en-US"/>
              <a:t>Drag n drop section slide</a:t>
            </a:r>
            <a:endParaRPr lang="en-GB"/>
          </a:p>
        </p:txBody>
      </p:sp>
      <p:sp>
        <p:nvSpPr>
          <p:cNvPr id="25" name="Picture Placeholder 7">
            <a:extLst>
              <a:ext uri="{FF2B5EF4-FFF2-40B4-BE49-F238E27FC236}">
                <a16:creationId xmlns:a16="http://schemas.microsoft.com/office/drawing/2014/main" id="{7AEB131A-D0CA-47B3-6D4D-B1ADEF9171B2}"/>
              </a:ext>
            </a:extLst>
          </p:cNvPr>
          <p:cNvSpPr>
            <a:spLocks noGrp="1" noChangeAspect="1"/>
          </p:cNvSpPr>
          <p:nvPr>
            <p:ph type="pic" sz="quarter" idx="27" hasCustomPrompt="1"/>
          </p:nvPr>
        </p:nvSpPr>
        <p:spPr>
          <a:xfrm>
            <a:off x="3280620" y="4242328"/>
            <a:ext cx="2839907" cy="1224000"/>
          </a:xfrm>
        </p:spPr>
        <p:txBody>
          <a:bodyPr/>
          <a:lstStyle>
            <a:lvl1pPr algn="ctr">
              <a:defRPr b="0"/>
            </a:lvl1pPr>
          </a:lstStyle>
          <a:p>
            <a:r>
              <a:rPr lang="en-US"/>
              <a:t>Drag n drop section slide</a:t>
            </a:r>
            <a:endParaRPr lang="en-GB"/>
          </a:p>
        </p:txBody>
      </p:sp>
      <p:sp>
        <p:nvSpPr>
          <p:cNvPr id="26" name="Picture Placeholder 7">
            <a:extLst>
              <a:ext uri="{FF2B5EF4-FFF2-40B4-BE49-F238E27FC236}">
                <a16:creationId xmlns:a16="http://schemas.microsoft.com/office/drawing/2014/main" id="{A308A6DB-E97A-0D6C-D897-21551C0ECDEE}"/>
              </a:ext>
            </a:extLst>
          </p:cNvPr>
          <p:cNvSpPr>
            <a:spLocks noGrp="1" noChangeAspect="1"/>
          </p:cNvSpPr>
          <p:nvPr>
            <p:ph type="pic" sz="quarter" idx="28" hasCustomPrompt="1"/>
          </p:nvPr>
        </p:nvSpPr>
        <p:spPr>
          <a:xfrm>
            <a:off x="6210651" y="4242328"/>
            <a:ext cx="2839907" cy="1224000"/>
          </a:xfrm>
        </p:spPr>
        <p:txBody>
          <a:bodyPr/>
          <a:lstStyle>
            <a:lvl1pPr algn="ctr">
              <a:defRPr b="0"/>
            </a:lvl1pPr>
          </a:lstStyle>
          <a:p>
            <a:r>
              <a:rPr lang="en-US"/>
              <a:t>Drag n drop section slide</a:t>
            </a:r>
            <a:endParaRPr lang="en-GB"/>
          </a:p>
        </p:txBody>
      </p:sp>
      <p:sp>
        <p:nvSpPr>
          <p:cNvPr id="27" name="Picture Placeholder 7">
            <a:extLst>
              <a:ext uri="{FF2B5EF4-FFF2-40B4-BE49-F238E27FC236}">
                <a16:creationId xmlns:a16="http://schemas.microsoft.com/office/drawing/2014/main" id="{CD9BE19E-1E1D-7AA2-A17F-612AFE31BB53}"/>
              </a:ext>
            </a:extLst>
          </p:cNvPr>
          <p:cNvSpPr>
            <a:spLocks noGrp="1" noChangeAspect="1"/>
          </p:cNvSpPr>
          <p:nvPr>
            <p:ph type="pic" sz="quarter" idx="29" hasCustomPrompt="1"/>
          </p:nvPr>
        </p:nvSpPr>
        <p:spPr>
          <a:xfrm>
            <a:off x="9140683" y="4242328"/>
            <a:ext cx="2839907" cy="1224000"/>
          </a:xfrm>
        </p:spPr>
        <p:txBody>
          <a:bodyPr/>
          <a:lstStyle>
            <a:lvl1pPr algn="ctr">
              <a:defRPr b="0"/>
            </a:lvl1pPr>
          </a:lstStyle>
          <a:p>
            <a:r>
              <a:rPr lang="en-US"/>
              <a:t>Drag n drop section slide</a:t>
            </a:r>
            <a:endParaRPr lang="en-GB"/>
          </a:p>
        </p:txBody>
      </p:sp>
      <p:sp>
        <p:nvSpPr>
          <p:cNvPr id="10" name="TextBox 9">
            <a:extLst>
              <a:ext uri="{FF2B5EF4-FFF2-40B4-BE49-F238E27FC236}">
                <a16:creationId xmlns:a16="http://schemas.microsoft.com/office/drawing/2014/main" id="{F456025F-3F39-3336-9925-3C93CDDB158E}"/>
              </a:ext>
            </a:extLst>
          </p:cNvPr>
          <p:cNvSpPr txBox="1"/>
          <p:nvPr userDrawn="1"/>
        </p:nvSpPr>
        <p:spPr>
          <a:xfrm>
            <a:off x="11682742" y="6458310"/>
            <a:ext cx="409669" cy="276999"/>
          </a:xfrm>
          <a:prstGeom prst="rect">
            <a:avLst/>
          </a:prstGeom>
          <a:noFill/>
        </p:spPr>
        <p:txBody>
          <a:bodyPr wrap="square" anchor="ctr">
            <a:spAutoFit/>
          </a:bodyPr>
          <a:lstStyle/>
          <a:p>
            <a:fld id="{562BA7E0-5F5E-EE41-AE8D-BD30ED9E17AD}" type="slidenum">
              <a:rPr lang="en-GB" sz="1200" smtClean="0">
                <a:solidFill>
                  <a:schemeClr val="tx1"/>
                </a:solidFill>
                <a:latin typeface="Arial" panose="020B0604020202020204" pitchFamily="34" charset="0"/>
                <a:cs typeface="Arial" panose="020B0604020202020204" pitchFamily="34" charset="0"/>
              </a:rPr>
              <a:pPr/>
              <a:t>‹#›</a:t>
            </a:fld>
            <a:endParaRPr lang="en-GB" sz="1200">
              <a:solidFill>
                <a:schemeClr val="tx1"/>
              </a:solidFill>
              <a:latin typeface="Arial" panose="020B0604020202020204" pitchFamily="34" charset="0"/>
              <a:cs typeface="Arial" panose="020B0604020202020204" pitchFamily="34" charset="0"/>
            </a:endParaRPr>
          </a:p>
        </p:txBody>
      </p:sp>
      <p:pic>
        <p:nvPicPr>
          <p:cNvPr id="12" name="Picture 11" descr="A logo on a black background&#10;&#10;Description automatically generated">
            <a:extLst>
              <a:ext uri="{FF2B5EF4-FFF2-40B4-BE49-F238E27FC236}">
                <a16:creationId xmlns:a16="http://schemas.microsoft.com/office/drawing/2014/main" id="{4284300E-D272-2A48-0ADB-580BE8448E2D}"/>
              </a:ext>
            </a:extLst>
          </p:cNvPr>
          <p:cNvPicPr>
            <a:picLocks noChangeAspect="1"/>
          </p:cNvPicPr>
          <p:nvPr userDrawn="1"/>
        </p:nvPicPr>
        <p:blipFill rotWithShape="1">
          <a:blip r:embed="rId7"/>
          <a:srcRect l="7819" t="33017" r="74362" b="36885"/>
          <a:stretch/>
        </p:blipFill>
        <p:spPr>
          <a:xfrm>
            <a:off x="263816" y="329400"/>
            <a:ext cx="682031" cy="648000"/>
          </a:xfrm>
          <a:prstGeom prst="rect">
            <a:avLst/>
          </a:prstGeom>
        </p:spPr>
      </p:pic>
      <p:sp>
        <p:nvSpPr>
          <p:cNvPr id="11" name="Footer Placeholder 4">
            <a:extLst>
              <a:ext uri="{FF2B5EF4-FFF2-40B4-BE49-F238E27FC236}">
                <a16:creationId xmlns:a16="http://schemas.microsoft.com/office/drawing/2014/main" id="{BAD39FEC-C47C-3952-05B1-B2EC1C7825DF}"/>
              </a:ext>
            </a:extLst>
          </p:cNvPr>
          <p:cNvSpPr>
            <a:spLocks noGrp="1"/>
          </p:cNvSpPr>
          <p:nvPr>
            <p:ph type="ftr" sz="quarter" idx="3"/>
          </p:nvPr>
        </p:nvSpPr>
        <p:spPr>
          <a:xfrm>
            <a:off x="7350369" y="6429964"/>
            <a:ext cx="3176758" cy="309600"/>
          </a:xfrm>
          <a:prstGeom prst="rect">
            <a:avLst/>
          </a:prstGeom>
          <a:ln>
            <a:noFill/>
          </a:ln>
        </p:spPr>
        <p:txBody>
          <a:bodyPr vert="horz" lIns="91440" tIns="45720" rIns="91440" bIns="45720" rtlCol="0" anchor="ctr"/>
          <a:lstStyle>
            <a:lvl1pPr algn="l">
              <a:defRPr sz="1000" b="0" i="0">
                <a:solidFill>
                  <a:schemeClr val="tx1"/>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
        <p:nvSpPr>
          <p:cNvPr id="13" name="TextBox 12">
            <a:extLst>
              <a:ext uri="{FF2B5EF4-FFF2-40B4-BE49-F238E27FC236}">
                <a16:creationId xmlns:a16="http://schemas.microsoft.com/office/drawing/2014/main" id="{4AA0C791-0C91-D34F-A875-09C82EEA0F22}"/>
              </a:ext>
            </a:extLst>
          </p:cNvPr>
          <p:cNvSpPr txBox="1"/>
          <p:nvPr userDrawn="1"/>
        </p:nvSpPr>
        <p:spPr>
          <a:xfrm>
            <a:off x="5476126" y="6429964"/>
            <a:ext cx="1286726" cy="276999"/>
          </a:xfrm>
          <a:prstGeom prst="rect">
            <a:avLst/>
          </a:prstGeom>
          <a:noFill/>
          <a:ln>
            <a:noFill/>
          </a:ln>
        </p:spPr>
        <p:txBody>
          <a:bodyPr wrap="square">
            <a:spAutoFit/>
          </a:bodyPr>
          <a:lstStyle/>
          <a:p>
            <a:pPr algn="ctr"/>
            <a:r>
              <a:rPr lang="en-GB" sz="1200" b="0" i="1">
                <a:solidFill>
                  <a:schemeClr val="tx1">
                    <a:lumMod val="50000"/>
                  </a:schemeClr>
                </a:solidFill>
                <a:latin typeface="Garamond" panose="02020404030301010803" pitchFamily="18" charset="0"/>
                <a:ea typeface="Helvetica Neue Thin" panose="020B0403020202020204" pitchFamily="34" charset="0"/>
                <a:cs typeface="Arial" panose="020B0604020202020204" pitchFamily="34" charset="0"/>
              </a:rPr>
              <a:t>May 2024</a:t>
            </a:r>
          </a:p>
        </p:txBody>
      </p:sp>
    </p:spTree>
    <p:extLst>
      <p:ext uri="{BB962C8B-B14F-4D97-AF65-F5344CB8AC3E}">
        <p14:creationId xmlns:p14="http://schemas.microsoft.com/office/powerpoint/2010/main" val="45771034"/>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 Content + Text Summ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399" y="324000"/>
            <a:ext cx="10714547"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2750" y="1259992"/>
            <a:ext cx="5683250" cy="288000"/>
          </a:xfrm>
          <a:noFill/>
        </p:spPr>
        <p:txBody>
          <a:bodyPr lIns="0">
            <a:noAutofit/>
          </a:bodyPr>
          <a:lstStyle>
            <a:lvl1pPr>
              <a:defRPr sz="1300">
                <a:solidFill>
                  <a:schemeClr val="accent6"/>
                </a:solidFill>
              </a:defRPr>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2750" y="1624192"/>
            <a:ext cx="5683250" cy="4284000"/>
          </a:xfrm>
          <a:noFill/>
        </p:spPr>
        <p:txBody>
          <a:bodyPr/>
          <a:lstStyle>
            <a:lvl1pPr algn="ctr">
              <a:defRPr b="0"/>
            </a:lvl1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p:nvPr>
        </p:nvSpPr>
        <p:spPr>
          <a:xfrm>
            <a:off x="6223000" y="1258504"/>
            <a:ext cx="5555461" cy="4927600"/>
          </a:xfrm>
          <a:noFill/>
        </p:spPr>
        <p:txBody>
          <a:bodyPr lIns="252000" tIns="252000" rIns="252000" bIns="252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5683250" cy="215999"/>
          </a:xfrm>
          <a:noFill/>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16" name="Footer Placeholder 4">
            <a:extLst>
              <a:ext uri="{FF2B5EF4-FFF2-40B4-BE49-F238E27FC236}">
                <a16:creationId xmlns:a16="http://schemas.microsoft.com/office/drawing/2014/main" id="{7BA15D20-E912-9A43-DF16-3BEC7804E12F}"/>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Tree>
    <p:extLst>
      <p:ext uri="{BB962C8B-B14F-4D97-AF65-F5344CB8AC3E}">
        <p14:creationId xmlns:p14="http://schemas.microsoft.com/office/powerpoint/2010/main" val="1275975461"/>
      </p:ext>
    </p:extLst>
  </p:cSld>
  <p:clrMapOvr>
    <a:masterClrMapping/>
  </p:clrMapOvr>
  <p:extLst>
    <p:ext uri="{DCECCB84-F9BA-43D5-87BE-67443E8EF086}">
      <p15:sldGuideLst xmlns:p15="http://schemas.microsoft.com/office/powerpoint/2012/main">
        <p15:guide id="1" orient="horz" pos="1344">
          <p15:clr>
            <a:srgbClr val="5ACBF0"/>
          </p15:clr>
        </p15:guide>
        <p15:guide id="2" orient="horz" pos="3249">
          <p15:clr>
            <a:srgbClr val="5ACBF0"/>
          </p15:clr>
        </p15:guide>
        <p15:guide id="3" pos="3613">
          <p15:clr>
            <a:srgbClr val="5ACBF0"/>
          </p15:clr>
        </p15:guide>
        <p15:guide id="4" pos="710">
          <p15:clr>
            <a:srgbClr val="5ACBF0"/>
          </p15:clr>
        </p15:guide>
        <p15:guide id="5" orient="horz" pos="913">
          <p15:clr>
            <a:srgbClr val="F26B43"/>
          </p15:clr>
        </p15:guide>
        <p15:guide id="6" orient="horz" pos="3702">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ntent + Text Summ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702516"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3538" y="1258504"/>
            <a:ext cx="5683250" cy="288000"/>
          </a:xfrm>
          <a:noFill/>
        </p:spPr>
        <p:txBody>
          <a:bodyPr lIns="0">
            <a:noAutofit/>
          </a:bodyPr>
          <a:lstStyle>
            <a:lvl1pPr>
              <a:defRPr sz="1300">
                <a:solidFill>
                  <a:schemeClr val="accent6"/>
                </a:solidFill>
              </a:defRPr>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2749" y="1605156"/>
            <a:ext cx="5683250" cy="1980000"/>
          </a:xfrm>
          <a:noFill/>
        </p:spPr>
        <p:txBody>
          <a:bodyPr/>
          <a:lstStyle>
            <a:lvl1pPr algn="ctr">
              <a:defRPr b="0"/>
            </a:lvl1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p:nvPr>
        </p:nvSpPr>
        <p:spPr>
          <a:xfrm>
            <a:off x="6223000" y="1258504"/>
            <a:ext cx="5555461" cy="4928400"/>
          </a:xfrm>
          <a:noFill/>
          <a:effectLst/>
        </p:spPr>
        <p:txBody>
          <a:bodyPr vert="horz" lIns="252000" tIns="252000" rIns="252000" bIns="252000" rtlCol="0" anchor="ctr" anchorCtr="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5683250" cy="215999"/>
          </a:xfrm>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5" name="Text Placeholder 5">
            <a:extLst>
              <a:ext uri="{FF2B5EF4-FFF2-40B4-BE49-F238E27FC236}">
                <a16:creationId xmlns:a16="http://schemas.microsoft.com/office/drawing/2014/main" id="{6F3DB6FA-17D2-4D4B-9C68-7E57F40924D2}"/>
              </a:ext>
            </a:extLst>
          </p:cNvPr>
          <p:cNvSpPr>
            <a:spLocks noGrp="1"/>
          </p:cNvSpPr>
          <p:nvPr>
            <p:ph type="body" sz="quarter" idx="16" hasCustomPrompt="1"/>
          </p:nvPr>
        </p:nvSpPr>
        <p:spPr>
          <a:xfrm>
            <a:off x="412749" y="3645967"/>
            <a:ext cx="5683250" cy="288000"/>
          </a:xfrm>
          <a:noFill/>
        </p:spPr>
        <p:txBody>
          <a:bodyPr lIns="0">
            <a:noAutofit/>
          </a:bodyPr>
          <a:lstStyle>
            <a:lvl1pPr>
              <a:defRPr sz="1300">
                <a:solidFill>
                  <a:schemeClr val="accent6"/>
                </a:solidFill>
              </a:defRPr>
            </a:lvl1pPr>
          </a:lstStyle>
          <a:p>
            <a:pPr lvl="0"/>
            <a:r>
              <a:rPr lang="en-US"/>
              <a:t>Chart headline</a:t>
            </a:r>
          </a:p>
        </p:txBody>
      </p:sp>
      <p:sp>
        <p:nvSpPr>
          <p:cNvPr id="7" name="Content Placeholder 7">
            <a:extLst>
              <a:ext uri="{FF2B5EF4-FFF2-40B4-BE49-F238E27FC236}">
                <a16:creationId xmlns:a16="http://schemas.microsoft.com/office/drawing/2014/main" id="{C08AD70F-27D9-726E-A182-BA90022F5C6A}"/>
              </a:ext>
            </a:extLst>
          </p:cNvPr>
          <p:cNvSpPr>
            <a:spLocks noGrp="1"/>
          </p:cNvSpPr>
          <p:nvPr>
            <p:ph sz="quarter" idx="17" hasCustomPrompt="1"/>
          </p:nvPr>
        </p:nvSpPr>
        <p:spPr>
          <a:xfrm>
            <a:off x="412749" y="3977822"/>
            <a:ext cx="5683250" cy="1980000"/>
          </a:xfrm>
          <a:noFill/>
        </p:spPr>
        <p:txBody>
          <a:bodyPr/>
          <a:lstStyle>
            <a:lvl1pPr algn="ctr">
              <a:defRPr b="0"/>
            </a:lvl1pPr>
          </a:lstStyle>
          <a:p>
            <a:pPr lvl="0"/>
            <a:r>
              <a:rPr lang="en-US"/>
              <a:t>Insert Chart</a:t>
            </a:r>
            <a:endParaRPr lang="en-GB"/>
          </a:p>
        </p:txBody>
      </p:sp>
      <p:cxnSp>
        <p:nvCxnSpPr>
          <p:cNvPr id="14" name="Straight Connector 13">
            <a:extLst>
              <a:ext uri="{FF2B5EF4-FFF2-40B4-BE49-F238E27FC236}">
                <a16:creationId xmlns:a16="http://schemas.microsoft.com/office/drawing/2014/main" id="{99F03CBC-84CD-B420-8B01-8709221EF2D7}"/>
              </a:ext>
            </a:extLst>
          </p:cNvPr>
          <p:cNvCxnSpPr>
            <a:cxnSpLocks/>
          </p:cNvCxnSpPr>
          <p:nvPr userDrawn="1"/>
        </p:nvCxnSpPr>
        <p:spPr>
          <a:xfrm>
            <a:off x="2702950" y="6356350"/>
            <a:ext cx="1274379" cy="0"/>
          </a:xfrm>
          <a:prstGeom prst="line">
            <a:avLst/>
          </a:prstGeom>
          <a:ln w="6350">
            <a:no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F1FF571E-5F0D-6DE5-BAFA-37F40C5DB574}"/>
              </a:ext>
            </a:extLst>
          </p:cNvPr>
          <p:cNvCxnSpPr>
            <a:cxnSpLocks/>
          </p:cNvCxnSpPr>
          <p:nvPr userDrawn="1"/>
        </p:nvCxnSpPr>
        <p:spPr>
          <a:xfrm>
            <a:off x="5488473" y="6356350"/>
            <a:ext cx="1274379" cy="0"/>
          </a:xfrm>
          <a:prstGeom prst="line">
            <a:avLst/>
          </a:prstGeom>
          <a:ln w="6350">
            <a:no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6B2BEF9B-0C61-8243-085B-A71234DBE5AB}"/>
              </a:ext>
            </a:extLst>
          </p:cNvPr>
          <p:cNvCxnSpPr>
            <a:cxnSpLocks/>
          </p:cNvCxnSpPr>
          <p:nvPr userDrawn="1"/>
        </p:nvCxnSpPr>
        <p:spPr>
          <a:xfrm>
            <a:off x="7411982" y="6356350"/>
            <a:ext cx="1274379" cy="0"/>
          </a:xfrm>
          <a:prstGeom prst="line">
            <a:avLst/>
          </a:prstGeom>
          <a:ln w="6350">
            <a:noFill/>
          </a:ln>
        </p:spPr>
        <p:style>
          <a:lnRef idx="2">
            <a:schemeClr val="accent1"/>
          </a:lnRef>
          <a:fillRef idx="0">
            <a:schemeClr val="accent1"/>
          </a:fillRef>
          <a:effectRef idx="1">
            <a:schemeClr val="accent1"/>
          </a:effectRef>
          <a:fontRef idx="minor">
            <a:schemeClr val="tx1"/>
          </a:fontRef>
        </p:style>
      </p:cxnSp>
      <p:sp>
        <p:nvSpPr>
          <p:cNvPr id="18" name="Footer Placeholder 4">
            <a:extLst>
              <a:ext uri="{FF2B5EF4-FFF2-40B4-BE49-F238E27FC236}">
                <a16:creationId xmlns:a16="http://schemas.microsoft.com/office/drawing/2014/main" id="{52E70746-9160-C39A-1872-2ACD9DAB8314}"/>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Tree>
    <p:extLst>
      <p:ext uri="{BB962C8B-B14F-4D97-AF65-F5344CB8AC3E}">
        <p14:creationId xmlns:p14="http://schemas.microsoft.com/office/powerpoint/2010/main" val="725710745"/>
      </p:ext>
    </p:extLst>
  </p:cSld>
  <p:clrMapOvr>
    <a:masterClrMapping/>
  </p:clrMapOvr>
  <p:extLst>
    <p:ext uri="{DCECCB84-F9BA-43D5-87BE-67443E8EF086}">
      <p15:sldGuideLst xmlns:p15="http://schemas.microsoft.com/office/powerpoint/2012/main">
        <p15:guide id="1" pos="665">
          <p15:clr>
            <a:srgbClr val="5ACBF0"/>
          </p15:clr>
        </p15:guide>
        <p15:guide id="2" pos="3613">
          <p15:clr>
            <a:srgbClr val="5ACBF0"/>
          </p15:clr>
        </p15:guide>
        <p15:guide id="3" orient="horz" pos="1094">
          <p15:clr>
            <a:srgbClr val="5ACBF0"/>
          </p15:clr>
        </p15:guide>
        <p15:guide id="4" orient="horz" pos="1933">
          <p15:clr>
            <a:srgbClr val="5ACBF0"/>
          </p15:clr>
        </p15:guide>
        <p15:guide id="5" orient="horz" pos="3543">
          <p15:clr>
            <a:srgbClr val="5ACBF0"/>
          </p15:clr>
        </p15:guide>
        <p15:guide id="6" orient="horz" pos="2659">
          <p15:clr>
            <a:srgbClr val="5ACBF0"/>
          </p15:clr>
        </p15:guide>
        <p15:guide id="7" orient="horz" pos="799">
          <p15:clr>
            <a:srgbClr val="F26B43"/>
          </p15:clr>
        </p15:guide>
        <p15:guide id="8" orient="horz" pos="2387">
          <p15:clr>
            <a:srgbClr val="F26B43"/>
          </p15:clr>
        </p15:guide>
        <p15:guide id="9" orient="horz" pos="3770">
          <p15:clr>
            <a:srgbClr val="F26B43"/>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ummary Storybo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399" y="324000"/>
            <a:ext cx="10726579"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3537" y="1258504"/>
            <a:ext cx="2880000" cy="288000"/>
          </a:xfrm>
          <a:noFill/>
        </p:spPr>
        <p:txBody>
          <a:bodyPr lIns="0">
            <a:noAutofit/>
          </a:bodyPr>
          <a:lstStyle>
            <a:lvl1pPr>
              <a:defRPr sz="1300">
                <a:solidFill>
                  <a:schemeClr val="accent6"/>
                </a:solidFill>
              </a:defRPr>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4000" y="1625704"/>
            <a:ext cx="3780000" cy="2124000"/>
          </a:xfrm>
          <a:noFill/>
        </p:spPr>
        <p:txBody>
          <a:bodyPr/>
          <a:lstStyle>
            <a:lvl1pPr algn="ctr">
              <a:defRPr b="0"/>
            </a:lvl1pPr>
            <a:lvl5pPr>
              <a:defRPr/>
            </a:lvl5pPr>
          </a:lstStyle>
          <a:p>
            <a:pPr lvl="0"/>
            <a:r>
              <a:rPr lang="en-US"/>
              <a:t>Insert Char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11365200" cy="215999"/>
          </a:xfrm>
          <a:noFill/>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5" name="Text Placeholder 5">
            <a:extLst>
              <a:ext uri="{FF2B5EF4-FFF2-40B4-BE49-F238E27FC236}">
                <a16:creationId xmlns:a16="http://schemas.microsoft.com/office/drawing/2014/main" id="{D7616806-7E32-D88B-F740-18B7BC6A1ECE}"/>
              </a:ext>
            </a:extLst>
          </p:cNvPr>
          <p:cNvSpPr>
            <a:spLocks noGrp="1"/>
          </p:cNvSpPr>
          <p:nvPr>
            <p:ph type="body" sz="quarter" idx="16"/>
          </p:nvPr>
        </p:nvSpPr>
        <p:spPr>
          <a:xfrm>
            <a:off x="414000" y="3813276"/>
            <a:ext cx="3780000" cy="2124000"/>
          </a:xfrm>
          <a:noFill/>
          <a:effectLst/>
        </p:spPr>
        <p:txBody>
          <a:bodyPr vert="horz" lIns="72000" tIns="72000" rIns="72000" bIns="108000" rtlCol="0" anchor="t" anchorCtr="0">
            <a:noAutofit/>
          </a:bodyPr>
          <a:lstStyle>
            <a:lvl1pPr>
              <a:defRPr lang="en-US" sz="1300"/>
            </a:lvl1pPr>
            <a:lvl2pPr>
              <a:defRPr lang="en-US" sz="1100"/>
            </a:lvl2pPr>
            <a:lvl3pPr>
              <a:defRPr lang="en-US" sz="1100"/>
            </a:lvl3pPr>
            <a:lvl4pPr>
              <a:defRPr lang="en-US" sz="900"/>
            </a:lvl4pPr>
            <a:lvl5pPr>
              <a:defRPr lang="en-US"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41A38980-B6C7-2C12-669B-DF4E926D0985}"/>
              </a:ext>
            </a:extLst>
          </p:cNvPr>
          <p:cNvSpPr>
            <a:spLocks noGrp="1"/>
          </p:cNvSpPr>
          <p:nvPr>
            <p:ph type="body" sz="quarter" idx="18"/>
          </p:nvPr>
        </p:nvSpPr>
        <p:spPr>
          <a:xfrm>
            <a:off x="4212000" y="3813276"/>
            <a:ext cx="3780000" cy="2124000"/>
          </a:xfrm>
          <a:noFill/>
          <a:effectLst/>
        </p:spPr>
        <p:txBody>
          <a:bodyPr vert="horz" lIns="72000" tIns="72000" rIns="72000" bIns="108000" rtlCol="0" anchor="t" anchorCtr="0">
            <a:noAutofit/>
          </a:bodyPr>
          <a:lstStyle>
            <a:lvl1pPr>
              <a:defRPr lang="en-US" sz="1300"/>
            </a:lvl1pPr>
            <a:lvl2pPr>
              <a:defRPr lang="en-US" sz="1100"/>
            </a:lvl2pPr>
            <a:lvl3pPr>
              <a:defRPr lang="en-US" sz="1100"/>
            </a:lvl3pPr>
            <a:lvl4pPr>
              <a:defRPr lang="en-US" sz="900"/>
            </a:lvl4pPr>
            <a:lvl5pPr>
              <a:defRPr lang="en-US"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0F05E3CC-77D8-00D4-3892-43359D3D440D}"/>
              </a:ext>
            </a:extLst>
          </p:cNvPr>
          <p:cNvSpPr>
            <a:spLocks noGrp="1"/>
          </p:cNvSpPr>
          <p:nvPr>
            <p:ph type="body" sz="quarter" idx="20" hasCustomPrompt="1"/>
          </p:nvPr>
        </p:nvSpPr>
        <p:spPr>
          <a:xfrm>
            <a:off x="4212000" y="1258504"/>
            <a:ext cx="2880000" cy="288000"/>
          </a:xfrm>
          <a:noFill/>
        </p:spPr>
        <p:txBody>
          <a:bodyPr lIns="108000">
            <a:noAutofit/>
          </a:bodyPr>
          <a:lstStyle>
            <a:lvl1pPr>
              <a:defRPr sz="1300">
                <a:solidFill>
                  <a:schemeClr val="accent6"/>
                </a:solidFill>
              </a:defRPr>
            </a:lvl1pPr>
          </a:lstStyle>
          <a:p>
            <a:pPr lvl="0"/>
            <a:r>
              <a:rPr lang="en-US"/>
              <a:t>Chart headline</a:t>
            </a:r>
          </a:p>
        </p:txBody>
      </p:sp>
      <p:sp>
        <p:nvSpPr>
          <p:cNvPr id="14" name="Content Placeholder 7">
            <a:extLst>
              <a:ext uri="{FF2B5EF4-FFF2-40B4-BE49-F238E27FC236}">
                <a16:creationId xmlns:a16="http://schemas.microsoft.com/office/drawing/2014/main" id="{CB8F5FCB-FB91-1CC1-0B13-4616C17F6F8D}"/>
              </a:ext>
            </a:extLst>
          </p:cNvPr>
          <p:cNvSpPr>
            <a:spLocks noGrp="1"/>
          </p:cNvSpPr>
          <p:nvPr>
            <p:ph sz="quarter" idx="21" hasCustomPrompt="1"/>
          </p:nvPr>
        </p:nvSpPr>
        <p:spPr>
          <a:xfrm>
            <a:off x="4212000" y="1625704"/>
            <a:ext cx="3780000" cy="2124000"/>
          </a:xfrm>
          <a:noFill/>
        </p:spPr>
        <p:txBody>
          <a:bodyPr/>
          <a:lstStyle>
            <a:lvl1pPr algn="ctr">
              <a:defRPr b="0"/>
            </a:lvl1pPr>
            <a:lvl5pPr>
              <a:defRPr/>
            </a:lvl5pPr>
          </a:lstStyle>
          <a:p>
            <a:pPr lvl="0"/>
            <a:r>
              <a:rPr lang="en-US"/>
              <a:t>Insert Chart</a:t>
            </a:r>
            <a:endParaRPr lang="en-GB"/>
          </a:p>
        </p:txBody>
      </p:sp>
      <p:sp>
        <p:nvSpPr>
          <p:cNvPr id="15" name="Text Placeholder 5">
            <a:extLst>
              <a:ext uri="{FF2B5EF4-FFF2-40B4-BE49-F238E27FC236}">
                <a16:creationId xmlns:a16="http://schemas.microsoft.com/office/drawing/2014/main" id="{AC5DE7FF-9635-D689-F58B-811576F0D013}"/>
              </a:ext>
            </a:extLst>
          </p:cNvPr>
          <p:cNvSpPr>
            <a:spLocks noGrp="1"/>
          </p:cNvSpPr>
          <p:nvPr>
            <p:ph type="body" sz="quarter" idx="22"/>
          </p:nvPr>
        </p:nvSpPr>
        <p:spPr>
          <a:xfrm>
            <a:off x="8010000" y="3813276"/>
            <a:ext cx="3780000" cy="2124000"/>
          </a:xfrm>
          <a:noFill/>
          <a:effectLst/>
        </p:spPr>
        <p:txBody>
          <a:bodyPr vert="horz" lIns="72000" tIns="72000" rIns="72000" bIns="108000" rtlCol="0" anchor="t" anchorCtr="0">
            <a:noAutofit/>
          </a:bodyPr>
          <a:lstStyle>
            <a:lvl1pPr>
              <a:defRPr lang="en-US" sz="1300"/>
            </a:lvl1pPr>
            <a:lvl2pPr>
              <a:defRPr lang="en-US" sz="1100"/>
            </a:lvl2pPr>
            <a:lvl3pPr>
              <a:defRPr lang="en-US" sz="1100"/>
            </a:lvl3pPr>
            <a:lvl4pPr>
              <a:defRPr lang="en-US" sz="900"/>
            </a:lvl4pPr>
            <a:lvl5pPr>
              <a:defRPr lang="en-US"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5">
            <a:extLst>
              <a:ext uri="{FF2B5EF4-FFF2-40B4-BE49-F238E27FC236}">
                <a16:creationId xmlns:a16="http://schemas.microsoft.com/office/drawing/2014/main" id="{82725930-D425-C749-FEC9-D1707FF63950}"/>
              </a:ext>
            </a:extLst>
          </p:cNvPr>
          <p:cNvSpPr>
            <a:spLocks noGrp="1"/>
          </p:cNvSpPr>
          <p:nvPr>
            <p:ph type="body" sz="quarter" idx="24" hasCustomPrompt="1"/>
          </p:nvPr>
        </p:nvSpPr>
        <p:spPr>
          <a:xfrm>
            <a:off x="8010000" y="1258504"/>
            <a:ext cx="2880000" cy="288000"/>
          </a:xfrm>
          <a:noFill/>
        </p:spPr>
        <p:txBody>
          <a:bodyPr lIns="108000">
            <a:noAutofit/>
          </a:bodyPr>
          <a:lstStyle>
            <a:lvl1pPr>
              <a:defRPr sz="1300">
                <a:solidFill>
                  <a:schemeClr val="accent6"/>
                </a:solidFill>
              </a:defRPr>
            </a:lvl1pPr>
          </a:lstStyle>
          <a:p>
            <a:pPr lvl="0"/>
            <a:r>
              <a:rPr lang="en-US"/>
              <a:t>Chart headline</a:t>
            </a:r>
          </a:p>
        </p:txBody>
      </p:sp>
      <p:sp>
        <p:nvSpPr>
          <p:cNvPr id="18" name="Content Placeholder 7">
            <a:extLst>
              <a:ext uri="{FF2B5EF4-FFF2-40B4-BE49-F238E27FC236}">
                <a16:creationId xmlns:a16="http://schemas.microsoft.com/office/drawing/2014/main" id="{ECAB1B5D-539C-8387-B045-BAF0C5698A72}"/>
              </a:ext>
            </a:extLst>
          </p:cNvPr>
          <p:cNvSpPr>
            <a:spLocks noGrp="1"/>
          </p:cNvSpPr>
          <p:nvPr>
            <p:ph sz="quarter" idx="25" hasCustomPrompt="1"/>
          </p:nvPr>
        </p:nvSpPr>
        <p:spPr>
          <a:xfrm>
            <a:off x="8010000" y="1625704"/>
            <a:ext cx="3780000" cy="2124000"/>
          </a:xfrm>
          <a:noFill/>
        </p:spPr>
        <p:txBody>
          <a:bodyPr/>
          <a:lstStyle>
            <a:lvl1pPr algn="ctr">
              <a:defRPr b="0"/>
            </a:lvl1pPr>
            <a:lvl5pPr>
              <a:defRPr/>
            </a:lvl5pPr>
          </a:lstStyle>
          <a:p>
            <a:pPr lvl="0"/>
            <a:r>
              <a:rPr lang="en-US"/>
              <a:t>Insert Chart</a:t>
            </a:r>
            <a:endParaRPr lang="en-GB"/>
          </a:p>
        </p:txBody>
      </p:sp>
      <p:sp>
        <p:nvSpPr>
          <p:cNvPr id="22" name="Rectangle 21">
            <a:extLst>
              <a:ext uri="{FF2B5EF4-FFF2-40B4-BE49-F238E27FC236}">
                <a16:creationId xmlns:a16="http://schemas.microsoft.com/office/drawing/2014/main" id="{45563B50-D90E-1882-F8FA-7DC74D658E94}"/>
              </a:ext>
            </a:extLst>
          </p:cNvPr>
          <p:cNvSpPr/>
          <p:nvPr userDrawn="1"/>
        </p:nvSpPr>
        <p:spPr>
          <a:xfrm>
            <a:off x="88900" y="-1219200"/>
            <a:ext cx="12103100" cy="1117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F3931C8E-0E03-F172-6826-5C40A4AA1778}"/>
              </a:ext>
            </a:extLst>
          </p:cNvPr>
          <p:cNvSpPr txBox="1"/>
          <p:nvPr userDrawn="1"/>
        </p:nvSpPr>
        <p:spPr>
          <a:xfrm>
            <a:off x="6810500" y="-1066047"/>
            <a:ext cx="2283961" cy="738664"/>
          </a:xfrm>
          <a:prstGeom prst="rect">
            <a:avLst/>
          </a:prstGeom>
          <a:noFill/>
        </p:spPr>
        <p:txBody>
          <a:bodyPr wrap="square" rtlCol="0">
            <a:spAutoFit/>
          </a:bodyPr>
          <a:lstStyle/>
          <a:p>
            <a:r>
              <a:rPr lang="en-GB" sz="1050">
                <a:solidFill>
                  <a:schemeClr val="tx1">
                    <a:lumMod val="50000"/>
                  </a:schemeClr>
                </a:solidFill>
                <a:latin typeface="Arial" panose="020B0604020202020204" pitchFamily="34" charset="0"/>
                <a:cs typeface="Arial" panose="020B0604020202020204" pitchFamily="34" charset="0"/>
              </a:rPr>
              <a:t>Indicator of affect on price </a:t>
            </a:r>
          </a:p>
          <a:p>
            <a:r>
              <a:rPr lang="en-GB" sz="1050">
                <a:solidFill>
                  <a:schemeClr val="tx1">
                    <a:lumMod val="50000"/>
                  </a:schemeClr>
                </a:solidFill>
                <a:latin typeface="Arial" panose="020B0604020202020204" pitchFamily="34" charset="0"/>
                <a:cs typeface="Arial" panose="020B0604020202020204" pitchFamily="34" charset="0"/>
              </a:rPr>
              <a:t>Bull = upwards price pressure</a:t>
            </a:r>
          </a:p>
          <a:p>
            <a:r>
              <a:rPr lang="en-GB" sz="1050">
                <a:solidFill>
                  <a:schemeClr val="tx1">
                    <a:lumMod val="50000"/>
                  </a:schemeClr>
                </a:solidFill>
                <a:latin typeface="Arial" panose="020B0604020202020204" pitchFamily="34" charset="0"/>
                <a:cs typeface="Arial" panose="020B0604020202020204" pitchFamily="34" charset="0"/>
              </a:rPr>
              <a:t>Bear = downwards price pressure</a:t>
            </a:r>
          </a:p>
          <a:p>
            <a:r>
              <a:rPr lang="en-GB" sz="1050">
                <a:solidFill>
                  <a:schemeClr val="tx1">
                    <a:lumMod val="50000"/>
                  </a:schemeClr>
                </a:solidFill>
                <a:latin typeface="Arial" panose="020B0604020202020204" pitchFamily="34" charset="0"/>
                <a:cs typeface="Arial" panose="020B0604020202020204" pitchFamily="34" charset="0"/>
              </a:rPr>
              <a:t>Neutral = no impact</a:t>
            </a:r>
          </a:p>
        </p:txBody>
      </p:sp>
      <p:sp>
        <p:nvSpPr>
          <p:cNvPr id="24" name="TextBox 23">
            <a:extLst>
              <a:ext uri="{FF2B5EF4-FFF2-40B4-BE49-F238E27FC236}">
                <a16:creationId xmlns:a16="http://schemas.microsoft.com/office/drawing/2014/main" id="{AEA4DC3E-B20E-9C10-189C-BC076F996C84}"/>
              </a:ext>
            </a:extLst>
          </p:cNvPr>
          <p:cNvSpPr txBox="1"/>
          <p:nvPr userDrawn="1"/>
        </p:nvSpPr>
        <p:spPr>
          <a:xfrm>
            <a:off x="266700" y="-973225"/>
            <a:ext cx="6794500" cy="353943"/>
          </a:xfrm>
          <a:prstGeom prst="rect">
            <a:avLst/>
          </a:prstGeom>
          <a:noFill/>
        </p:spPr>
        <p:txBody>
          <a:bodyPr wrap="square" rtlCol="0">
            <a:spAutoFit/>
          </a:bodyPr>
          <a:lstStyle/>
          <a:p>
            <a:r>
              <a:rPr lang="en-GB">
                <a:latin typeface="Arial" panose="020B0604020202020204" pitchFamily="34" charset="0"/>
                <a:cs typeface="Arial" panose="020B0604020202020204" pitchFamily="34" charset="0"/>
              </a:rPr>
              <a:t>Storyboard Layout</a:t>
            </a:r>
          </a:p>
        </p:txBody>
      </p:sp>
      <p:sp>
        <p:nvSpPr>
          <p:cNvPr id="38" name="TextBox 37">
            <a:extLst>
              <a:ext uri="{FF2B5EF4-FFF2-40B4-BE49-F238E27FC236}">
                <a16:creationId xmlns:a16="http://schemas.microsoft.com/office/drawing/2014/main" id="{87E90881-766D-DD44-2F07-687FEE2958DB}"/>
              </a:ext>
            </a:extLst>
          </p:cNvPr>
          <p:cNvSpPr txBox="1"/>
          <p:nvPr userDrawn="1"/>
        </p:nvSpPr>
        <p:spPr>
          <a:xfrm>
            <a:off x="2295556" y="-1024164"/>
            <a:ext cx="2283961" cy="577081"/>
          </a:xfrm>
          <a:prstGeom prst="rect">
            <a:avLst/>
          </a:prstGeom>
          <a:noFill/>
        </p:spPr>
        <p:txBody>
          <a:bodyPr wrap="square" rtlCol="0">
            <a:spAutoFit/>
          </a:bodyPr>
          <a:lstStyle/>
          <a:p>
            <a:r>
              <a:rPr lang="en-GB" sz="1050">
                <a:solidFill>
                  <a:schemeClr val="tx1">
                    <a:lumMod val="50000"/>
                  </a:schemeClr>
                </a:solidFill>
                <a:latin typeface="Arial" panose="020B0604020202020204" pitchFamily="34" charset="0"/>
                <a:cs typeface="Arial" panose="020B0604020202020204" pitchFamily="34" charset="0"/>
              </a:rPr>
              <a:t>Every market outlook needs a storyboard containing a minimum of 7 charts and accompanying text</a:t>
            </a:r>
          </a:p>
        </p:txBody>
      </p:sp>
      <p:sp>
        <p:nvSpPr>
          <p:cNvPr id="39" name="TextBox 38">
            <a:extLst>
              <a:ext uri="{FF2B5EF4-FFF2-40B4-BE49-F238E27FC236}">
                <a16:creationId xmlns:a16="http://schemas.microsoft.com/office/drawing/2014/main" id="{DC3003EA-CCC7-CF54-8D1E-915B6001C670}"/>
              </a:ext>
            </a:extLst>
          </p:cNvPr>
          <p:cNvSpPr txBox="1"/>
          <p:nvPr userDrawn="1"/>
        </p:nvSpPr>
        <p:spPr>
          <a:xfrm>
            <a:off x="4492822" y="-1024164"/>
            <a:ext cx="2283961" cy="738664"/>
          </a:xfrm>
          <a:prstGeom prst="rect">
            <a:avLst/>
          </a:prstGeom>
          <a:noFill/>
        </p:spPr>
        <p:txBody>
          <a:bodyPr wrap="square" rtlCol="0">
            <a:spAutoFit/>
          </a:bodyPr>
          <a:lstStyle/>
          <a:p>
            <a:r>
              <a:rPr lang="en-GB" sz="1050">
                <a:solidFill>
                  <a:schemeClr val="tx1">
                    <a:lumMod val="50000"/>
                  </a:schemeClr>
                </a:solidFill>
                <a:latin typeface="Arial" panose="020B0604020202020204" pitchFamily="34" charset="0"/>
                <a:cs typeface="Arial" panose="020B0604020202020204" pitchFamily="34" charset="0"/>
              </a:rPr>
              <a:t>Place the icons in the box to indicate whether the story element is positive, negative or neutral for commodity prices </a:t>
            </a:r>
          </a:p>
        </p:txBody>
      </p:sp>
      <p:cxnSp>
        <p:nvCxnSpPr>
          <p:cNvPr id="7" name="Straight Connector 6">
            <a:extLst>
              <a:ext uri="{FF2B5EF4-FFF2-40B4-BE49-F238E27FC236}">
                <a16:creationId xmlns:a16="http://schemas.microsoft.com/office/drawing/2014/main" id="{975CDD6E-035F-9465-32D7-99297026358F}"/>
              </a:ext>
            </a:extLst>
          </p:cNvPr>
          <p:cNvCxnSpPr>
            <a:cxnSpLocks/>
          </p:cNvCxnSpPr>
          <p:nvPr userDrawn="1"/>
        </p:nvCxnSpPr>
        <p:spPr>
          <a:xfrm>
            <a:off x="4194000" y="4001234"/>
            <a:ext cx="7937" cy="183600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0" name="Straight Connector 9">
            <a:extLst>
              <a:ext uri="{FF2B5EF4-FFF2-40B4-BE49-F238E27FC236}">
                <a16:creationId xmlns:a16="http://schemas.microsoft.com/office/drawing/2014/main" id="{2A904D48-4B83-5BF3-D639-51D8FAB1FCCD}"/>
              </a:ext>
            </a:extLst>
          </p:cNvPr>
          <p:cNvCxnSpPr>
            <a:cxnSpLocks/>
          </p:cNvCxnSpPr>
          <p:nvPr userDrawn="1"/>
        </p:nvCxnSpPr>
        <p:spPr>
          <a:xfrm>
            <a:off x="7995444" y="4001234"/>
            <a:ext cx="7937" cy="183600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1" name="Straight Connector 10">
            <a:extLst>
              <a:ext uri="{FF2B5EF4-FFF2-40B4-BE49-F238E27FC236}">
                <a16:creationId xmlns:a16="http://schemas.microsoft.com/office/drawing/2014/main" id="{03F1CA78-3547-5512-F36A-2F1EEF65A0E0}"/>
              </a:ext>
            </a:extLst>
          </p:cNvPr>
          <p:cNvCxnSpPr>
            <a:cxnSpLocks/>
          </p:cNvCxnSpPr>
          <p:nvPr userDrawn="1"/>
        </p:nvCxnSpPr>
        <p:spPr>
          <a:xfrm>
            <a:off x="4194000" y="1822040"/>
            <a:ext cx="7937" cy="183600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6" name="Straight Connector 15">
            <a:extLst>
              <a:ext uri="{FF2B5EF4-FFF2-40B4-BE49-F238E27FC236}">
                <a16:creationId xmlns:a16="http://schemas.microsoft.com/office/drawing/2014/main" id="{7561E445-AB46-12BB-71E4-C5DB6124E6E7}"/>
              </a:ext>
            </a:extLst>
          </p:cNvPr>
          <p:cNvCxnSpPr>
            <a:cxnSpLocks/>
          </p:cNvCxnSpPr>
          <p:nvPr userDrawn="1"/>
        </p:nvCxnSpPr>
        <p:spPr>
          <a:xfrm>
            <a:off x="7995444" y="1822040"/>
            <a:ext cx="7937" cy="183600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40" name="Straight Connector 39">
            <a:extLst>
              <a:ext uri="{FF2B5EF4-FFF2-40B4-BE49-F238E27FC236}">
                <a16:creationId xmlns:a16="http://schemas.microsoft.com/office/drawing/2014/main" id="{278D58A8-BE28-DE7D-6C5A-A9A83475BCC9}"/>
              </a:ext>
            </a:extLst>
          </p:cNvPr>
          <p:cNvCxnSpPr>
            <a:cxnSpLocks/>
          </p:cNvCxnSpPr>
          <p:nvPr userDrawn="1"/>
        </p:nvCxnSpPr>
        <p:spPr>
          <a:xfrm>
            <a:off x="684000" y="3792781"/>
            <a:ext cx="3251413" cy="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41" name="Straight Connector 40">
            <a:extLst>
              <a:ext uri="{FF2B5EF4-FFF2-40B4-BE49-F238E27FC236}">
                <a16:creationId xmlns:a16="http://schemas.microsoft.com/office/drawing/2014/main" id="{5B27A369-CAEB-07CB-E8C4-BB5EE7BE8F47}"/>
              </a:ext>
            </a:extLst>
          </p:cNvPr>
          <p:cNvCxnSpPr>
            <a:cxnSpLocks/>
          </p:cNvCxnSpPr>
          <p:nvPr userDrawn="1"/>
        </p:nvCxnSpPr>
        <p:spPr>
          <a:xfrm>
            <a:off x="4464843" y="3792781"/>
            <a:ext cx="3251413" cy="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42" name="Straight Connector 41">
            <a:extLst>
              <a:ext uri="{FF2B5EF4-FFF2-40B4-BE49-F238E27FC236}">
                <a16:creationId xmlns:a16="http://schemas.microsoft.com/office/drawing/2014/main" id="{6F2B0CF4-4040-2F53-E5C0-3C48211F50AF}"/>
              </a:ext>
            </a:extLst>
          </p:cNvPr>
          <p:cNvCxnSpPr>
            <a:cxnSpLocks/>
          </p:cNvCxnSpPr>
          <p:nvPr userDrawn="1"/>
        </p:nvCxnSpPr>
        <p:spPr>
          <a:xfrm>
            <a:off x="8245262" y="3792781"/>
            <a:ext cx="3251413" cy="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sp>
        <p:nvSpPr>
          <p:cNvPr id="51" name="Footer Placeholder 4">
            <a:extLst>
              <a:ext uri="{FF2B5EF4-FFF2-40B4-BE49-F238E27FC236}">
                <a16:creationId xmlns:a16="http://schemas.microsoft.com/office/drawing/2014/main" id="{9EED9D5D-61AA-43F0-8E93-270B5258C413}"/>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grpSp>
        <p:nvGrpSpPr>
          <p:cNvPr id="3" name="Group 2">
            <a:extLst>
              <a:ext uri="{FF2B5EF4-FFF2-40B4-BE49-F238E27FC236}">
                <a16:creationId xmlns:a16="http://schemas.microsoft.com/office/drawing/2014/main" id="{D85ED702-2E01-0292-0257-7EB238295F44}"/>
              </a:ext>
            </a:extLst>
          </p:cNvPr>
          <p:cNvGrpSpPr/>
          <p:nvPr userDrawn="1"/>
        </p:nvGrpSpPr>
        <p:grpSpPr>
          <a:xfrm>
            <a:off x="8562465" y="-591805"/>
            <a:ext cx="476662" cy="396518"/>
            <a:chOff x="3669046" y="963053"/>
            <a:chExt cx="476662" cy="396518"/>
          </a:xfrm>
        </p:grpSpPr>
        <p:pic>
          <p:nvPicPr>
            <p:cNvPr id="4" name="Content Placeholder 38" descr="Bull with solid fill">
              <a:extLst>
                <a:ext uri="{FF2B5EF4-FFF2-40B4-BE49-F238E27FC236}">
                  <a16:creationId xmlns:a16="http://schemas.microsoft.com/office/drawing/2014/main" id="{C8A0E015-C714-B8F8-C589-37F6A36219C7}"/>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a:stretch/>
          </p:blipFill>
          <p:spPr>
            <a:xfrm>
              <a:off x="3832454" y="963053"/>
              <a:ext cx="313253" cy="313253"/>
            </a:xfrm>
            <a:prstGeom prst="rect">
              <a:avLst/>
            </a:prstGeom>
          </p:spPr>
        </p:pic>
        <p:sp>
          <p:nvSpPr>
            <p:cNvPr id="25" name="TextBox 24">
              <a:extLst>
                <a:ext uri="{FF2B5EF4-FFF2-40B4-BE49-F238E27FC236}">
                  <a16:creationId xmlns:a16="http://schemas.microsoft.com/office/drawing/2014/main" id="{921C8E5E-4E3A-14C6-0DE7-D0EB4251B05E}"/>
                </a:ext>
              </a:extLst>
            </p:cNvPr>
            <p:cNvSpPr txBox="1"/>
            <p:nvPr/>
          </p:nvSpPr>
          <p:spPr>
            <a:xfrm>
              <a:off x="3746560" y="1197988"/>
              <a:ext cx="399148" cy="161583"/>
            </a:xfrm>
            <a:prstGeom prst="rect">
              <a:avLst/>
            </a:prstGeom>
            <a:noFill/>
          </p:spPr>
          <p:txBody>
            <a:bodyPr wrap="none" lIns="0" tIns="0" rIns="0" bIns="0" rtlCol="0">
              <a:spAutoFit/>
            </a:bodyPr>
            <a:lstStyle/>
            <a:p>
              <a:pPr algn="r"/>
              <a:r>
                <a:rPr lang="en-GB" sz="1050">
                  <a:solidFill>
                    <a:schemeClr val="accent3">
                      <a:lumMod val="50000"/>
                    </a:schemeClr>
                  </a:solidFill>
                  <a:latin typeface="Arial" panose="020B0604020202020204" pitchFamily="34" charset="0"/>
                  <a:cs typeface="Arial" panose="020B0604020202020204" pitchFamily="34" charset="0"/>
                </a:rPr>
                <a:t>Bullish</a:t>
              </a:r>
            </a:p>
          </p:txBody>
        </p:sp>
        <p:pic>
          <p:nvPicPr>
            <p:cNvPr id="26" name="Content Placeholder 38" descr="Arrow Up with solid fill">
              <a:extLst>
                <a:ext uri="{FF2B5EF4-FFF2-40B4-BE49-F238E27FC236}">
                  <a16:creationId xmlns:a16="http://schemas.microsoft.com/office/drawing/2014/main" id="{F58400BE-4DED-E57D-062E-33D0741F5083}"/>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rcRect/>
            <a:stretch/>
          </p:blipFill>
          <p:spPr>
            <a:xfrm>
              <a:off x="3669046" y="1013013"/>
              <a:ext cx="216000" cy="184975"/>
            </a:xfrm>
            <a:prstGeom prst="rect">
              <a:avLst/>
            </a:prstGeom>
          </p:spPr>
        </p:pic>
      </p:grpSp>
      <p:grpSp>
        <p:nvGrpSpPr>
          <p:cNvPr id="27" name="Group 26">
            <a:extLst>
              <a:ext uri="{FF2B5EF4-FFF2-40B4-BE49-F238E27FC236}">
                <a16:creationId xmlns:a16="http://schemas.microsoft.com/office/drawing/2014/main" id="{6F1650D9-5286-575F-B4F1-8057E980F2DC}"/>
              </a:ext>
            </a:extLst>
          </p:cNvPr>
          <p:cNvGrpSpPr/>
          <p:nvPr userDrawn="1"/>
        </p:nvGrpSpPr>
        <p:grpSpPr>
          <a:xfrm>
            <a:off x="9408606" y="-591805"/>
            <a:ext cx="491542" cy="419533"/>
            <a:chOff x="7440115" y="940038"/>
            <a:chExt cx="491542" cy="419533"/>
          </a:xfrm>
        </p:grpSpPr>
        <p:sp>
          <p:nvSpPr>
            <p:cNvPr id="28" name="TextBox 27">
              <a:extLst>
                <a:ext uri="{FF2B5EF4-FFF2-40B4-BE49-F238E27FC236}">
                  <a16:creationId xmlns:a16="http://schemas.microsoft.com/office/drawing/2014/main" id="{C52A125A-97AC-7979-A1BD-D3C7314EFF2B}"/>
                </a:ext>
              </a:extLst>
            </p:cNvPr>
            <p:cNvSpPr txBox="1"/>
            <p:nvPr/>
          </p:nvSpPr>
          <p:spPr>
            <a:xfrm>
              <a:off x="7453712" y="1197988"/>
              <a:ext cx="458460" cy="161583"/>
            </a:xfrm>
            <a:prstGeom prst="rect">
              <a:avLst/>
            </a:prstGeom>
            <a:noFill/>
          </p:spPr>
          <p:txBody>
            <a:bodyPr wrap="none" lIns="0" tIns="0" rIns="0" bIns="0" rtlCol="0">
              <a:spAutoFit/>
            </a:bodyPr>
            <a:lstStyle/>
            <a:p>
              <a:pPr algn="r"/>
              <a:r>
                <a:rPr lang="en-GB" sz="1050">
                  <a:solidFill>
                    <a:schemeClr val="accent3">
                      <a:lumMod val="50000"/>
                    </a:schemeClr>
                  </a:solidFill>
                  <a:latin typeface="Arial" panose="020B0604020202020204" pitchFamily="34" charset="0"/>
                  <a:cs typeface="Arial" panose="020B0604020202020204" pitchFamily="34" charset="0"/>
                </a:rPr>
                <a:t>Bearish</a:t>
              </a:r>
            </a:p>
          </p:txBody>
        </p:sp>
        <p:pic>
          <p:nvPicPr>
            <p:cNvPr id="29" name="Content Placeholder 38" descr="Bear with solid fill">
              <a:extLst>
                <a:ext uri="{FF2B5EF4-FFF2-40B4-BE49-F238E27FC236}">
                  <a16:creationId xmlns:a16="http://schemas.microsoft.com/office/drawing/2014/main" id="{0EABBDE0-EB37-F885-8358-06A13F1782E5}"/>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rcRect/>
            <a:stretch/>
          </p:blipFill>
          <p:spPr>
            <a:xfrm>
              <a:off x="7440115" y="940038"/>
              <a:ext cx="313253" cy="313253"/>
            </a:xfrm>
            <a:prstGeom prst="rect">
              <a:avLst/>
            </a:prstGeom>
          </p:spPr>
        </p:pic>
        <p:pic>
          <p:nvPicPr>
            <p:cNvPr id="30" name="Content Placeholder 38" descr="Arrow Up with solid fill">
              <a:extLst>
                <a:ext uri="{FF2B5EF4-FFF2-40B4-BE49-F238E27FC236}">
                  <a16:creationId xmlns:a16="http://schemas.microsoft.com/office/drawing/2014/main" id="{E7912A7D-82DD-A2B6-6FF9-65D37818D9B9}"/>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rcRect/>
            <a:stretch/>
          </p:blipFill>
          <p:spPr>
            <a:xfrm flipV="1">
              <a:off x="7715657" y="1023855"/>
              <a:ext cx="216000" cy="189806"/>
            </a:xfrm>
            <a:prstGeom prst="rect">
              <a:avLst/>
            </a:prstGeom>
          </p:spPr>
        </p:pic>
      </p:grpSp>
      <p:grpSp>
        <p:nvGrpSpPr>
          <p:cNvPr id="31" name="Group 30">
            <a:extLst>
              <a:ext uri="{FF2B5EF4-FFF2-40B4-BE49-F238E27FC236}">
                <a16:creationId xmlns:a16="http://schemas.microsoft.com/office/drawing/2014/main" id="{21CDC61F-7AE9-0C7C-14DC-F17BDBEB15CE}"/>
              </a:ext>
            </a:extLst>
          </p:cNvPr>
          <p:cNvGrpSpPr/>
          <p:nvPr userDrawn="1"/>
        </p:nvGrpSpPr>
        <p:grpSpPr>
          <a:xfrm>
            <a:off x="10269627" y="-591805"/>
            <a:ext cx="436017" cy="392882"/>
            <a:chOff x="11020076" y="979202"/>
            <a:chExt cx="436017" cy="392882"/>
          </a:xfrm>
        </p:grpSpPr>
        <p:sp>
          <p:nvSpPr>
            <p:cNvPr id="32" name="TextBox 31">
              <a:extLst>
                <a:ext uri="{FF2B5EF4-FFF2-40B4-BE49-F238E27FC236}">
                  <a16:creationId xmlns:a16="http://schemas.microsoft.com/office/drawing/2014/main" id="{61C11229-B5CB-A6E9-193F-950E21BC54E9}"/>
                </a:ext>
              </a:extLst>
            </p:cNvPr>
            <p:cNvSpPr txBox="1"/>
            <p:nvPr/>
          </p:nvSpPr>
          <p:spPr>
            <a:xfrm>
              <a:off x="11020076" y="1210501"/>
              <a:ext cx="436017" cy="161583"/>
            </a:xfrm>
            <a:prstGeom prst="rect">
              <a:avLst/>
            </a:prstGeom>
            <a:noFill/>
          </p:spPr>
          <p:txBody>
            <a:bodyPr wrap="none" lIns="0" tIns="0" rIns="0" bIns="0" rtlCol="0">
              <a:spAutoFit/>
            </a:bodyPr>
            <a:lstStyle/>
            <a:p>
              <a:pPr algn="r"/>
              <a:r>
                <a:rPr lang="en-GB" sz="1050">
                  <a:solidFill>
                    <a:schemeClr val="accent3">
                      <a:lumMod val="50000"/>
                    </a:schemeClr>
                  </a:solidFill>
                  <a:latin typeface="Arial" panose="020B0604020202020204" pitchFamily="34" charset="0"/>
                  <a:cs typeface="Arial" panose="020B0604020202020204" pitchFamily="34" charset="0"/>
                </a:rPr>
                <a:t>Neutral</a:t>
              </a:r>
            </a:p>
          </p:txBody>
        </p:sp>
        <p:grpSp>
          <p:nvGrpSpPr>
            <p:cNvPr id="33" name="Group 32">
              <a:extLst>
                <a:ext uri="{FF2B5EF4-FFF2-40B4-BE49-F238E27FC236}">
                  <a16:creationId xmlns:a16="http://schemas.microsoft.com/office/drawing/2014/main" id="{AF0E90F9-CDF7-CD38-2D1E-8FD10336347F}"/>
                </a:ext>
              </a:extLst>
            </p:cNvPr>
            <p:cNvGrpSpPr>
              <a:grpSpLocks noChangeAspect="1"/>
            </p:cNvGrpSpPr>
            <p:nvPr/>
          </p:nvGrpSpPr>
          <p:grpSpPr>
            <a:xfrm>
              <a:off x="11069401" y="979202"/>
              <a:ext cx="342268" cy="313200"/>
              <a:chOff x="11075627" y="402317"/>
              <a:chExt cx="525527" cy="480895"/>
            </a:xfrm>
          </p:grpSpPr>
          <p:pic>
            <p:nvPicPr>
              <p:cNvPr id="34" name="Graphic 33" descr="Arrow: Straight with solid fill">
                <a:extLst>
                  <a:ext uri="{FF2B5EF4-FFF2-40B4-BE49-F238E27FC236}">
                    <a16:creationId xmlns:a16="http://schemas.microsoft.com/office/drawing/2014/main" id="{4C1244AE-797B-5568-4F9E-5B7E06AA1C67}"/>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rot="10800000">
                <a:off x="11183549" y="402317"/>
                <a:ext cx="417605" cy="410138"/>
              </a:xfrm>
              <a:prstGeom prst="rect">
                <a:avLst/>
              </a:prstGeom>
            </p:spPr>
          </p:pic>
          <p:pic>
            <p:nvPicPr>
              <p:cNvPr id="35" name="Graphic 34" descr="Arrow: Straight with solid fill">
                <a:extLst>
                  <a:ext uri="{FF2B5EF4-FFF2-40B4-BE49-F238E27FC236}">
                    <a16:creationId xmlns:a16="http://schemas.microsoft.com/office/drawing/2014/main" id="{0F45D3BF-B50C-8122-7E35-B1267DF1D2B2}"/>
                  </a:ext>
                </a:extLst>
              </p:cNvPr>
              <p:cNvPicPr>
                <a:picLocks noChangeAspect="1"/>
              </p:cNvPicPr>
              <p:nvPr userDrawn="1"/>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11075627" y="473074"/>
                <a:ext cx="417605" cy="410138"/>
              </a:xfrm>
              <a:prstGeom prst="rect">
                <a:avLst/>
              </a:prstGeom>
            </p:spPr>
          </p:pic>
        </p:grpSp>
      </p:grpSp>
    </p:spTree>
    <p:extLst>
      <p:ext uri="{BB962C8B-B14F-4D97-AF65-F5344CB8AC3E}">
        <p14:creationId xmlns:p14="http://schemas.microsoft.com/office/powerpoint/2010/main" val="1929061361"/>
      </p:ext>
    </p:extLst>
  </p:cSld>
  <p:clrMapOvr>
    <a:masterClrMapping/>
  </p:clrMapOvr>
  <p:extLst>
    <p:ext uri="{DCECCB84-F9BA-43D5-87BE-67443E8EF086}">
      <p15:sldGuideLst xmlns:p15="http://schemas.microsoft.com/office/powerpoint/2012/main">
        <p15:guide id="1" pos="551">
          <p15:clr>
            <a:srgbClr val="5ACBF0"/>
          </p15:clr>
        </p15:guide>
        <p15:guide id="2" pos="2479">
          <p15:clr>
            <a:srgbClr val="5ACBF0"/>
          </p15:clr>
        </p15:guide>
        <p15:guide id="3" pos="2955">
          <p15:clr>
            <a:srgbClr val="5ACBF0"/>
          </p15:clr>
        </p15:guide>
        <p15:guide id="4" pos="4861">
          <p15:clr>
            <a:srgbClr val="5ACBF0"/>
          </p15:clr>
        </p15:guide>
        <p15:guide id="5" pos="7242">
          <p15:clr>
            <a:srgbClr val="5ACBF0"/>
          </p15:clr>
        </p15:guide>
        <p15:guide id="6" pos="5337">
          <p15:clr>
            <a:srgbClr val="5ACBF0"/>
          </p15:clr>
        </p15:guide>
        <p15:guide id="7" orient="horz" pos="1094">
          <p15:clr>
            <a:srgbClr val="5ACBF0"/>
          </p15:clr>
        </p15:guide>
        <p15:guide id="8" orient="horz" pos="1933">
          <p15:clr>
            <a:srgbClr val="5ACBF0"/>
          </p15:clr>
        </p15:guide>
        <p15:guide id="9" orient="horz" pos="799">
          <p15:clr>
            <a:srgbClr val="F26B43"/>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ey Data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11430000" cy="215999"/>
          </a:xfrm>
          <a:noFill/>
        </p:spPr>
        <p:txBody>
          <a:bodyPr lIns="0">
            <a:noAutofit/>
          </a:bodyPr>
          <a:lstStyle>
            <a:lvl1pPr>
              <a:defRPr sz="1000" b="0">
                <a:solidFill>
                  <a:schemeClr val="bg2">
                    <a:lumMod val="10000"/>
                  </a:schemeClr>
                </a:solidFill>
              </a:defRPr>
            </a:lvl1pPr>
            <a:lvl5pPr>
              <a:defRPr sz="700">
                <a:solidFill>
                  <a:schemeClr val="tx1"/>
                </a:solidFill>
              </a:defRPr>
            </a:lvl5pPr>
          </a:lstStyle>
          <a:p>
            <a:pPr lvl="0"/>
            <a:r>
              <a:rPr lang="en-US"/>
              <a:t>Add your DATA source here</a:t>
            </a:r>
            <a:endParaRPr lang="en-GB"/>
          </a:p>
        </p:txBody>
      </p:sp>
      <p:sp>
        <p:nvSpPr>
          <p:cNvPr id="6" name="Table Placeholder 5">
            <a:extLst>
              <a:ext uri="{FF2B5EF4-FFF2-40B4-BE49-F238E27FC236}">
                <a16:creationId xmlns:a16="http://schemas.microsoft.com/office/drawing/2014/main" id="{846E78D3-677C-7EEB-5DCC-838E09C1BFD1}"/>
              </a:ext>
            </a:extLst>
          </p:cNvPr>
          <p:cNvSpPr>
            <a:spLocks noGrp="1"/>
          </p:cNvSpPr>
          <p:nvPr>
            <p:ph type="tbl" sz="quarter" idx="16"/>
          </p:nvPr>
        </p:nvSpPr>
        <p:spPr>
          <a:xfrm>
            <a:off x="413548" y="1299600"/>
            <a:ext cx="11364913" cy="4613838"/>
          </a:xfrm>
          <a:noFill/>
        </p:spPr>
        <p:txBody>
          <a:bodyPr/>
          <a:lstStyle>
            <a:lvl1pPr algn="ctr">
              <a:defRPr b="0"/>
            </a:lvl1pPr>
          </a:lstStyle>
          <a:p>
            <a:endParaRPr lang="en-GB"/>
          </a:p>
        </p:txBody>
      </p:sp>
      <p:sp>
        <p:nvSpPr>
          <p:cNvPr id="15" name="Footer Placeholder 4">
            <a:extLst>
              <a:ext uri="{FF2B5EF4-FFF2-40B4-BE49-F238E27FC236}">
                <a16:creationId xmlns:a16="http://schemas.microsoft.com/office/drawing/2014/main" id="{51FD0202-2933-261F-FDB3-97C8B4591D9E}"/>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Tree>
    <p:extLst>
      <p:ext uri="{BB962C8B-B14F-4D97-AF65-F5344CB8AC3E}">
        <p14:creationId xmlns:p14="http://schemas.microsoft.com/office/powerpoint/2010/main" val="3793560822"/>
      </p:ext>
    </p:extLst>
  </p:cSld>
  <p:clrMapOvr>
    <a:masterClrMapping/>
  </p:clrMapOvr>
  <p:extLst>
    <p:ext uri="{DCECCB84-F9BA-43D5-87BE-67443E8EF086}">
      <p15:sldGuideLst xmlns:p15="http://schemas.microsoft.com/office/powerpoint/2012/main">
        <p15:guide id="1" orient="horz" pos="618">
          <p15:clr>
            <a:srgbClr val="F26B43"/>
          </p15:clr>
        </p15:guide>
        <p15:guide id="2" orient="horz" pos="3725">
          <p15:clr>
            <a:srgbClr val="F26B43"/>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 Content + Text -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3537" y="1251472"/>
            <a:ext cx="7560000" cy="288000"/>
          </a:xfrm>
          <a:noFill/>
        </p:spPr>
        <p:txBody>
          <a:bodyPr lIns="0">
            <a:noAutofit/>
          </a:bodyPr>
          <a:lstStyle>
            <a:lvl1pPr>
              <a:defRPr sz="1300">
                <a:solidFill>
                  <a:schemeClr val="accent6"/>
                </a:solidFill>
              </a:defRPr>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2749" y="1618672"/>
            <a:ext cx="7560000" cy="4284000"/>
          </a:xfrm>
          <a:noFill/>
        </p:spPr>
        <p:txBody>
          <a:bodyPr/>
          <a:lstStyle>
            <a:lvl1pPr algn="ctr">
              <a:defRPr b="0"/>
            </a:lvl1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hasCustomPrompt="1"/>
          </p:nvPr>
        </p:nvSpPr>
        <p:spPr>
          <a:xfrm>
            <a:off x="7998461" y="1251472"/>
            <a:ext cx="3780000" cy="4928400"/>
          </a:xfrm>
          <a:noFill/>
          <a:effectLst/>
        </p:spPr>
        <p:txBody>
          <a:bodyPr vert="horz" lIns="252000" tIns="252000" rIns="252000" bIns="252000" rtlCol="0" anchor="ctr" anchorCtr="0">
            <a:noAutofit/>
          </a:bodyPr>
          <a:lstStyle>
            <a:lvl1pPr>
              <a:defRPr lang="en-US"/>
            </a:lvl1pPr>
            <a:lvl2pPr>
              <a:defRPr lang="en-US"/>
            </a:lvl2pPr>
            <a:lvl3pPr>
              <a:defRPr lang="en-US"/>
            </a:lvl3pPr>
            <a:lvl4pPr>
              <a:defRPr lang="en-US"/>
            </a:lvl4pPr>
            <a:lvl5pPr>
              <a:defRPr lang="en-GB"/>
            </a:lvl5pPr>
          </a:lstStyle>
          <a:p>
            <a:pPr lvl="0"/>
            <a:r>
              <a:rPr lang="en-US"/>
              <a:t>Active Headline</a:t>
            </a:r>
          </a:p>
          <a:p>
            <a:pPr lvl="1"/>
            <a:r>
              <a:rPr lang="en-US"/>
              <a:t>Body text</a:t>
            </a:r>
          </a:p>
          <a:p>
            <a:pPr lvl="2"/>
            <a:r>
              <a:rPr lang="en-US"/>
              <a:t>Bullets</a:t>
            </a:r>
          </a:p>
          <a:p>
            <a:pPr lvl="3"/>
            <a:r>
              <a:rPr lang="en-US"/>
              <a:t>2nd level bullets</a:t>
            </a:r>
          </a:p>
          <a:p>
            <a:pPr lvl="4"/>
            <a:r>
              <a:rPr lang="en-US"/>
              <a:t>Notes tex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5982936"/>
            <a:ext cx="7585200" cy="215999"/>
          </a:xfrm>
          <a:noFill/>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17" name="Footer Placeholder 4">
            <a:extLst>
              <a:ext uri="{FF2B5EF4-FFF2-40B4-BE49-F238E27FC236}">
                <a16:creationId xmlns:a16="http://schemas.microsoft.com/office/drawing/2014/main" id="{7E01DB59-9B37-F04F-3777-8FF058C3589A}"/>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Tree>
    <p:extLst>
      <p:ext uri="{BB962C8B-B14F-4D97-AF65-F5344CB8AC3E}">
        <p14:creationId xmlns:p14="http://schemas.microsoft.com/office/powerpoint/2010/main" val="1270965384"/>
      </p:ext>
    </p:extLst>
  </p:cSld>
  <p:clrMapOvr>
    <a:masterClrMapping/>
  </p:clrMapOvr>
  <p:extLst>
    <p:ext uri="{DCECCB84-F9BA-43D5-87BE-67443E8EF086}">
      <p15:sldGuideLst xmlns:p15="http://schemas.microsoft.com/office/powerpoint/2012/main">
        <p15:guide id="1" pos="665">
          <p15:clr>
            <a:srgbClr val="5ACBF0"/>
          </p15:clr>
        </p15:guide>
        <p15:guide id="2" pos="4747">
          <p15:clr>
            <a:srgbClr val="5ACBF0"/>
          </p15:clr>
        </p15:guide>
        <p15:guide id="3" orient="horz" pos="1457">
          <p15:clr>
            <a:srgbClr val="5ACBF0"/>
          </p15:clr>
        </p15:guide>
        <p15:guide id="4" orient="horz" pos="3294">
          <p15:clr>
            <a:srgbClr val="5ACBF0"/>
          </p15:clr>
        </p15:guide>
        <p15:guide id="5" orient="horz" pos="913">
          <p15:clr>
            <a:srgbClr val="F26B43"/>
          </p15:clr>
        </p15:guide>
        <p15:guide id="6" orient="horz" pos="3702">
          <p15:clr>
            <a:srgbClr val="F26B43"/>
          </p15:clr>
        </p15:guide>
        <p15:guide id="7" pos="5042">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Content + Text -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3536" y="1251472"/>
            <a:ext cx="7585200" cy="288000"/>
          </a:xfrm>
          <a:noFill/>
        </p:spPr>
        <p:txBody>
          <a:bodyPr lIns="0">
            <a:noAutofit/>
          </a:bodyPr>
          <a:lstStyle>
            <a:lvl1pPr>
              <a:defRPr sz="1300">
                <a:solidFill>
                  <a:schemeClr val="accent6"/>
                </a:solidFill>
              </a:defRPr>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3999" y="1578916"/>
            <a:ext cx="7585200" cy="2016000"/>
          </a:xfrm>
          <a:noFill/>
        </p:spPr>
        <p:txBody>
          <a:bodyPr/>
          <a:lstStyle>
            <a:lvl1pPr algn="ctr">
              <a:defRPr b="0"/>
            </a:lvl1pPr>
            <a:lvl5pPr>
              <a:defRPr/>
            </a:lvl5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hasCustomPrompt="1"/>
          </p:nvPr>
        </p:nvSpPr>
        <p:spPr>
          <a:xfrm>
            <a:off x="7998461" y="1251472"/>
            <a:ext cx="3780000" cy="4928400"/>
          </a:xfrm>
          <a:noFill/>
          <a:effectLst/>
        </p:spPr>
        <p:txBody>
          <a:bodyPr vert="horz" lIns="252000" tIns="252000" rIns="252000" bIns="252000" rtlCol="0" anchor="ctr" anchorCtr="0">
            <a:noAutofit/>
          </a:bodyPr>
          <a:lstStyle>
            <a:lvl1pPr>
              <a:defRPr lang="en-US"/>
            </a:lvl1pPr>
            <a:lvl2pPr>
              <a:defRPr lang="en-US"/>
            </a:lvl2pPr>
            <a:lvl3pPr>
              <a:defRPr lang="en-US"/>
            </a:lvl3pPr>
            <a:lvl4pPr>
              <a:defRPr lang="en-US"/>
            </a:lvl4pPr>
            <a:lvl5pPr>
              <a:defRPr lang="en-GB"/>
            </a:lvl5pPr>
          </a:lstStyle>
          <a:p>
            <a:pPr lvl="0"/>
            <a:r>
              <a:rPr lang="en-US"/>
              <a:t>Active Headline</a:t>
            </a:r>
          </a:p>
          <a:p>
            <a:pPr lvl="1"/>
            <a:r>
              <a:rPr lang="en-US"/>
              <a:t>Body text</a:t>
            </a:r>
          </a:p>
          <a:p>
            <a:pPr lvl="2"/>
            <a:r>
              <a:rPr lang="en-US"/>
              <a:t>Bullets</a:t>
            </a:r>
          </a:p>
          <a:p>
            <a:pPr lvl="3"/>
            <a:r>
              <a:rPr lang="en-US"/>
              <a:t>2nd level bullets</a:t>
            </a:r>
          </a:p>
          <a:p>
            <a:pPr lvl="4"/>
            <a:r>
              <a:rPr lang="en-US"/>
              <a:t>Notes tex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7585200" cy="215999"/>
          </a:xfrm>
          <a:noFill/>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9" name="Text Placeholder 5">
            <a:extLst>
              <a:ext uri="{FF2B5EF4-FFF2-40B4-BE49-F238E27FC236}">
                <a16:creationId xmlns:a16="http://schemas.microsoft.com/office/drawing/2014/main" id="{D49A370F-20C1-AE2C-2D28-B67039D93F62}"/>
              </a:ext>
            </a:extLst>
          </p:cNvPr>
          <p:cNvSpPr>
            <a:spLocks noGrp="1"/>
          </p:cNvSpPr>
          <p:nvPr>
            <p:ph type="body" sz="quarter" idx="16" hasCustomPrompt="1"/>
          </p:nvPr>
        </p:nvSpPr>
        <p:spPr>
          <a:xfrm>
            <a:off x="414000" y="3636899"/>
            <a:ext cx="7585200" cy="288000"/>
          </a:xfrm>
          <a:noFill/>
        </p:spPr>
        <p:txBody>
          <a:bodyPr lIns="0">
            <a:noAutofit/>
          </a:bodyPr>
          <a:lstStyle>
            <a:lvl1pPr>
              <a:defRPr sz="1300">
                <a:solidFill>
                  <a:schemeClr val="accent6"/>
                </a:solidFill>
              </a:defRPr>
            </a:lvl1pPr>
          </a:lstStyle>
          <a:p>
            <a:pPr lvl="0"/>
            <a:r>
              <a:rPr lang="en-US"/>
              <a:t>Chart headline</a:t>
            </a:r>
          </a:p>
        </p:txBody>
      </p:sp>
      <p:sp>
        <p:nvSpPr>
          <p:cNvPr id="11" name="Content Placeholder 7">
            <a:extLst>
              <a:ext uri="{FF2B5EF4-FFF2-40B4-BE49-F238E27FC236}">
                <a16:creationId xmlns:a16="http://schemas.microsoft.com/office/drawing/2014/main" id="{9AE049FE-3B8F-256A-D7E8-577C76D40781}"/>
              </a:ext>
            </a:extLst>
          </p:cNvPr>
          <p:cNvSpPr>
            <a:spLocks noGrp="1"/>
          </p:cNvSpPr>
          <p:nvPr>
            <p:ph sz="quarter" idx="17" hasCustomPrompt="1"/>
          </p:nvPr>
        </p:nvSpPr>
        <p:spPr>
          <a:xfrm>
            <a:off x="413027" y="3966538"/>
            <a:ext cx="7585200" cy="2016000"/>
          </a:xfrm>
          <a:noFill/>
        </p:spPr>
        <p:txBody>
          <a:bodyPr/>
          <a:lstStyle>
            <a:lvl1pPr algn="ctr">
              <a:defRPr b="0"/>
            </a:lvl1pPr>
            <a:lvl5pPr>
              <a:defRPr/>
            </a:lvl5pPr>
          </a:lstStyle>
          <a:p>
            <a:pPr lvl="0"/>
            <a:r>
              <a:rPr lang="en-US"/>
              <a:t>Insert Chart</a:t>
            </a:r>
            <a:endParaRPr lang="en-GB"/>
          </a:p>
        </p:txBody>
      </p:sp>
      <p:sp>
        <p:nvSpPr>
          <p:cNvPr id="19" name="Footer Placeholder 4">
            <a:extLst>
              <a:ext uri="{FF2B5EF4-FFF2-40B4-BE49-F238E27FC236}">
                <a16:creationId xmlns:a16="http://schemas.microsoft.com/office/drawing/2014/main" id="{B0FE7F07-C9DD-79C9-6757-C27B73B8C7A5}"/>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Tree>
    <p:extLst>
      <p:ext uri="{BB962C8B-B14F-4D97-AF65-F5344CB8AC3E}">
        <p14:creationId xmlns:p14="http://schemas.microsoft.com/office/powerpoint/2010/main" val="1460087213"/>
      </p:ext>
    </p:extLst>
  </p:cSld>
  <p:clrMapOvr>
    <a:masterClrMapping/>
  </p:clrMapOvr>
  <p:extLst>
    <p:ext uri="{DCECCB84-F9BA-43D5-87BE-67443E8EF086}">
      <p15:sldGuideLst xmlns:p15="http://schemas.microsoft.com/office/powerpoint/2012/main">
        <p15:guide id="1" pos="665">
          <p15:clr>
            <a:srgbClr val="5ACBF0"/>
          </p15:clr>
        </p15:guide>
        <p15:guide id="4" pos="4747">
          <p15:clr>
            <a:srgbClr val="5ACBF0"/>
          </p15:clr>
        </p15:guide>
        <p15:guide id="5" orient="horz" pos="1071">
          <p15:clr>
            <a:srgbClr val="5ACBF0"/>
          </p15:clr>
        </p15:guide>
        <p15:guide id="6" orient="horz" pos="1911">
          <p15:clr>
            <a:srgbClr val="5ACBF0"/>
          </p15:clr>
        </p15:guide>
        <p15:guide id="7" orient="horz" pos="3521">
          <p15:clr>
            <a:srgbClr val="5ACBF0"/>
          </p15:clr>
        </p15:guide>
        <p15:guide id="8" orient="horz" pos="2636">
          <p15:clr>
            <a:srgbClr val="5ACBF0"/>
          </p15:clr>
        </p15:guide>
        <p15:guide id="9" orient="horz" pos="799">
          <p15:clr>
            <a:srgbClr val="F26B43"/>
          </p15:clr>
        </p15:guide>
        <p15:guide id="10" orient="horz" pos="2364">
          <p15:clr>
            <a:srgbClr val="F26B43"/>
          </p15:clr>
        </p15:guide>
        <p15:guide id="11" orient="horz" pos="3725">
          <p15:clr>
            <a:srgbClr val="F26B43"/>
          </p15:clr>
        </p15:guide>
        <p15:guide id="12" pos="5042">
          <p15:clr>
            <a:srgbClr val="F26B43"/>
          </p15:clr>
        </p15:guide>
        <p15:guide id="13" pos="2638">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mp; Blank_OUTLOOK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54A3B3-09B6-A14C-111C-44FA9910F53A}"/>
              </a:ext>
            </a:extLst>
          </p:cNvPr>
          <p:cNvSpPr>
            <a:spLocks noGrp="1"/>
          </p:cNvSpPr>
          <p:nvPr>
            <p:ph type="title"/>
          </p:nvPr>
        </p:nvSpPr>
        <p:spPr/>
        <p:txBody>
          <a:bodyPr/>
          <a:lstStyle/>
          <a:p>
            <a:r>
              <a:rPr lang="en-US"/>
              <a:t>Click to edit Master title style</a:t>
            </a:r>
            <a:endParaRPr lang="en-GB"/>
          </a:p>
        </p:txBody>
      </p:sp>
      <p:sp>
        <p:nvSpPr>
          <p:cNvPr id="4" name="Footer Placeholder 3">
            <a:extLst>
              <a:ext uri="{FF2B5EF4-FFF2-40B4-BE49-F238E27FC236}">
                <a16:creationId xmlns:a16="http://schemas.microsoft.com/office/drawing/2014/main" id="{C089F6B3-B184-CD35-917E-7E6D3B7A8CDE}"/>
              </a:ext>
            </a:extLst>
          </p:cNvPr>
          <p:cNvSpPr>
            <a:spLocks noGrp="1"/>
          </p:cNvSpPr>
          <p:nvPr>
            <p:ph type="ftr" sz="quarter" idx="11"/>
          </p:nvPr>
        </p:nvSpPr>
        <p:spPr/>
        <p:txBody>
          <a:bodyPr/>
          <a:lstStyle/>
          <a:p>
            <a:r>
              <a:rPr lang="en-US"/>
              <a:t>Co &amp; Li supply: stopgap or structural shift</a:t>
            </a:r>
            <a:endParaRPr lang="en-GB"/>
          </a:p>
        </p:txBody>
      </p:sp>
      <p:sp>
        <p:nvSpPr>
          <p:cNvPr id="6" name="Content Placeholder 7">
            <a:extLst>
              <a:ext uri="{FF2B5EF4-FFF2-40B4-BE49-F238E27FC236}">
                <a16:creationId xmlns:a16="http://schemas.microsoft.com/office/drawing/2014/main" id="{4C4CE95A-F585-280E-7C05-6A4582FA0F9C}"/>
              </a:ext>
            </a:extLst>
          </p:cNvPr>
          <p:cNvSpPr>
            <a:spLocks noGrp="1"/>
          </p:cNvSpPr>
          <p:nvPr>
            <p:ph sz="quarter" idx="4294967295"/>
          </p:nvPr>
        </p:nvSpPr>
        <p:spPr>
          <a:xfrm>
            <a:off x="397585" y="1480931"/>
            <a:ext cx="11062225" cy="4712301"/>
          </a:xfrm>
        </p:spPr>
        <p:txBody>
          <a:bodyPr>
            <a:normAutofit/>
          </a:bodyPr>
          <a:lstStyle/>
          <a:p>
            <a:pPr marL="0" indent="0">
              <a:lnSpc>
                <a:spcPct val="120000"/>
              </a:lnSpc>
              <a:buFont typeface="Arial" panose="020B0604020202020204" pitchFamily="34" charset="0"/>
              <a:buNone/>
            </a:pPr>
            <a:endParaRPr lang="en-GB" sz="1600"/>
          </a:p>
          <a:p>
            <a:pPr>
              <a:lnSpc>
                <a:spcPct val="120000"/>
              </a:lnSpc>
            </a:pPr>
            <a:endParaRPr lang="en-GB" sz="1600"/>
          </a:p>
        </p:txBody>
      </p:sp>
    </p:spTree>
    <p:extLst>
      <p:ext uri="{BB962C8B-B14F-4D97-AF65-F5344CB8AC3E}">
        <p14:creationId xmlns:p14="http://schemas.microsoft.com/office/powerpoint/2010/main" val="12847169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4 Content + Text -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p:nvPr>
        </p:nvSpPr>
        <p:spPr>
          <a:xfrm>
            <a:off x="413537" y="1251472"/>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4000" y="1618672"/>
            <a:ext cx="3780000" cy="4284000"/>
          </a:xfrm>
          <a:noFill/>
        </p:spPr>
        <p:txBody>
          <a:bodyPr/>
          <a:lstStyle>
            <a:lvl1pPr algn="ctr">
              <a:defRPr b="0"/>
            </a:lvl1pPr>
            <a:lvl5pPr>
              <a:defRPr/>
            </a:lvl5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hasCustomPrompt="1"/>
          </p:nvPr>
        </p:nvSpPr>
        <p:spPr>
          <a:xfrm>
            <a:off x="7998461" y="1251472"/>
            <a:ext cx="3780000" cy="4936100"/>
          </a:xfrm>
          <a:noFill/>
          <a:effectLst/>
        </p:spPr>
        <p:txBody>
          <a:bodyPr vert="horz" lIns="252000" tIns="252000" rIns="252000" bIns="252000" rtlCol="0" anchor="ctr" anchorCtr="0">
            <a:noAutofit/>
          </a:bodyPr>
          <a:lstStyle>
            <a:lvl1pPr>
              <a:defRPr lang="en-US"/>
            </a:lvl1pPr>
            <a:lvl2pPr>
              <a:defRPr lang="en-US"/>
            </a:lvl2pPr>
            <a:lvl3pPr>
              <a:defRPr lang="en-US"/>
            </a:lvl3pPr>
            <a:lvl4pPr>
              <a:defRPr lang="en-US"/>
            </a:lvl4pPr>
            <a:lvl5pPr>
              <a:defRPr lang="en-GB"/>
            </a:lvl5pPr>
          </a:lstStyle>
          <a:p>
            <a:pPr lvl="0"/>
            <a:r>
              <a:rPr lang="en-US"/>
              <a:t>Active Headline</a:t>
            </a:r>
          </a:p>
          <a:p>
            <a:pPr lvl="1"/>
            <a:r>
              <a:rPr lang="en-US"/>
              <a:t>Body text</a:t>
            </a:r>
          </a:p>
          <a:p>
            <a:pPr lvl="2"/>
            <a:r>
              <a:rPr lang="en-US"/>
              <a:t>Bullets</a:t>
            </a:r>
          </a:p>
          <a:p>
            <a:pPr lvl="3"/>
            <a:r>
              <a:rPr lang="en-US"/>
              <a:t>2nd level bullets</a:t>
            </a:r>
          </a:p>
          <a:p>
            <a:pPr lvl="4"/>
            <a:r>
              <a:rPr lang="en-US"/>
              <a:t>Notes tex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7560000" cy="215999"/>
          </a:xfrm>
          <a:noFill/>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13" name="Text Placeholder 5">
            <a:extLst>
              <a:ext uri="{FF2B5EF4-FFF2-40B4-BE49-F238E27FC236}">
                <a16:creationId xmlns:a16="http://schemas.microsoft.com/office/drawing/2014/main" id="{0F05E3CC-77D8-00D4-3892-43359D3D440D}"/>
              </a:ext>
            </a:extLst>
          </p:cNvPr>
          <p:cNvSpPr>
            <a:spLocks noGrp="1"/>
          </p:cNvSpPr>
          <p:nvPr>
            <p:ph type="body" sz="quarter" idx="20"/>
          </p:nvPr>
        </p:nvSpPr>
        <p:spPr>
          <a:xfrm>
            <a:off x="4212000" y="1251472"/>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14" name="Content Placeholder 7">
            <a:extLst>
              <a:ext uri="{FF2B5EF4-FFF2-40B4-BE49-F238E27FC236}">
                <a16:creationId xmlns:a16="http://schemas.microsoft.com/office/drawing/2014/main" id="{CB8F5FCB-FB91-1CC1-0B13-4616C17F6F8D}"/>
              </a:ext>
            </a:extLst>
          </p:cNvPr>
          <p:cNvSpPr>
            <a:spLocks noGrp="1"/>
          </p:cNvSpPr>
          <p:nvPr>
            <p:ph sz="quarter" idx="21" hasCustomPrompt="1"/>
          </p:nvPr>
        </p:nvSpPr>
        <p:spPr>
          <a:xfrm>
            <a:off x="4211999" y="1618672"/>
            <a:ext cx="3780000" cy="4284000"/>
          </a:xfrm>
          <a:noFill/>
        </p:spPr>
        <p:txBody>
          <a:bodyPr/>
          <a:lstStyle>
            <a:lvl1pPr algn="ctr">
              <a:defRPr b="0"/>
            </a:lvl1pPr>
            <a:lvl5pPr>
              <a:defRPr/>
            </a:lvl5pPr>
          </a:lstStyle>
          <a:p>
            <a:pPr lvl="0"/>
            <a:r>
              <a:rPr lang="en-US"/>
              <a:t>Insert Chart</a:t>
            </a:r>
            <a:endParaRPr lang="en-GB"/>
          </a:p>
        </p:txBody>
      </p:sp>
      <p:sp>
        <p:nvSpPr>
          <p:cNvPr id="19" name="Footer Placeholder 4">
            <a:extLst>
              <a:ext uri="{FF2B5EF4-FFF2-40B4-BE49-F238E27FC236}">
                <a16:creationId xmlns:a16="http://schemas.microsoft.com/office/drawing/2014/main" id="{A7EAE299-1F76-73EE-8745-EE23D4D11B09}"/>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Tree>
    <p:extLst>
      <p:ext uri="{BB962C8B-B14F-4D97-AF65-F5344CB8AC3E}">
        <p14:creationId xmlns:p14="http://schemas.microsoft.com/office/powerpoint/2010/main" val="3968402759"/>
      </p:ext>
    </p:extLst>
  </p:cSld>
  <p:clrMapOvr>
    <a:masterClrMapping/>
  </p:clrMapOvr>
  <p:extLst>
    <p:ext uri="{DCECCB84-F9BA-43D5-87BE-67443E8EF086}">
      <p15:sldGuideLst xmlns:p15="http://schemas.microsoft.com/office/powerpoint/2012/main">
        <p15:guide id="1" pos="665">
          <p15:clr>
            <a:srgbClr val="5ACBF0"/>
          </p15:clr>
        </p15:guide>
        <p15:guide id="2" pos="2434">
          <p15:clr>
            <a:srgbClr val="5ACBF0"/>
          </p15:clr>
        </p15:guide>
        <p15:guide id="3" pos="3069">
          <p15:clr>
            <a:srgbClr val="5ACBF0"/>
          </p15:clr>
        </p15:guide>
        <p15:guide id="4" pos="4838">
          <p15:clr>
            <a:srgbClr val="5ACBF0"/>
          </p15:clr>
        </p15:guide>
        <p15:guide id="5" orient="horz" pos="1253">
          <p15:clr>
            <a:srgbClr val="5ACBF0"/>
          </p15:clr>
        </p15:guide>
        <p15:guide id="7" orient="horz" pos="3271">
          <p15:clr>
            <a:srgbClr val="5ACBF0"/>
          </p15:clr>
        </p15:guide>
        <p15:guide id="9" orient="horz" pos="799">
          <p15:clr>
            <a:srgbClr val="F26B43"/>
          </p15:clr>
        </p15:guide>
        <p15:guide id="11" orient="horz" pos="3725">
          <p15:clr>
            <a:srgbClr val="F26B43"/>
          </p15:clr>
        </p15:guide>
        <p15:guide id="12" pos="5042">
          <p15:clr>
            <a:srgbClr val="F26B43"/>
          </p15:clr>
        </p15:guide>
        <p15:guide id="13" pos="2638">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4 Content + Text -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p:nvPr>
        </p:nvSpPr>
        <p:spPr>
          <a:xfrm>
            <a:off x="413537" y="1251472"/>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4000" y="1618672"/>
            <a:ext cx="3780000" cy="4284000"/>
          </a:xfrm>
          <a:noFill/>
        </p:spPr>
        <p:txBody>
          <a:bodyPr/>
          <a:lstStyle>
            <a:lvl1pPr algn="ctr">
              <a:defRPr b="0"/>
            </a:lvl1pPr>
            <a:lvl5pPr>
              <a:defRPr/>
            </a:lvl5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hasCustomPrompt="1"/>
          </p:nvPr>
        </p:nvSpPr>
        <p:spPr>
          <a:xfrm>
            <a:off x="7998461" y="1251472"/>
            <a:ext cx="3780000" cy="4936100"/>
          </a:xfrm>
          <a:noFill/>
          <a:effectLst/>
        </p:spPr>
        <p:txBody>
          <a:bodyPr vert="horz" lIns="252000" tIns="252000" rIns="252000" bIns="252000" rtlCol="0" anchor="ctr" anchorCtr="0">
            <a:noAutofit/>
          </a:bodyPr>
          <a:lstStyle>
            <a:lvl1pPr>
              <a:defRPr lang="en-US"/>
            </a:lvl1pPr>
            <a:lvl2pPr>
              <a:defRPr lang="en-US"/>
            </a:lvl2pPr>
            <a:lvl3pPr>
              <a:defRPr lang="en-US"/>
            </a:lvl3pPr>
            <a:lvl4pPr>
              <a:defRPr lang="en-US"/>
            </a:lvl4pPr>
            <a:lvl5pPr>
              <a:defRPr lang="en-GB"/>
            </a:lvl5pPr>
          </a:lstStyle>
          <a:p>
            <a:pPr lvl="0"/>
            <a:r>
              <a:rPr lang="en-US"/>
              <a:t>Active Headline</a:t>
            </a:r>
          </a:p>
          <a:p>
            <a:pPr lvl="1"/>
            <a:r>
              <a:rPr lang="en-US"/>
              <a:t>Body text</a:t>
            </a:r>
          </a:p>
          <a:p>
            <a:pPr lvl="2"/>
            <a:r>
              <a:rPr lang="en-US"/>
              <a:t>Bullets</a:t>
            </a:r>
          </a:p>
          <a:p>
            <a:pPr lvl="3"/>
            <a:r>
              <a:rPr lang="en-US"/>
              <a:t>2nd level bullets</a:t>
            </a:r>
          </a:p>
          <a:p>
            <a:pPr lvl="4"/>
            <a:r>
              <a:rPr lang="en-US"/>
              <a:t>Notes tex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7560000" cy="215999"/>
          </a:xfrm>
          <a:noFill/>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13" name="Text Placeholder 5">
            <a:extLst>
              <a:ext uri="{FF2B5EF4-FFF2-40B4-BE49-F238E27FC236}">
                <a16:creationId xmlns:a16="http://schemas.microsoft.com/office/drawing/2014/main" id="{0F05E3CC-77D8-00D4-3892-43359D3D440D}"/>
              </a:ext>
            </a:extLst>
          </p:cNvPr>
          <p:cNvSpPr>
            <a:spLocks noGrp="1"/>
          </p:cNvSpPr>
          <p:nvPr>
            <p:ph type="body" sz="quarter" idx="20"/>
          </p:nvPr>
        </p:nvSpPr>
        <p:spPr>
          <a:xfrm>
            <a:off x="4212000" y="1251472"/>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14" name="Content Placeholder 7">
            <a:extLst>
              <a:ext uri="{FF2B5EF4-FFF2-40B4-BE49-F238E27FC236}">
                <a16:creationId xmlns:a16="http://schemas.microsoft.com/office/drawing/2014/main" id="{CB8F5FCB-FB91-1CC1-0B13-4616C17F6F8D}"/>
              </a:ext>
            </a:extLst>
          </p:cNvPr>
          <p:cNvSpPr>
            <a:spLocks noGrp="1"/>
          </p:cNvSpPr>
          <p:nvPr>
            <p:ph sz="quarter" idx="21" hasCustomPrompt="1"/>
          </p:nvPr>
        </p:nvSpPr>
        <p:spPr>
          <a:xfrm>
            <a:off x="4211999" y="1618672"/>
            <a:ext cx="3780000" cy="1921970"/>
          </a:xfrm>
          <a:noFill/>
        </p:spPr>
        <p:txBody>
          <a:bodyPr/>
          <a:lstStyle>
            <a:lvl1pPr algn="ctr">
              <a:defRPr b="0"/>
            </a:lvl1pPr>
            <a:lvl5pPr>
              <a:defRPr/>
            </a:lvl5pPr>
          </a:lstStyle>
          <a:p>
            <a:pPr lvl="0"/>
            <a:r>
              <a:rPr lang="en-US"/>
              <a:t>Insert Chart</a:t>
            </a:r>
            <a:endParaRPr lang="en-GB"/>
          </a:p>
        </p:txBody>
      </p:sp>
      <p:sp>
        <p:nvSpPr>
          <p:cNvPr id="19" name="Footer Placeholder 4">
            <a:extLst>
              <a:ext uri="{FF2B5EF4-FFF2-40B4-BE49-F238E27FC236}">
                <a16:creationId xmlns:a16="http://schemas.microsoft.com/office/drawing/2014/main" id="{A7EAE299-1F76-73EE-8745-EE23D4D11B09}"/>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
        <p:nvSpPr>
          <p:cNvPr id="3" name="Text Placeholder 5">
            <a:extLst>
              <a:ext uri="{FF2B5EF4-FFF2-40B4-BE49-F238E27FC236}">
                <a16:creationId xmlns:a16="http://schemas.microsoft.com/office/drawing/2014/main" id="{3B4901AB-1B19-543F-ECDA-5EDB06FBE945}"/>
              </a:ext>
            </a:extLst>
          </p:cNvPr>
          <p:cNvSpPr>
            <a:spLocks noGrp="1"/>
          </p:cNvSpPr>
          <p:nvPr>
            <p:ph type="body" sz="quarter" idx="22"/>
          </p:nvPr>
        </p:nvSpPr>
        <p:spPr>
          <a:xfrm>
            <a:off x="4194279" y="3615442"/>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4" name="Content Placeholder 7">
            <a:extLst>
              <a:ext uri="{FF2B5EF4-FFF2-40B4-BE49-F238E27FC236}">
                <a16:creationId xmlns:a16="http://schemas.microsoft.com/office/drawing/2014/main" id="{B6F18716-63C2-AE24-B37F-79B81DD9347F}"/>
              </a:ext>
            </a:extLst>
          </p:cNvPr>
          <p:cNvSpPr>
            <a:spLocks noGrp="1"/>
          </p:cNvSpPr>
          <p:nvPr>
            <p:ph sz="quarter" idx="23" hasCustomPrompt="1"/>
          </p:nvPr>
        </p:nvSpPr>
        <p:spPr>
          <a:xfrm>
            <a:off x="4194278" y="3982642"/>
            <a:ext cx="3780000" cy="1921970"/>
          </a:xfrm>
          <a:noFill/>
        </p:spPr>
        <p:txBody>
          <a:bodyPr/>
          <a:lstStyle>
            <a:lvl1pPr algn="ctr">
              <a:defRPr b="0"/>
            </a:lvl1pPr>
            <a:lvl5pPr>
              <a:defRPr/>
            </a:lvl5pPr>
          </a:lstStyle>
          <a:p>
            <a:pPr lvl="0"/>
            <a:r>
              <a:rPr lang="en-US"/>
              <a:t>Insert Chart</a:t>
            </a:r>
            <a:endParaRPr lang="en-GB"/>
          </a:p>
        </p:txBody>
      </p:sp>
    </p:spTree>
    <p:extLst>
      <p:ext uri="{BB962C8B-B14F-4D97-AF65-F5344CB8AC3E}">
        <p14:creationId xmlns:p14="http://schemas.microsoft.com/office/powerpoint/2010/main" val="686393470"/>
      </p:ext>
    </p:extLst>
  </p:cSld>
  <p:clrMapOvr>
    <a:masterClrMapping/>
  </p:clrMapOvr>
  <p:extLst>
    <p:ext uri="{DCECCB84-F9BA-43D5-87BE-67443E8EF086}">
      <p15:sldGuideLst xmlns:p15="http://schemas.microsoft.com/office/powerpoint/2012/main">
        <p15:guide id="1" pos="665">
          <p15:clr>
            <a:srgbClr val="5ACBF0"/>
          </p15:clr>
        </p15:guide>
        <p15:guide id="2" pos="2434">
          <p15:clr>
            <a:srgbClr val="5ACBF0"/>
          </p15:clr>
        </p15:guide>
        <p15:guide id="3" pos="3069">
          <p15:clr>
            <a:srgbClr val="5ACBF0"/>
          </p15:clr>
        </p15:guide>
        <p15:guide id="4" pos="4838">
          <p15:clr>
            <a:srgbClr val="5ACBF0"/>
          </p15:clr>
        </p15:guide>
        <p15:guide id="5" orient="horz" pos="1253">
          <p15:clr>
            <a:srgbClr val="5ACBF0"/>
          </p15:clr>
        </p15:guide>
        <p15:guide id="7" orient="horz" pos="3271">
          <p15:clr>
            <a:srgbClr val="5ACBF0"/>
          </p15:clr>
        </p15:guide>
        <p15:guide id="9" orient="horz" pos="799">
          <p15:clr>
            <a:srgbClr val="F26B43"/>
          </p15:clr>
        </p15:guide>
        <p15:guide id="11" orient="horz" pos="3725">
          <p15:clr>
            <a:srgbClr val="F26B43"/>
          </p15:clr>
        </p15:guide>
        <p15:guide id="12" pos="5042">
          <p15:clr>
            <a:srgbClr val="F26B43"/>
          </p15:clr>
        </p15:guide>
        <p15:guide id="13" pos="2638">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3 Content + Text -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3537" y="1251472"/>
            <a:ext cx="7584923" cy="288000"/>
          </a:xfrm>
          <a:noFill/>
        </p:spPr>
        <p:txBody>
          <a:bodyPr lIns="0">
            <a:noAutofit/>
          </a:bodyPr>
          <a:lstStyle>
            <a:lvl1pPr>
              <a:defRPr sz="1300">
                <a:solidFill>
                  <a:schemeClr val="accent6"/>
                </a:solidFill>
              </a:defRPr>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4000" y="1576613"/>
            <a:ext cx="7584923" cy="2016000"/>
          </a:xfrm>
          <a:noFill/>
        </p:spPr>
        <p:txBody>
          <a:bodyPr/>
          <a:lstStyle>
            <a:lvl1pPr algn="ctr">
              <a:defRPr b="0"/>
            </a:lvl1pPr>
            <a:lvl5pPr>
              <a:defRPr/>
            </a:lvl5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hasCustomPrompt="1"/>
          </p:nvPr>
        </p:nvSpPr>
        <p:spPr>
          <a:xfrm>
            <a:off x="7998461" y="1251472"/>
            <a:ext cx="3780000" cy="4928400"/>
          </a:xfrm>
          <a:noFill/>
          <a:effectLst/>
        </p:spPr>
        <p:txBody>
          <a:bodyPr vert="horz" lIns="252000" tIns="252000" rIns="252000" bIns="252000" rtlCol="0" anchor="ctr" anchorCtr="0">
            <a:noAutofit/>
          </a:bodyPr>
          <a:lstStyle>
            <a:lvl1pPr>
              <a:defRPr lang="en-US"/>
            </a:lvl1pPr>
            <a:lvl2pPr>
              <a:defRPr lang="en-US"/>
            </a:lvl2pPr>
            <a:lvl3pPr>
              <a:defRPr lang="en-US"/>
            </a:lvl3pPr>
            <a:lvl4pPr>
              <a:defRPr lang="en-US"/>
            </a:lvl4pPr>
            <a:lvl5pPr>
              <a:defRPr lang="en-GB"/>
            </a:lvl5pPr>
          </a:lstStyle>
          <a:p>
            <a:pPr lvl="0"/>
            <a:r>
              <a:rPr lang="en-US"/>
              <a:t>Active Headline</a:t>
            </a:r>
          </a:p>
          <a:p>
            <a:pPr lvl="1"/>
            <a:r>
              <a:rPr lang="en-US"/>
              <a:t>Body text</a:t>
            </a:r>
          </a:p>
          <a:p>
            <a:pPr lvl="2"/>
            <a:r>
              <a:rPr lang="en-US"/>
              <a:t>Bullets</a:t>
            </a:r>
          </a:p>
          <a:p>
            <a:pPr lvl="3"/>
            <a:r>
              <a:rPr lang="en-US"/>
              <a:t>2nd level bullets</a:t>
            </a:r>
          </a:p>
          <a:p>
            <a:pPr lvl="4"/>
            <a:r>
              <a:rPr lang="en-US"/>
              <a:t>Notes tex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7585200" cy="215999"/>
          </a:xfrm>
          <a:noFill/>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9" name="Text Placeholder 5">
            <a:extLst>
              <a:ext uri="{FF2B5EF4-FFF2-40B4-BE49-F238E27FC236}">
                <a16:creationId xmlns:a16="http://schemas.microsoft.com/office/drawing/2014/main" id="{D49A370F-20C1-AE2C-2D28-B67039D93F62}"/>
              </a:ext>
            </a:extLst>
          </p:cNvPr>
          <p:cNvSpPr>
            <a:spLocks noGrp="1"/>
          </p:cNvSpPr>
          <p:nvPr>
            <p:ph type="body" sz="quarter" idx="16" hasCustomPrompt="1"/>
          </p:nvPr>
        </p:nvSpPr>
        <p:spPr>
          <a:xfrm>
            <a:off x="414000" y="3611386"/>
            <a:ext cx="3780000" cy="288000"/>
          </a:xfrm>
          <a:noFill/>
        </p:spPr>
        <p:txBody>
          <a:bodyPr lIns="0">
            <a:noAutofit/>
          </a:bodyPr>
          <a:lstStyle>
            <a:lvl1pPr>
              <a:defRPr sz="1300">
                <a:solidFill>
                  <a:schemeClr val="accent6"/>
                </a:solidFill>
              </a:defRPr>
            </a:lvl1pPr>
          </a:lstStyle>
          <a:p>
            <a:pPr lvl="0"/>
            <a:r>
              <a:rPr lang="en-US"/>
              <a:t>Chart headline</a:t>
            </a:r>
          </a:p>
        </p:txBody>
      </p:sp>
      <p:sp>
        <p:nvSpPr>
          <p:cNvPr id="11" name="Content Placeholder 7">
            <a:extLst>
              <a:ext uri="{FF2B5EF4-FFF2-40B4-BE49-F238E27FC236}">
                <a16:creationId xmlns:a16="http://schemas.microsoft.com/office/drawing/2014/main" id="{9AE049FE-3B8F-256A-D7E8-577C76D40781}"/>
              </a:ext>
            </a:extLst>
          </p:cNvPr>
          <p:cNvSpPr>
            <a:spLocks noGrp="1"/>
          </p:cNvSpPr>
          <p:nvPr>
            <p:ph sz="quarter" idx="17" hasCustomPrompt="1"/>
          </p:nvPr>
        </p:nvSpPr>
        <p:spPr>
          <a:xfrm>
            <a:off x="413027" y="3933637"/>
            <a:ext cx="3780000" cy="2016000"/>
          </a:xfrm>
          <a:noFill/>
        </p:spPr>
        <p:txBody>
          <a:bodyPr/>
          <a:lstStyle>
            <a:lvl1pPr algn="ctr">
              <a:defRPr b="0"/>
            </a:lvl1pPr>
            <a:lvl5pPr>
              <a:defRPr/>
            </a:lvl5pPr>
          </a:lstStyle>
          <a:p>
            <a:pPr lvl="0"/>
            <a:r>
              <a:rPr lang="en-US"/>
              <a:t>Insert Chart</a:t>
            </a:r>
            <a:endParaRPr lang="en-GB"/>
          </a:p>
        </p:txBody>
      </p:sp>
      <p:sp>
        <p:nvSpPr>
          <p:cNvPr id="13" name="Text Placeholder 5">
            <a:extLst>
              <a:ext uri="{FF2B5EF4-FFF2-40B4-BE49-F238E27FC236}">
                <a16:creationId xmlns:a16="http://schemas.microsoft.com/office/drawing/2014/main" id="{4FBC210F-4D18-EBDF-D1C0-974165764030}"/>
              </a:ext>
            </a:extLst>
          </p:cNvPr>
          <p:cNvSpPr>
            <a:spLocks noGrp="1"/>
          </p:cNvSpPr>
          <p:nvPr>
            <p:ph type="body" sz="quarter" idx="18" hasCustomPrompt="1"/>
          </p:nvPr>
        </p:nvSpPr>
        <p:spPr>
          <a:xfrm>
            <a:off x="4212000" y="3611386"/>
            <a:ext cx="3780000" cy="288000"/>
          </a:xfrm>
          <a:noFill/>
        </p:spPr>
        <p:txBody>
          <a:bodyPr lIns="0">
            <a:noAutofit/>
          </a:bodyPr>
          <a:lstStyle>
            <a:lvl1pPr>
              <a:defRPr sz="1300">
                <a:solidFill>
                  <a:schemeClr val="accent6"/>
                </a:solidFill>
              </a:defRPr>
            </a:lvl1pPr>
          </a:lstStyle>
          <a:p>
            <a:pPr lvl="0"/>
            <a:r>
              <a:rPr lang="en-US"/>
              <a:t>Chart headline</a:t>
            </a:r>
          </a:p>
        </p:txBody>
      </p:sp>
      <p:sp>
        <p:nvSpPr>
          <p:cNvPr id="14" name="Content Placeholder 7">
            <a:extLst>
              <a:ext uri="{FF2B5EF4-FFF2-40B4-BE49-F238E27FC236}">
                <a16:creationId xmlns:a16="http://schemas.microsoft.com/office/drawing/2014/main" id="{ACB90CD1-FFAF-0A5C-32B6-F90923321EA4}"/>
              </a:ext>
            </a:extLst>
          </p:cNvPr>
          <p:cNvSpPr>
            <a:spLocks noGrp="1"/>
          </p:cNvSpPr>
          <p:nvPr>
            <p:ph sz="quarter" idx="19" hasCustomPrompt="1"/>
          </p:nvPr>
        </p:nvSpPr>
        <p:spPr>
          <a:xfrm>
            <a:off x="4212000" y="3933637"/>
            <a:ext cx="3780000" cy="2016000"/>
          </a:xfrm>
          <a:noFill/>
        </p:spPr>
        <p:txBody>
          <a:bodyPr/>
          <a:lstStyle>
            <a:lvl1pPr algn="ctr">
              <a:defRPr b="0"/>
            </a:lvl1pPr>
            <a:lvl5pPr>
              <a:defRPr/>
            </a:lvl5pPr>
          </a:lstStyle>
          <a:p>
            <a:pPr lvl="0"/>
            <a:r>
              <a:rPr lang="en-US"/>
              <a:t>Insert Chart</a:t>
            </a:r>
            <a:endParaRPr lang="en-GB"/>
          </a:p>
        </p:txBody>
      </p:sp>
      <p:sp>
        <p:nvSpPr>
          <p:cNvPr id="21" name="Footer Placeholder 4">
            <a:extLst>
              <a:ext uri="{FF2B5EF4-FFF2-40B4-BE49-F238E27FC236}">
                <a16:creationId xmlns:a16="http://schemas.microsoft.com/office/drawing/2014/main" id="{9E91E95F-0B78-B0DD-44F1-9229CA6FC1F7}"/>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Tree>
    <p:extLst>
      <p:ext uri="{BB962C8B-B14F-4D97-AF65-F5344CB8AC3E}">
        <p14:creationId xmlns:p14="http://schemas.microsoft.com/office/powerpoint/2010/main" val="2756465011"/>
      </p:ext>
    </p:extLst>
  </p:cSld>
  <p:clrMapOvr>
    <a:masterClrMapping/>
  </p:clrMapOvr>
  <p:extLst>
    <p:ext uri="{DCECCB84-F9BA-43D5-87BE-67443E8EF086}">
      <p15:sldGuideLst xmlns:p15="http://schemas.microsoft.com/office/powerpoint/2012/main">
        <p15:guide id="1" pos="665">
          <p15:clr>
            <a:srgbClr val="5ACBF0"/>
          </p15:clr>
        </p15:guide>
        <p15:guide id="2" pos="2434">
          <p15:clr>
            <a:srgbClr val="5ACBF0"/>
          </p15:clr>
        </p15:guide>
        <p15:guide id="3" pos="3069">
          <p15:clr>
            <a:srgbClr val="5ACBF0"/>
          </p15:clr>
        </p15:guide>
        <p15:guide id="4" pos="4838">
          <p15:clr>
            <a:srgbClr val="5ACBF0"/>
          </p15:clr>
        </p15:guide>
        <p15:guide id="5" orient="horz" pos="1071">
          <p15:clr>
            <a:srgbClr val="5ACBF0"/>
          </p15:clr>
        </p15:guide>
        <p15:guide id="6" orient="horz" pos="1911">
          <p15:clr>
            <a:srgbClr val="5ACBF0"/>
          </p15:clr>
        </p15:guide>
        <p15:guide id="7" orient="horz" pos="3521">
          <p15:clr>
            <a:srgbClr val="5ACBF0"/>
          </p15:clr>
        </p15:guide>
        <p15:guide id="8" orient="horz" pos="2636">
          <p15:clr>
            <a:srgbClr val="5ACBF0"/>
          </p15:clr>
        </p15:guide>
        <p15:guide id="9" orient="horz" pos="799">
          <p15:clr>
            <a:srgbClr val="F26B43"/>
          </p15:clr>
        </p15:guide>
        <p15:guide id="10" orient="horz" pos="2364">
          <p15:clr>
            <a:srgbClr val="F26B43"/>
          </p15:clr>
        </p15:guide>
        <p15:guide id="11" orient="horz" pos="3725">
          <p15:clr>
            <a:srgbClr val="F26B43"/>
          </p15:clr>
        </p15:guide>
        <p15:guide id="12" pos="5042">
          <p15:clr>
            <a:srgbClr val="F26B43"/>
          </p15:clr>
        </p15:guide>
        <p15:guide id="13" pos="2638">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Content + Text -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p:nvPr>
        </p:nvSpPr>
        <p:spPr>
          <a:xfrm>
            <a:off x="413537" y="1251472"/>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4000" y="1594633"/>
            <a:ext cx="3780000" cy="1980000"/>
          </a:xfrm>
          <a:noFill/>
        </p:spPr>
        <p:txBody>
          <a:bodyPr/>
          <a:lstStyle>
            <a:lvl1pPr algn="ctr">
              <a:defRPr sz="1300" b="0"/>
            </a:lvl1pPr>
            <a:lvl5pPr>
              <a:defRPr/>
            </a:lvl5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hasCustomPrompt="1"/>
          </p:nvPr>
        </p:nvSpPr>
        <p:spPr>
          <a:xfrm>
            <a:off x="7998461" y="1251472"/>
            <a:ext cx="3780000" cy="4936100"/>
          </a:xfrm>
          <a:noFill/>
          <a:effectLst/>
        </p:spPr>
        <p:txBody>
          <a:bodyPr vert="horz" lIns="252000" tIns="252000" rIns="252000" bIns="252000" rtlCol="0" anchor="ctr" anchorCtr="0">
            <a:noAutofit/>
          </a:bodyPr>
          <a:lstStyle>
            <a:lvl1pPr>
              <a:defRPr lang="en-US"/>
            </a:lvl1pPr>
            <a:lvl2pPr>
              <a:defRPr lang="en-US"/>
            </a:lvl2pPr>
            <a:lvl3pPr>
              <a:defRPr lang="en-US"/>
            </a:lvl3pPr>
            <a:lvl4pPr>
              <a:defRPr lang="en-US"/>
            </a:lvl4pPr>
            <a:lvl5pPr>
              <a:defRPr lang="en-GB"/>
            </a:lvl5pPr>
          </a:lstStyle>
          <a:p>
            <a:pPr lvl="0"/>
            <a:r>
              <a:rPr lang="en-US"/>
              <a:t>Active Headline</a:t>
            </a:r>
          </a:p>
          <a:p>
            <a:pPr lvl="1"/>
            <a:r>
              <a:rPr lang="en-US"/>
              <a:t>Body text</a:t>
            </a:r>
          </a:p>
          <a:p>
            <a:pPr lvl="2"/>
            <a:r>
              <a:rPr lang="en-US"/>
              <a:t>Bullets</a:t>
            </a:r>
          </a:p>
          <a:p>
            <a:pPr lvl="3"/>
            <a:r>
              <a:rPr lang="en-US"/>
              <a:t>2nd level bullets</a:t>
            </a:r>
          </a:p>
          <a:p>
            <a:pPr lvl="4"/>
            <a:r>
              <a:rPr lang="en-US"/>
              <a:t>Notes tex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7585200" cy="215999"/>
          </a:xfrm>
          <a:noFill/>
        </p:spPr>
        <p:txBody>
          <a:bodyPr lIns="0"/>
          <a:lstStyle>
            <a:lvl1pPr>
              <a:defRPr sz="105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5" name="Text Placeholder 5">
            <a:extLst>
              <a:ext uri="{FF2B5EF4-FFF2-40B4-BE49-F238E27FC236}">
                <a16:creationId xmlns:a16="http://schemas.microsoft.com/office/drawing/2014/main" id="{D7616806-7E32-D88B-F740-18B7BC6A1ECE}"/>
              </a:ext>
            </a:extLst>
          </p:cNvPr>
          <p:cNvSpPr>
            <a:spLocks noGrp="1"/>
          </p:cNvSpPr>
          <p:nvPr>
            <p:ph type="body" sz="quarter" idx="16"/>
          </p:nvPr>
        </p:nvSpPr>
        <p:spPr>
          <a:xfrm>
            <a:off x="414000" y="3662850"/>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7" name="Content Placeholder 7">
            <a:extLst>
              <a:ext uri="{FF2B5EF4-FFF2-40B4-BE49-F238E27FC236}">
                <a16:creationId xmlns:a16="http://schemas.microsoft.com/office/drawing/2014/main" id="{301ACA0B-90BD-21BF-F5A6-4461A144284D}"/>
              </a:ext>
            </a:extLst>
          </p:cNvPr>
          <p:cNvSpPr>
            <a:spLocks noGrp="1"/>
          </p:cNvSpPr>
          <p:nvPr>
            <p:ph sz="quarter" idx="17" hasCustomPrompt="1"/>
          </p:nvPr>
        </p:nvSpPr>
        <p:spPr>
          <a:xfrm>
            <a:off x="413027" y="3988194"/>
            <a:ext cx="3780000" cy="1980000"/>
          </a:xfrm>
          <a:noFill/>
        </p:spPr>
        <p:txBody>
          <a:bodyPr/>
          <a:lstStyle>
            <a:lvl1pPr algn="ctr">
              <a:defRPr b="0"/>
            </a:lvl1pPr>
            <a:lvl5pPr>
              <a:defRPr/>
            </a:lvl5pPr>
          </a:lstStyle>
          <a:p>
            <a:pPr lvl="0"/>
            <a:r>
              <a:rPr lang="en-US"/>
              <a:t>Insert Chart</a:t>
            </a:r>
            <a:endParaRPr lang="en-GB"/>
          </a:p>
        </p:txBody>
      </p:sp>
      <p:sp>
        <p:nvSpPr>
          <p:cNvPr id="9" name="Text Placeholder 5">
            <a:extLst>
              <a:ext uri="{FF2B5EF4-FFF2-40B4-BE49-F238E27FC236}">
                <a16:creationId xmlns:a16="http://schemas.microsoft.com/office/drawing/2014/main" id="{41A38980-B6C7-2C12-669B-DF4E926D0985}"/>
              </a:ext>
            </a:extLst>
          </p:cNvPr>
          <p:cNvSpPr>
            <a:spLocks noGrp="1"/>
          </p:cNvSpPr>
          <p:nvPr>
            <p:ph type="body" sz="quarter" idx="18"/>
          </p:nvPr>
        </p:nvSpPr>
        <p:spPr>
          <a:xfrm>
            <a:off x="4212000" y="3662850"/>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11" name="Content Placeholder 7">
            <a:extLst>
              <a:ext uri="{FF2B5EF4-FFF2-40B4-BE49-F238E27FC236}">
                <a16:creationId xmlns:a16="http://schemas.microsoft.com/office/drawing/2014/main" id="{D63835D9-5A9C-436E-DE0E-681C84B793FD}"/>
              </a:ext>
            </a:extLst>
          </p:cNvPr>
          <p:cNvSpPr>
            <a:spLocks noGrp="1"/>
          </p:cNvSpPr>
          <p:nvPr>
            <p:ph sz="quarter" idx="19" hasCustomPrompt="1"/>
          </p:nvPr>
        </p:nvSpPr>
        <p:spPr>
          <a:xfrm>
            <a:off x="4212000" y="3988194"/>
            <a:ext cx="3780000" cy="1980000"/>
          </a:xfrm>
          <a:noFill/>
        </p:spPr>
        <p:txBody>
          <a:bodyPr/>
          <a:lstStyle>
            <a:lvl1pPr algn="ctr">
              <a:defRPr b="0"/>
            </a:lvl1pPr>
            <a:lvl5pPr>
              <a:defRPr/>
            </a:lvl5pPr>
          </a:lstStyle>
          <a:p>
            <a:pPr lvl="0"/>
            <a:r>
              <a:rPr lang="en-US"/>
              <a:t>Insert Chart</a:t>
            </a:r>
            <a:endParaRPr lang="en-GB"/>
          </a:p>
        </p:txBody>
      </p:sp>
      <p:sp>
        <p:nvSpPr>
          <p:cNvPr id="13" name="Text Placeholder 5">
            <a:extLst>
              <a:ext uri="{FF2B5EF4-FFF2-40B4-BE49-F238E27FC236}">
                <a16:creationId xmlns:a16="http://schemas.microsoft.com/office/drawing/2014/main" id="{0F05E3CC-77D8-00D4-3892-43359D3D440D}"/>
              </a:ext>
            </a:extLst>
          </p:cNvPr>
          <p:cNvSpPr>
            <a:spLocks noGrp="1"/>
          </p:cNvSpPr>
          <p:nvPr>
            <p:ph type="body" sz="quarter" idx="20"/>
          </p:nvPr>
        </p:nvSpPr>
        <p:spPr>
          <a:xfrm>
            <a:off x="4212000" y="1251472"/>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14" name="Content Placeholder 7">
            <a:extLst>
              <a:ext uri="{FF2B5EF4-FFF2-40B4-BE49-F238E27FC236}">
                <a16:creationId xmlns:a16="http://schemas.microsoft.com/office/drawing/2014/main" id="{CB8F5FCB-FB91-1CC1-0B13-4616C17F6F8D}"/>
              </a:ext>
            </a:extLst>
          </p:cNvPr>
          <p:cNvSpPr>
            <a:spLocks noGrp="1"/>
          </p:cNvSpPr>
          <p:nvPr>
            <p:ph sz="quarter" idx="21" hasCustomPrompt="1"/>
          </p:nvPr>
        </p:nvSpPr>
        <p:spPr>
          <a:xfrm>
            <a:off x="4211999" y="1594633"/>
            <a:ext cx="3780000" cy="1980000"/>
          </a:xfrm>
          <a:noFill/>
        </p:spPr>
        <p:txBody>
          <a:bodyPr/>
          <a:lstStyle>
            <a:lvl1pPr algn="ctr">
              <a:defRPr b="0"/>
            </a:lvl1pPr>
            <a:lvl5pPr>
              <a:defRPr/>
            </a:lvl5pPr>
          </a:lstStyle>
          <a:p>
            <a:pPr lvl="0"/>
            <a:r>
              <a:rPr lang="en-US"/>
              <a:t>Insert Chart</a:t>
            </a:r>
            <a:endParaRPr lang="en-GB"/>
          </a:p>
        </p:txBody>
      </p:sp>
      <p:sp>
        <p:nvSpPr>
          <p:cNvPr id="23" name="Footer Placeholder 4">
            <a:extLst>
              <a:ext uri="{FF2B5EF4-FFF2-40B4-BE49-F238E27FC236}">
                <a16:creationId xmlns:a16="http://schemas.microsoft.com/office/drawing/2014/main" id="{26092300-6B2D-E291-F26E-F0EFBCCA1C83}"/>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Tree>
    <p:extLst>
      <p:ext uri="{BB962C8B-B14F-4D97-AF65-F5344CB8AC3E}">
        <p14:creationId xmlns:p14="http://schemas.microsoft.com/office/powerpoint/2010/main" val="3777739046"/>
      </p:ext>
    </p:extLst>
  </p:cSld>
  <p:clrMapOvr>
    <a:masterClrMapping/>
  </p:clrMapOvr>
  <p:extLst>
    <p:ext uri="{DCECCB84-F9BA-43D5-87BE-67443E8EF086}">
      <p15:sldGuideLst xmlns:p15="http://schemas.microsoft.com/office/powerpoint/2012/main">
        <p15:guide id="1" pos="665">
          <p15:clr>
            <a:srgbClr val="5ACBF0"/>
          </p15:clr>
        </p15:guide>
        <p15:guide id="2" pos="2434">
          <p15:clr>
            <a:srgbClr val="5ACBF0"/>
          </p15:clr>
        </p15:guide>
        <p15:guide id="3" pos="3069">
          <p15:clr>
            <a:srgbClr val="5ACBF0"/>
          </p15:clr>
        </p15:guide>
        <p15:guide id="4" pos="4838">
          <p15:clr>
            <a:srgbClr val="5ACBF0"/>
          </p15:clr>
        </p15:guide>
        <p15:guide id="5" orient="horz" pos="1071">
          <p15:clr>
            <a:srgbClr val="5ACBF0"/>
          </p15:clr>
        </p15:guide>
        <p15:guide id="6" orient="horz" pos="1911">
          <p15:clr>
            <a:srgbClr val="5ACBF0"/>
          </p15:clr>
        </p15:guide>
        <p15:guide id="7" orient="horz" pos="3521">
          <p15:clr>
            <a:srgbClr val="5ACBF0"/>
          </p15:clr>
        </p15:guide>
        <p15:guide id="8" orient="horz" pos="2636">
          <p15:clr>
            <a:srgbClr val="5ACBF0"/>
          </p15:clr>
        </p15:guide>
        <p15:guide id="9" orient="horz" pos="799">
          <p15:clr>
            <a:srgbClr val="F26B43"/>
          </p15:clr>
        </p15:guide>
        <p15:guide id="10" orient="horz" pos="2364">
          <p15:clr>
            <a:srgbClr val="F26B43"/>
          </p15:clr>
        </p15:guide>
        <p15:guide id="11" orient="horz" pos="3725">
          <p15:clr>
            <a:srgbClr val="F26B43"/>
          </p15:clr>
        </p15:guide>
        <p15:guide id="12" pos="5042">
          <p15:clr>
            <a:srgbClr val="F26B43"/>
          </p15:clr>
        </p15:guide>
        <p15:guide id="13" pos="2638">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ull Page Vis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2750" y="1251472"/>
            <a:ext cx="11365200" cy="4641401"/>
          </a:xfrm>
          <a:noFill/>
        </p:spPr>
        <p:txBody>
          <a:bodyPr anchor="t"/>
          <a:lstStyle>
            <a:lvl1pPr algn="ctr">
              <a:defRPr b="0"/>
            </a:lvl1pPr>
            <a:lvl2pPr algn="ctr">
              <a:defRPr/>
            </a:lvl2pPr>
            <a:lvl3pPr algn="ctr">
              <a:defRPr/>
            </a:lvl3pPr>
            <a:lvl4pPr algn="ctr">
              <a:defRPr/>
            </a:lvl4pPr>
            <a:lvl5pPr algn="ctr">
              <a:defRPr/>
            </a:lvl5pPr>
          </a:lstStyle>
          <a:p>
            <a:pPr lvl="0"/>
            <a:r>
              <a:rPr lang="en-US"/>
              <a:t>Insert Chart or Table</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11430000" cy="215999"/>
          </a:xfrm>
          <a:noFill/>
        </p:spPr>
        <p:txBody>
          <a:bodyPr lIns="0"/>
          <a:lstStyle>
            <a:lvl1pPr>
              <a:defRPr sz="1050" b="0">
                <a:solidFill>
                  <a:schemeClr val="bg2">
                    <a:lumMod val="10000"/>
                  </a:schemeClr>
                </a:solidFill>
              </a:defRPr>
            </a:lvl1pPr>
            <a:lvl5pPr>
              <a:defRPr sz="700">
                <a:solidFill>
                  <a:schemeClr val="tx1"/>
                </a:solidFill>
              </a:defRPr>
            </a:lvl5pPr>
          </a:lstStyle>
          <a:p>
            <a:pPr lvl="0"/>
            <a:r>
              <a:rPr lang="en-US"/>
              <a:t>Add your DATA source here</a:t>
            </a:r>
            <a:endParaRPr lang="en-GB"/>
          </a:p>
        </p:txBody>
      </p:sp>
      <p:sp>
        <p:nvSpPr>
          <p:cNvPr id="6" name="Footer Placeholder 4">
            <a:extLst>
              <a:ext uri="{FF2B5EF4-FFF2-40B4-BE49-F238E27FC236}">
                <a16:creationId xmlns:a16="http://schemas.microsoft.com/office/drawing/2014/main" id="{A400B9E1-C65A-1F67-73D1-8910394C1C83}"/>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Tree>
    <p:extLst>
      <p:ext uri="{BB962C8B-B14F-4D97-AF65-F5344CB8AC3E}">
        <p14:creationId xmlns:p14="http://schemas.microsoft.com/office/powerpoint/2010/main" val="1319012314"/>
      </p:ext>
    </p:extLst>
  </p:cSld>
  <p:clrMapOvr>
    <a:masterClrMapping/>
  </p:clrMapOvr>
  <p:extLst>
    <p:ext uri="{DCECCB84-F9BA-43D5-87BE-67443E8EF086}">
      <p15:sldGuideLst xmlns:p15="http://schemas.microsoft.com/office/powerpoint/2012/main">
        <p15:guide id="1" pos="3840">
          <p15:clr>
            <a:srgbClr val="F26B43"/>
          </p15:clr>
        </p15:guide>
        <p15:guide id="2" pos="2366">
          <p15:clr>
            <a:srgbClr val="5ACBF0"/>
          </p15:clr>
        </p15:guide>
        <p15:guide id="3" pos="5314">
          <p15:clr>
            <a:srgbClr val="5ACBF0"/>
          </p15:clr>
        </p15:guide>
        <p15:guide id="4" orient="horz" pos="1253">
          <p15:clr>
            <a:srgbClr val="5ACBF0"/>
          </p15:clr>
        </p15:guide>
        <p15:guide id="5" orient="horz" pos="3090">
          <p15:clr>
            <a:srgbClr val="5ACBF0"/>
          </p15:clr>
        </p15:guide>
        <p15:guide id="6" orient="horz" pos="3725">
          <p15:clr>
            <a:srgbClr val="F26B43"/>
          </p15:clr>
        </p15:guide>
        <p15:guide id="7" orient="horz" pos="618">
          <p15:clr>
            <a:srgbClr val="F26B43"/>
          </p15:clr>
        </p15:guide>
        <p15:guide id="8" pos="914">
          <p15:clr>
            <a:srgbClr val="5ACBF0"/>
          </p15:clr>
        </p15:guide>
        <p15:guide id="9" pos="701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0E1236C-1F6A-C310-B3AD-04FE10631AEA}"/>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1" name="Straight Connector 10">
            <a:extLst>
              <a:ext uri="{FF2B5EF4-FFF2-40B4-BE49-F238E27FC236}">
                <a16:creationId xmlns:a16="http://schemas.microsoft.com/office/drawing/2014/main" id="{AB2564B3-A172-D336-E774-6508A518A9A4}"/>
              </a:ext>
            </a:extLst>
          </p:cNvPr>
          <p:cNvCxnSpPr>
            <a:cxnSpLocks/>
          </p:cNvCxnSpPr>
          <p:nvPr userDrawn="1"/>
        </p:nvCxnSpPr>
        <p:spPr>
          <a:xfrm>
            <a:off x="2702950"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1A251F91-00BD-73A5-1690-EA7889C27005}"/>
              </a:ext>
            </a:extLst>
          </p:cNvPr>
          <p:cNvCxnSpPr>
            <a:cxnSpLocks/>
          </p:cNvCxnSpPr>
          <p:nvPr userDrawn="1"/>
        </p:nvCxnSpPr>
        <p:spPr>
          <a:xfrm>
            <a:off x="5488473"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7A48A5AD-122B-445F-8918-5620E751FE74}"/>
              </a:ext>
            </a:extLst>
          </p:cNvPr>
          <p:cNvCxnSpPr>
            <a:cxnSpLocks/>
          </p:cNvCxnSpPr>
          <p:nvPr userDrawn="1"/>
        </p:nvCxnSpPr>
        <p:spPr>
          <a:xfrm>
            <a:off x="7411982"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000DE161-39A1-09A9-5060-B0B52242AFFA}"/>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tx1">
                    <a:lumMod val="50000"/>
                  </a:schemeClr>
                </a:solidFill>
                <a:latin typeface="Garamond" panose="02020404030301010803" pitchFamily="18" charset="0"/>
                <a:ea typeface="Helvetica Neue UltraLight" panose="02000206000000020004" pitchFamily="2" charset="0"/>
              </a:rPr>
              <a:t>expert</a:t>
            </a:r>
            <a:r>
              <a:rPr lang="en-GB" sz="1000" b="0" i="0">
                <a:solidFill>
                  <a:schemeClr val="tx1">
                    <a:lumMod val="50000"/>
                  </a:schemeClr>
                </a:solidFill>
                <a:latin typeface="Helvetica Neue UltraLight" panose="02000206000000020004" pitchFamily="2" charset="0"/>
                <a:ea typeface="Helvetica Neue UltraLight" panose="02000206000000020004" pitchFamily="2" charset="0"/>
              </a:rPr>
              <a:t> </a:t>
            </a:r>
            <a:r>
              <a:rPr lang="en-GB"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3" name="TextBox 2">
            <a:extLst>
              <a:ext uri="{FF2B5EF4-FFF2-40B4-BE49-F238E27FC236}">
                <a16:creationId xmlns:a16="http://schemas.microsoft.com/office/drawing/2014/main" id="{FB636495-F7C7-0C00-108D-E654D2A6EE13}"/>
              </a:ext>
            </a:extLst>
          </p:cNvPr>
          <p:cNvSpPr txBox="1"/>
          <p:nvPr userDrawn="1"/>
        </p:nvSpPr>
        <p:spPr>
          <a:xfrm>
            <a:off x="11682742" y="6458310"/>
            <a:ext cx="409669" cy="276999"/>
          </a:xfrm>
          <a:prstGeom prst="rect">
            <a:avLst/>
          </a:prstGeom>
          <a:noFill/>
        </p:spPr>
        <p:txBody>
          <a:bodyPr wrap="square" anchor="ctr">
            <a:spAutoFit/>
          </a:bodyPr>
          <a:lstStyle/>
          <a:p>
            <a:fld id="{562BA7E0-5F5E-EE41-AE8D-BD30ED9E17AD}" type="slidenum">
              <a:rPr lang="en-GB" sz="1200" smtClean="0">
                <a:solidFill>
                  <a:schemeClr val="tx1"/>
                </a:solidFill>
                <a:latin typeface="Arial" panose="020B0604020202020204" pitchFamily="34" charset="0"/>
                <a:cs typeface="Arial" panose="020B0604020202020204" pitchFamily="34" charset="0"/>
              </a:rPr>
              <a:pPr/>
              <a:t>‹#›</a:t>
            </a:fld>
            <a:endParaRPr lang="en-GB" sz="1200">
              <a:solidFill>
                <a:schemeClr val="tx1"/>
              </a:solidFill>
              <a:latin typeface="Arial" panose="020B0604020202020204" pitchFamily="34" charset="0"/>
              <a:cs typeface="Arial" panose="020B0604020202020204" pitchFamily="34" charset="0"/>
            </a:endParaRPr>
          </a:p>
        </p:txBody>
      </p:sp>
      <p:pic>
        <p:nvPicPr>
          <p:cNvPr id="7" name="Picture 6" descr="A logo on a black background&#10;&#10;Description automatically generated">
            <a:extLst>
              <a:ext uri="{FF2B5EF4-FFF2-40B4-BE49-F238E27FC236}">
                <a16:creationId xmlns:a16="http://schemas.microsoft.com/office/drawing/2014/main" id="{05A14DB0-CEA8-2F77-EF59-84BB507E2FC6}"/>
              </a:ext>
            </a:extLst>
          </p:cNvPr>
          <p:cNvPicPr>
            <a:picLocks noChangeAspect="1"/>
          </p:cNvPicPr>
          <p:nvPr userDrawn="1"/>
        </p:nvPicPr>
        <p:blipFill rotWithShape="1">
          <a:blip r:embed="rId2"/>
          <a:srcRect l="7819" t="33017" r="74362" b="36885"/>
          <a:stretch/>
        </p:blipFill>
        <p:spPr>
          <a:xfrm>
            <a:off x="263816" y="334800"/>
            <a:ext cx="682031" cy="648000"/>
          </a:xfrm>
          <a:prstGeom prst="rect">
            <a:avLst/>
          </a:prstGeom>
        </p:spPr>
      </p:pic>
      <p:sp>
        <p:nvSpPr>
          <p:cNvPr id="4" name="Footer Placeholder 4">
            <a:extLst>
              <a:ext uri="{FF2B5EF4-FFF2-40B4-BE49-F238E27FC236}">
                <a16:creationId xmlns:a16="http://schemas.microsoft.com/office/drawing/2014/main" id="{8938CF6B-AAA5-A040-9E6A-575D26301D55}"/>
              </a:ext>
            </a:extLst>
          </p:cNvPr>
          <p:cNvSpPr>
            <a:spLocks noGrp="1"/>
          </p:cNvSpPr>
          <p:nvPr>
            <p:ph type="ftr" sz="quarter" idx="3"/>
          </p:nvPr>
        </p:nvSpPr>
        <p:spPr>
          <a:xfrm>
            <a:off x="7350369" y="6429964"/>
            <a:ext cx="3176758" cy="309600"/>
          </a:xfrm>
          <a:prstGeom prst="rect">
            <a:avLst/>
          </a:prstGeom>
          <a:ln>
            <a:noFill/>
          </a:ln>
        </p:spPr>
        <p:txBody>
          <a:bodyPr vert="horz" lIns="91440" tIns="45720" rIns="91440" bIns="45720" rtlCol="0" anchor="ctr"/>
          <a:lstStyle>
            <a:lvl1pPr algn="l">
              <a:defRPr sz="1000" b="0" i="0">
                <a:solidFill>
                  <a:schemeClr val="tx1"/>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
        <p:nvSpPr>
          <p:cNvPr id="6" name="TextBox 5">
            <a:extLst>
              <a:ext uri="{FF2B5EF4-FFF2-40B4-BE49-F238E27FC236}">
                <a16:creationId xmlns:a16="http://schemas.microsoft.com/office/drawing/2014/main" id="{89AFE2E4-3750-7F12-6F58-EFABEA1B26B7}"/>
              </a:ext>
            </a:extLst>
          </p:cNvPr>
          <p:cNvSpPr txBox="1"/>
          <p:nvPr userDrawn="1"/>
        </p:nvSpPr>
        <p:spPr>
          <a:xfrm>
            <a:off x="5476126" y="6429964"/>
            <a:ext cx="1286726" cy="276999"/>
          </a:xfrm>
          <a:prstGeom prst="rect">
            <a:avLst/>
          </a:prstGeom>
          <a:noFill/>
          <a:ln>
            <a:noFill/>
          </a:ln>
        </p:spPr>
        <p:txBody>
          <a:bodyPr wrap="square">
            <a:spAutoFit/>
          </a:bodyPr>
          <a:lstStyle/>
          <a:p>
            <a:pPr algn="ctr"/>
            <a:r>
              <a:rPr lang="en-GB" sz="1200" b="0" i="1">
                <a:solidFill>
                  <a:schemeClr val="tx1">
                    <a:lumMod val="50000"/>
                  </a:schemeClr>
                </a:solidFill>
                <a:latin typeface="Garamond" panose="02020404030301010803" pitchFamily="18" charset="0"/>
                <a:ea typeface="Helvetica Neue Thin" panose="020B0403020202020204" pitchFamily="34" charset="0"/>
                <a:cs typeface="Arial" panose="020B0604020202020204" pitchFamily="34" charset="0"/>
              </a:rPr>
              <a:t>May 2024</a:t>
            </a:r>
          </a:p>
        </p:txBody>
      </p:sp>
      <p:sp>
        <p:nvSpPr>
          <p:cNvPr id="8" name="Title 1">
            <a:extLst>
              <a:ext uri="{FF2B5EF4-FFF2-40B4-BE49-F238E27FC236}">
                <a16:creationId xmlns:a16="http://schemas.microsoft.com/office/drawing/2014/main" id="{3F37CBC1-6CFA-E518-6D9B-C298DCD2EBAB}"/>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Tree>
    <p:extLst>
      <p:ext uri="{BB962C8B-B14F-4D97-AF65-F5344CB8AC3E}">
        <p14:creationId xmlns:p14="http://schemas.microsoft.com/office/powerpoint/2010/main" val="37279074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amp; Blank_OUTLOOK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089F6B3-B184-CD35-917E-7E6D3B7A8CDE}"/>
              </a:ext>
            </a:extLst>
          </p:cNvPr>
          <p:cNvSpPr>
            <a:spLocks noGrp="1"/>
          </p:cNvSpPr>
          <p:nvPr>
            <p:ph type="ftr" sz="quarter" idx="11"/>
          </p:nvPr>
        </p:nvSpPr>
        <p:spPr>
          <a:xfrm>
            <a:off x="7350369" y="6429965"/>
            <a:ext cx="3176758" cy="307777"/>
          </a:xfrm>
          <a:prstGeom prst="rect">
            <a:avLst/>
          </a:prstGeom>
        </p:spPr>
        <p:txBody>
          <a:bodyPr/>
          <a:lstStyle/>
          <a:p>
            <a:r>
              <a:rPr lang="en-US"/>
              <a:t>Co &amp; Li supply: stopgap or structural shift</a:t>
            </a:r>
            <a:endParaRPr lang="en-GB"/>
          </a:p>
        </p:txBody>
      </p:sp>
      <p:sp>
        <p:nvSpPr>
          <p:cNvPr id="6" name="Content Placeholder 7">
            <a:extLst>
              <a:ext uri="{FF2B5EF4-FFF2-40B4-BE49-F238E27FC236}">
                <a16:creationId xmlns:a16="http://schemas.microsoft.com/office/drawing/2014/main" id="{4C4CE95A-F585-280E-7C05-6A4582FA0F9C}"/>
              </a:ext>
            </a:extLst>
          </p:cNvPr>
          <p:cNvSpPr>
            <a:spLocks noGrp="1"/>
          </p:cNvSpPr>
          <p:nvPr>
            <p:ph sz="quarter" idx="4294967295"/>
          </p:nvPr>
        </p:nvSpPr>
        <p:spPr>
          <a:xfrm>
            <a:off x="397585" y="1432803"/>
            <a:ext cx="11062225" cy="4712301"/>
          </a:xfrm>
        </p:spPr>
        <p:txBody>
          <a:bodyPr>
            <a:normAutofit/>
          </a:bodyPr>
          <a:lstStyle/>
          <a:p>
            <a:pPr marL="0" lvl="0" indent="0">
              <a:lnSpc>
                <a:spcPct val="120000"/>
              </a:lnSpc>
              <a:buFont typeface="Arial" panose="020B0604020202020204" pitchFamily="34" charset="0"/>
              <a:buNone/>
            </a:pPr>
            <a:r>
              <a:rPr lang="en-US" sz="1600"/>
              <a:t>Click to edit Master text styles</a:t>
            </a:r>
          </a:p>
          <a:p>
            <a:pPr marL="0" lvl="1" indent="0">
              <a:lnSpc>
                <a:spcPct val="120000"/>
              </a:lnSpc>
              <a:buFont typeface="Arial" panose="020B0604020202020204" pitchFamily="34" charset="0"/>
              <a:buNone/>
            </a:pPr>
            <a:r>
              <a:rPr lang="en-US" sz="1600"/>
              <a:t>Second level</a:t>
            </a:r>
          </a:p>
        </p:txBody>
      </p:sp>
      <p:sp>
        <p:nvSpPr>
          <p:cNvPr id="3" name="Title 1">
            <a:extLst>
              <a:ext uri="{FF2B5EF4-FFF2-40B4-BE49-F238E27FC236}">
                <a16:creationId xmlns:a16="http://schemas.microsoft.com/office/drawing/2014/main" id="{983889C3-CEF2-7FEC-83F3-8CE52AD60B5F}"/>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Tree>
    <p:extLst>
      <p:ext uri="{BB962C8B-B14F-4D97-AF65-F5344CB8AC3E}">
        <p14:creationId xmlns:p14="http://schemas.microsoft.com/office/powerpoint/2010/main" val="361616967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Glossar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6A6F3C7-49FD-B21D-A71C-794307806CB1}"/>
              </a:ext>
            </a:extLst>
          </p:cNvPr>
          <p:cNvSpPr>
            <a:spLocks noGrp="1"/>
          </p:cNvSpPr>
          <p:nvPr>
            <p:ph type="sldNum" sz="quarter" idx="10"/>
          </p:nvPr>
        </p:nvSpPr>
        <p:spPr>
          <a:noFill/>
        </p:spPr>
        <p:txBody>
          <a:bodyPr/>
          <a:lstStyle>
            <a:lvl1pPr>
              <a:defRPr sz="1200">
                <a:solidFill>
                  <a:schemeClr val="tx1"/>
                </a:solidFill>
              </a:defRPr>
            </a:lvl1pPr>
          </a:lstStyle>
          <a:p>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p:nvPr>
        </p:nvSpPr>
        <p:spPr>
          <a:xfrm>
            <a:off x="6223000" y="1171074"/>
            <a:ext cx="5555461" cy="5051926"/>
          </a:xfrm>
          <a:noFill/>
        </p:spPr>
        <p:txBody>
          <a:bodyPr lIns="252000" tIns="252000" rIns="252000" bIns="252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9">
            <a:extLst>
              <a:ext uri="{FF2B5EF4-FFF2-40B4-BE49-F238E27FC236}">
                <a16:creationId xmlns:a16="http://schemas.microsoft.com/office/drawing/2014/main" id="{CEDCBED3-3077-3817-F2AC-688CAB5EBC98}"/>
              </a:ext>
            </a:extLst>
          </p:cNvPr>
          <p:cNvSpPr>
            <a:spLocks noGrp="1"/>
          </p:cNvSpPr>
          <p:nvPr>
            <p:ph type="body" sz="quarter" idx="15"/>
          </p:nvPr>
        </p:nvSpPr>
        <p:spPr>
          <a:xfrm>
            <a:off x="413540" y="1171074"/>
            <a:ext cx="5555461" cy="5051926"/>
          </a:xfrm>
          <a:noFill/>
        </p:spPr>
        <p:txBody>
          <a:bodyPr lIns="252000" tIns="252000" rIns="252000" bIns="252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ooter Placeholder 4">
            <a:extLst>
              <a:ext uri="{FF2B5EF4-FFF2-40B4-BE49-F238E27FC236}">
                <a16:creationId xmlns:a16="http://schemas.microsoft.com/office/drawing/2014/main" id="{46079007-DD16-E1A0-0A92-2C3D5307A683}"/>
              </a:ext>
            </a:extLst>
          </p:cNvPr>
          <p:cNvSpPr>
            <a:spLocks noGrp="1"/>
          </p:cNvSpPr>
          <p:nvPr>
            <p:ph type="ftr" sz="quarter" idx="3"/>
          </p:nvPr>
        </p:nvSpPr>
        <p:spPr>
          <a:xfrm>
            <a:off x="7350369" y="6429964"/>
            <a:ext cx="3176758" cy="309600"/>
          </a:xfrm>
          <a:prstGeom prst="rect">
            <a:avLst/>
          </a:prstGeom>
          <a:ln>
            <a:noFill/>
          </a:ln>
        </p:spPr>
        <p:txBody>
          <a:bodyPr vert="horz" lIns="91440" tIns="45720" rIns="91440" bIns="45720" rtlCol="0" anchor="ctr"/>
          <a:lstStyle>
            <a:lvl1pPr algn="l">
              <a:defRPr sz="1000" b="0" i="0">
                <a:solidFill>
                  <a:schemeClr val="tx1"/>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
        <p:nvSpPr>
          <p:cNvPr id="9" name="TextBox 8">
            <a:extLst>
              <a:ext uri="{FF2B5EF4-FFF2-40B4-BE49-F238E27FC236}">
                <a16:creationId xmlns:a16="http://schemas.microsoft.com/office/drawing/2014/main" id="{F451A67E-FFD4-1EE3-6B6B-9F0EBEF492C5}"/>
              </a:ext>
            </a:extLst>
          </p:cNvPr>
          <p:cNvSpPr txBox="1"/>
          <p:nvPr userDrawn="1"/>
        </p:nvSpPr>
        <p:spPr>
          <a:xfrm>
            <a:off x="2623437" y="6429964"/>
            <a:ext cx="2455460" cy="309600"/>
          </a:xfrm>
          <a:prstGeom prst="rect">
            <a:avLst/>
          </a:prstGeom>
          <a:noFill/>
          <a:ln>
            <a:noFill/>
          </a:ln>
        </p:spPr>
        <p:txBody>
          <a:bodyPr wrap="square">
            <a:spAutoFit/>
          </a:bodyPr>
          <a:lstStyle/>
          <a:p>
            <a:r>
              <a:rPr lang="en-GB" sz="1000" b="0" i="0">
                <a:solidFill>
                  <a:schemeClr val="tx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tx1"/>
                </a:solidFill>
                <a:latin typeface="Garamond" panose="02020404030301010803" pitchFamily="18" charset="0"/>
                <a:ea typeface="Helvetica Neue UltraLight" panose="02000206000000020004" pitchFamily="2" charset="0"/>
              </a:rPr>
              <a:t>expert</a:t>
            </a:r>
            <a:r>
              <a:rPr lang="en-GB" sz="1000" b="0" i="0">
                <a:solidFill>
                  <a:schemeClr val="tx1"/>
                </a:solidFill>
                <a:latin typeface="Helvetica Neue UltraLight" panose="02000206000000020004" pitchFamily="2" charset="0"/>
                <a:ea typeface="Helvetica Neue UltraLight" panose="02000206000000020004" pitchFamily="2" charset="0"/>
              </a:rPr>
              <a:t> </a:t>
            </a:r>
            <a:r>
              <a:rPr lang="en-GB" sz="1000" b="0" i="0">
                <a:solidFill>
                  <a:schemeClr val="tx1"/>
                </a:solidFill>
                <a:latin typeface="Arial" panose="020B0604020202020204" pitchFamily="34" charset="0"/>
                <a:ea typeface="Helvetica Neue Thin" panose="020B0403020202020204" pitchFamily="34" charset="0"/>
                <a:cs typeface="Arial" panose="020B0604020202020204" pitchFamily="34" charset="0"/>
              </a:rPr>
              <a:t>intelligence</a:t>
            </a:r>
          </a:p>
        </p:txBody>
      </p:sp>
      <p:pic>
        <p:nvPicPr>
          <p:cNvPr id="11" name="Picture 10" descr="A logo on a black background&#10;&#10;Description automatically generated">
            <a:extLst>
              <a:ext uri="{FF2B5EF4-FFF2-40B4-BE49-F238E27FC236}">
                <a16:creationId xmlns:a16="http://schemas.microsoft.com/office/drawing/2014/main" id="{03AF0070-D10F-A04A-2EB8-EA1D12441212}"/>
              </a:ext>
            </a:extLst>
          </p:cNvPr>
          <p:cNvPicPr>
            <a:picLocks noChangeAspect="1"/>
          </p:cNvPicPr>
          <p:nvPr userDrawn="1"/>
        </p:nvPicPr>
        <p:blipFill rotWithShape="1">
          <a:blip r:embed="rId2"/>
          <a:srcRect l="7819" t="33017" r="74362" b="36885"/>
          <a:stretch/>
        </p:blipFill>
        <p:spPr>
          <a:xfrm>
            <a:off x="263816" y="334800"/>
            <a:ext cx="682031" cy="648000"/>
          </a:xfrm>
          <a:prstGeom prst="rect">
            <a:avLst/>
          </a:prstGeom>
        </p:spPr>
      </p:pic>
      <p:cxnSp>
        <p:nvCxnSpPr>
          <p:cNvPr id="12" name="Straight Connector 11">
            <a:extLst>
              <a:ext uri="{FF2B5EF4-FFF2-40B4-BE49-F238E27FC236}">
                <a16:creationId xmlns:a16="http://schemas.microsoft.com/office/drawing/2014/main" id="{2C42624A-C964-D754-74D3-C414D1BDB801}"/>
              </a:ext>
            </a:extLst>
          </p:cNvPr>
          <p:cNvCxnSpPr>
            <a:cxnSpLocks/>
          </p:cNvCxnSpPr>
          <p:nvPr userDrawn="1"/>
        </p:nvCxnSpPr>
        <p:spPr>
          <a:xfrm>
            <a:off x="27036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DD110B84-6B10-3CB8-E391-E7575A488B14}"/>
              </a:ext>
            </a:extLst>
          </p:cNvPr>
          <p:cNvCxnSpPr>
            <a:cxnSpLocks/>
          </p:cNvCxnSpPr>
          <p:nvPr userDrawn="1"/>
        </p:nvCxnSpPr>
        <p:spPr>
          <a:xfrm>
            <a:off x="54900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AADAA4DE-DB2D-5FCD-73F3-3F5AC92EAA80}"/>
              </a:ext>
            </a:extLst>
          </p:cNvPr>
          <p:cNvCxnSpPr>
            <a:cxnSpLocks/>
          </p:cNvCxnSpPr>
          <p:nvPr userDrawn="1"/>
        </p:nvCxnSpPr>
        <p:spPr>
          <a:xfrm>
            <a:off x="74124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05EC0B7B-85A6-B9FD-C196-74CC068BD310}"/>
              </a:ext>
            </a:extLst>
          </p:cNvPr>
          <p:cNvSpPr txBox="1"/>
          <p:nvPr userDrawn="1"/>
        </p:nvSpPr>
        <p:spPr>
          <a:xfrm>
            <a:off x="11682742" y="6458310"/>
            <a:ext cx="409669" cy="276999"/>
          </a:xfrm>
          <a:prstGeom prst="rect">
            <a:avLst/>
          </a:prstGeom>
          <a:noFill/>
        </p:spPr>
        <p:txBody>
          <a:bodyPr wrap="square" anchor="ctr">
            <a:spAutoFit/>
          </a:bodyPr>
          <a:lstStyle/>
          <a:p>
            <a:fld id="{562BA7E0-5F5E-EE41-AE8D-BD30ED9E17AD}" type="slidenum">
              <a:rPr lang="en-GB" sz="1200" smtClean="0">
                <a:solidFill>
                  <a:schemeClr val="tx1"/>
                </a:solidFill>
                <a:latin typeface="Arial" panose="020B0604020202020204" pitchFamily="34" charset="0"/>
                <a:cs typeface="Arial" panose="020B0604020202020204" pitchFamily="34" charset="0"/>
              </a:rPr>
              <a:pPr/>
              <a:t>‹#›</a:t>
            </a:fld>
            <a:endParaRPr lang="en-GB" sz="1200">
              <a:solidFill>
                <a:schemeClr val="tx1"/>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12596397-4B8B-C5D3-6C87-2024D4EBC593}"/>
              </a:ext>
            </a:extLst>
          </p:cNvPr>
          <p:cNvSpPr txBox="1"/>
          <p:nvPr userDrawn="1"/>
        </p:nvSpPr>
        <p:spPr>
          <a:xfrm>
            <a:off x="5476126" y="6429964"/>
            <a:ext cx="1286726" cy="276999"/>
          </a:xfrm>
          <a:prstGeom prst="rect">
            <a:avLst/>
          </a:prstGeom>
          <a:noFill/>
          <a:ln>
            <a:noFill/>
          </a:ln>
        </p:spPr>
        <p:txBody>
          <a:bodyPr wrap="square">
            <a:spAutoFit/>
          </a:bodyPr>
          <a:lstStyle/>
          <a:p>
            <a:pPr algn="ctr"/>
            <a:r>
              <a:rPr lang="en-GB" sz="1200" b="0" i="1">
                <a:solidFill>
                  <a:schemeClr val="tx1">
                    <a:lumMod val="50000"/>
                  </a:schemeClr>
                </a:solidFill>
                <a:latin typeface="Garamond" panose="02020404030301010803" pitchFamily="18" charset="0"/>
                <a:ea typeface="Helvetica Neue Thin" panose="020B0403020202020204" pitchFamily="34" charset="0"/>
                <a:cs typeface="Arial" panose="020B0604020202020204" pitchFamily="34" charset="0"/>
              </a:rPr>
              <a:t>May 2024</a:t>
            </a:r>
          </a:p>
        </p:txBody>
      </p:sp>
      <p:sp>
        <p:nvSpPr>
          <p:cNvPr id="2" name="Rectangle 1">
            <a:extLst>
              <a:ext uri="{FF2B5EF4-FFF2-40B4-BE49-F238E27FC236}">
                <a16:creationId xmlns:a16="http://schemas.microsoft.com/office/drawing/2014/main" id="{0B9C9635-FA90-5C54-570F-EAD9EA6295BB}"/>
              </a:ext>
            </a:extLst>
          </p:cNvPr>
          <p:cNvSpPr/>
          <p:nvPr userDrawn="1"/>
        </p:nvSpPr>
        <p:spPr>
          <a:xfrm>
            <a:off x="10273" y="20548"/>
            <a:ext cx="1335640" cy="19520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itle 1">
            <a:extLst>
              <a:ext uri="{FF2B5EF4-FFF2-40B4-BE49-F238E27FC236}">
                <a16:creationId xmlns:a16="http://schemas.microsoft.com/office/drawing/2014/main" id="{C459A5CD-BFA7-91EF-7D7D-A7C9A5492345}"/>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Tree>
    <p:extLst>
      <p:ext uri="{BB962C8B-B14F-4D97-AF65-F5344CB8AC3E}">
        <p14:creationId xmlns:p14="http://schemas.microsoft.com/office/powerpoint/2010/main" val="49633949"/>
      </p:ext>
    </p:extLst>
  </p:cSld>
  <p:clrMapOvr>
    <a:masterClrMapping/>
  </p:clrMapOvr>
  <p:extLst>
    <p:ext uri="{DCECCB84-F9BA-43D5-87BE-67443E8EF086}">
      <p15:sldGuideLst xmlns:p15="http://schemas.microsoft.com/office/powerpoint/2012/main">
        <p15:guide id="1" orient="horz" pos="1344">
          <p15:clr>
            <a:srgbClr val="5ACBF0"/>
          </p15:clr>
        </p15:guide>
        <p15:guide id="2" orient="horz" pos="3249">
          <p15:clr>
            <a:srgbClr val="5ACBF0"/>
          </p15:clr>
        </p15:guide>
        <p15:guide id="3" pos="3613">
          <p15:clr>
            <a:srgbClr val="5ACBF0"/>
          </p15:clr>
        </p15:guide>
        <p15:guide id="4" pos="710">
          <p15:clr>
            <a:srgbClr val="5ACBF0"/>
          </p15:clr>
        </p15:guide>
        <p15:guide id="5" orient="horz" pos="913">
          <p15:clr>
            <a:srgbClr val="F26B43"/>
          </p15:clr>
        </p15:guide>
        <p15:guide id="6" orient="horz" pos="3702">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6x6 Summ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noFill/>
        </p:spPr>
        <p:txBody>
          <a:bodyPr lIns="0"/>
          <a:lstStyle/>
          <a:p>
            <a:r>
              <a:rPr lang="en-US"/>
              <a:t>Click to edit Master title style</a:t>
            </a:r>
            <a:endParaRPr lang="en-GB"/>
          </a:p>
        </p:txBody>
      </p:sp>
      <p:sp>
        <p:nvSpPr>
          <p:cNvPr id="3" name="Slide Number Placeholder 2">
            <a:extLst>
              <a:ext uri="{FF2B5EF4-FFF2-40B4-BE49-F238E27FC236}">
                <a16:creationId xmlns:a16="http://schemas.microsoft.com/office/drawing/2014/main" id="{F6A6F3C7-49FD-B21D-A71C-794307806CB1}"/>
              </a:ext>
            </a:extLst>
          </p:cNvPr>
          <p:cNvSpPr>
            <a:spLocks noGrp="1"/>
          </p:cNvSpPr>
          <p:nvPr>
            <p:ph type="sldNum" sz="quarter" idx="10"/>
          </p:nvPr>
        </p:nvSpPr>
        <p:spPr>
          <a:noFill/>
        </p:spPr>
        <p:txBody>
          <a:bodyPr/>
          <a:lstStyle>
            <a:lvl1pPr>
              <a:defRPr sz="1200">
                <a:solidFill>
                  <a:schemeClr val="tx1"/>
                </a:solidFill>
              </a:defRPr>
            </a:lvl1pPr>
          </a:lstStyle>
          <a:p>
            <a:endParaRPr lang="en-GB"/>
          </a:p>
        </p:txBody>
      </p:sp>
      <p:sp>
        <p:nvSpPr>
          <p:cNvPr id="4" name="Footer Placeholder 3">
            <a:extLst>
              <a:ext uri="{FF2B5EF4-FFF2-40B4-BE49-F238E27FC236}">
                <a16:creationId xmlns:a16="http://schemas.microsoft.com/office/drawing/2014/main" id="{5E7FC5AF-5497-9574-95D6-1D004FDD63BA}"/>
              </a:ext>
            </a:extLst>
          </p:cNvPr>
          <p:cNvSpPr>
            <a:spLocks noGrp="1"/>
          </p:cNvSpPr>
          <p:nvPr>
            <p:ph type="ftr" sz="quarter" idx="11"/>
          </p:nvPr>
        </p:nvSpPr>
        <p:spPr>
          <a:xfrm>
            <a:off x="7350369" y="6429965"/>
            <a:ext cx="3176758" cy="307777"/>
          </a:xfrm>
          <a:prstGeom prst="rect">
            <a:avLst/>
          </a:prstGeom>
          <a:noFill/>
        </p:spPr>
        <p:txBody>
          <a:bodyPr/>
          <a:lstStyle/>
          <a:p>
            <a:r>
              <a:rPr lang="en-US"/>
              <a:t>Co &amp; Li supply: stopgap or structural shift</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3537" y="972000"/>
            <a:ext cx="2880000" cy="288000"/>
          </a:xfrm>
          <a:noFill/>
        </p:spPr>
        <p:txBody>
          <a:bodyPr lIns="0"/>
          <a:lstStyle>
            <a:lvl1pPr>
              <a:defRPr sz="1300"/>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4000" y="1260000"/>
            <a:ext cx="3744000" cy="2169000"/>
          </a:xfrm>
          <a:noFill/>
        </p:spPr>
        <p:txBody>
          <a:bodyPr/>
          <a:lstStyle>
            <a:lvl1pPr algn="ctr">
              <a:defRPr/>
            </a:lvl1pPr>
            <a:lvl5pPr>
              <a:defRPr/>
            </a:lvl5pPr>
          </a:lstStyle>
          <a:p>
            <a:pPr lvl="0"/>
            <a:r>
              <a:rPr lang="en-US"/>
              <a:t>Insert Char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11365200" cy="215999"/>
          </a:xfrm>
          <a:noFill/>
        </p:spPr>
        <p:txBody>
          <a:bodyPr lIns="0"/>
          <a:lstStyle>
            <a:lvl1pPr>
              <a:defRPr sz="1050">
                <a:solidFill>
                  <a:schemeClr val="tx1"/>
                </a:solidFill>
              </a:defRPr>
            </a:lvl1pPr>
            <a:lvl5pPr>
              <a:defRPr sz="1050">
                <a:solidFill>
                  <a:schemeClr val="tx1"/>
                </a:solidFill>
              </a:defRPr>
            </a:lvl5pPr>
          </a:lstStyle>
          <a:p>
            <a:pPr lvl="0"/>
            <a:r>
              <a:rPr lang="en-US"/>
              <a:t>DATA: CRU</a:t>
            </a:r>
            <a:endParaRPr lang="en-GB"/>
          </a:p>
        </p:txBody>
      </p:sp>
      <p:sp>
        <p:nvSpPr>
          <p:cNvPr id="13" name="Text Placeholder 5">
            <a:extLst>
              <a:ext uri="{FF2B5EF4-FFF2-40B4-BE49-F238E27FC236}">
                <a16:creationId xmlns:a16="http://schemas.microsoft.com/office/drawing/2014/main" id="{0F05E3CC-77D8-00D4-3892-43359D3D440D}"/>
              </a:ext>
            </a:extLst>
          </p:cNvPr>
          <p:cNvSpPr>
            <a:spLocks noGrp="1"/>
          </p:cNvSpPr>
          <p:nvPr>
            <p:ph type="body" sz="quarter" idx="20" hasCustomPrompt="1"/>
          </p:nvPr>
        </p:nvSpPr>
        <p:spPr>
          <a:xfrm>
            <a:off x="4233266" y="972000"/>
            <a:ext cx="2880000" cy="288000"/>
          </a:xfrm>
          <a:noFill/>
        </p:spPr>
        <p:txBody>
          <a:bodyPr lIns="108000"/>
          <a:lstStyle>
            <a:lvl1pPr>
              <a:defRPr sz="1300"/>
            </a:lvl1pPr>
          </a:lstStyle>
          <a:p>
            <a:pPr lvl="0"/>
            <a:r>
              <a:rPr lang="en-US"/>
              <a:t>Chart headline</a:t>
            </a:r>
          </a:p>
        </p:txBody>
      </p:sp>
      <p:sp>
        <p:nvSpPr>
          <p:cNvPr id="14" name="Content Placeholder 7">
            <a:extLst>
              <a:ext uri="{FF2B5EF4-FFF2-40B4-BE49-F238E27FC236}">
                <a16:creationId xmlns:a16="http://schemas.microsoft.com/office/drawing/2014/main" id="{CB8F5FCB-FB91-1CC1-0B13-4616C17F6F8D}"/>
              </a:ext>
            </a:extLst>
          </p:cNvPr>
          <p:cNvSpPr>
            <a:spLocks noGrp="1"/>
          </p:cNvSpPr>
          <p:nvPr>
            <p:ph sz="quarter" idx="21" hasCustomPrompt="1"/>
          </p:nvPr>
        </p:nvSpPr>
        <p:spPr>
          <a:xfrm>
            <a:off x="4233266" y="1260000"/>
            <a:ext cx="3744000" cy="2169000"/>
          </a:xfrm>
          <a:noFill/>
        </p:spPr>
        <p:txBody>
          <a:bodyPr/>
          <a:lstStyle>
            <a:lvl1pPr algn="ctr">
              <a:defRPr/>
            </a:lvl1pPr>
            <a:lvl5pPr>
              <a:defRPr/>
            </a:lvl5pPr>
          </a:lstStyle>
          <a:p>
            <a:pPr lvl="0"/>
            <a:r>
              <a:rPr lang="en-US"/>
              <a:t>Insert Chart</a:t>
            </a:r>
            <a:endParaRPr lang="en-GB"/>
          </a:p>
        </p:txBody>
      </p:sp>
      <p:sp>
        <p:nvSpPr>
          <p:cNvPr id="17" name="Text Placeholder 5">
            <a:extLst>
              <a:ext uri="{FF2B5EF4-FFF2-40B4-BE49-F238E27FC236}">
                <a16:creationId xmlns:a16="http://schemas.microsoft.com/office/drawing/2014/main" id="{82725930-D425-C749-FEC9-D1707FF63950}"/>
              </a:ext>
            </a:extLst>
          </p:cNvPr>
          <p:cNvSpPr>
            <a:spLocks noGrp="1"/>
          </p:cNvSpPr>
          <p:nvPr>
            <p:ph type="body" sz="quarter" idx="24" hasCustomPrompt="1"/>
          </p:nvPr>
        </p:nvSpPr>
        <p:spPr>
          <a:xfrm>
            <a:off x="8041899" y="972000"/>
            <a:ext cx="2880000" cy="288000"/>
          </a:xfrm>
          <a:noFill/>
        </p:spPr>
        <p:txBody>
          <a:bodyPr lIns="108000"/>
          <a:lstStyle>
            <a:lvl1pPr>
              <a:defRPr sz="1300"/>
            </a:lvl1pPr>
          </a:lstStyle>
          <a:p>
            <a:pPr lvl="0"/>
            <a:r>
              <a:rPr lang="en-US"/>
              <a:t>Chart headline</a:t>
            </a:r>
          </a:p>
        </p:txBody>
      </p:sp>
      <p:sp>
        <p:nvSpPr>
          <p:cNvPr id="18" name="Content Placeholder 7">
            <a:extLst>
              <a:ext uri="{FF2B5EF4-FFF2-40B4-BE49-F238E27FC236}">
                <a16:creationId xmlns:a16="http://schemas.microsoft.com/office/drawing/2014/main" id="{ECAB1B5D-539C-8387-B045-BAF0C5698A72}"/>
              </a:ext>
            </a:extLst>
          </p:cNvPr>
          <p:cNvSpPr>
            <a:spLocks noGrp="1"/>
          </p:cNvSpPr>
          <p:nvPr>
            <p:ph sz="quarter" idx="25" hasCustomPrompt="1"/>
          </p:nvPr>
        </p:nvSpPr>
        <p:spPr>
          <a:xfrm>
            <a:off x="8041899" y="1260000"/>
            <a:ext cx="3744000" cy="2169000"/>
          </a:xfrm>
          <a:noFill/>
        </p:spPr>
        <p:txBody>
          <a:bodyPr/>
          <a:lstStyle>
            <a:lvl1pPr algn="ctr">
              <a:defRPr/>
            </a:lvl1pPr>
            <a:lvl5pPr>
              <a:defRPr/>
            </a:lvl5pPr>
          </a:lstStyle>
          <a:p>
            <a:pPr lvl="0"/>
            <a:r>
              <a:rPr lang="en-US"/>
              <a:t>Insert Chart</a:t>
            </a:r>
            <a:endParaRPr lang="en-GB"/>
          </a:p>
        </p:txBody>
      </p:sp>
      <p:cxnSp>
        <p:nvCxnSpPr>
          <p:cNvPr id="7" name="Straight Connector 6">
            <a:extLst>
              <a:ext uri="{FF2B5EF4-FFF2-40B4-BE49-F238E27FC236}">
                <a16:creationId xmlns:a16="http://schemas.microsoft.com/office/drawing/2014/main" id="{975CDD6E-035F-9465-32D7-99297026358F}"/>
              </a:ext>
            </a:extLst>
          </p:cNvPr>
          <p:cNvCxnSpPr/>
          <p:nvPr userDrawn="1"/>
        </p:nvCxnSpPr>
        <p:spPr>
          <a:xfrm>
            <a:off x="4190031" y="3779151"/>
            <a:ext cx="7937" cy="1990725"/>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0" name="Straight Connector 9">
            <a:extLst>
              <a:ext uri="{FF2B5EF4-FFF2-40B4-BE49-F238E27FC236}">
                <a16:creationId xmlns:a16="http://schemas.microsoft.com/office/drawing/2014/main" id="{2A904D48-4B83-5BF3-D639-51D8FAB1FCCD}"/>
              </a:ext>
            </a:extLst>
          </p:cNvPr>
          <p:cNvCxnSpPr/>
          <p:nvPr userDrawn="1"/>
        </p:nvCxnSpPr>
        <p:spPr>
          <a:xfrm>
            <a:off x="7991475" y="3779151"/>
            <a:ext cx="7937" cy="1990725"/>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1" name="Straight Connector 10">
            <a:extLst>
              <a:ext uri="{FF2B5EF4-FFF2-40B4-BE49-F238E27FC236}">
                <a16:creationId xmlns:a16="http://schemas.microsoft.com/office/drawing/2014/main" id="{03F1CA78-3547-5512-F36A-2F1EEF65A0E0}"/>
              </a:ext>
            </a:extLst>
          </p:cNvPr>
          <p:cNvCxnSpPr/>
          <p:nvPr userDrawn="1"/>
        </p:nvCxnSpPr>
        <p:spPr>
          <a:xfrm>
            <a:off x="4197968" y="1401902"/>
            <a:ext cx="7937" cy="1990725"/>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6" name="Straight Connector 15">
            <a:extLst>
              <a:ext uri="{FF2B5EF4-FFF2-40B4-BE49-F238E27FC236}">
                <a16:creationId xmlns:a16="http://schemas.microsoft.com/office/drawing/2014/main" id="{7561E445-AB46-12BB-71E4-C5DB6124E6E7}"/>
              </a:ext>
            </a:extLst>
          </p:cNvPr>
          <p:cNvCxnSpPr/>
          <p:nvPr userDrawn="1"/>
        </p:nvCxnSpPr>
        <p:spPr>
          <a:xfrm>
            <a:off x="7999412" y="1401902"/>
            <a:ext cx="7937" cy="1990725"/>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40" name="Straight Connector 39">
            <a:extLst>
              <a:ext uri="{FF2B5EF4-FFF2-40B4-BE49-F238E27FC236}">
                <a16:creationId xmlns:a16="http://schemas.microsoft.com/office/drawing/2014/main" id="{278D58A8-BE28-DE7D-6C5A-A9A83475BCC9}"/>
              </a:ext>
            </a:extLst>
          </p:cNvPr>
          <p:cNvCxnSpPr/>
          <p:nvPr userDrawn="1"/>
        </p:nvCxnSpPr>
        <p:spPr>
          <a:xfrm>
            <a:off x="658600" y="3494879"/>
            <a:ext cx="3251413" cy="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41" name="Straight Connector 40">
            <a:extLst>
              <a:ext uri="{FF2B5EF4-FFF2-40B4-BE49-F238E27FC236}">
                <a16:creationId xmlns:a16="http://schemas.microsoft.com/office/drawing/2014/main" id="{5B27A369-CAEB-07CB-E8C4-BB5EE7BE8F47}"/>
              </a:ext>
            </a:extLst>
          </p:cNvPr>
          <p:cNvCxnSpPr/>
          <p:nvPr userDrawn="1"/>
        </p:nvCxnSpPr>
        <p:spPr>
          <a:xfrm>
            <a:off x="4439443" y="3494879"/>
            <a:ext cx="3251413" cy="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42" name="Straight Connector 41">
            <a:extLst>
              <a:ext uri="{FF2B5EF4-FFF2-40B4-BE49-F238E27FC236}">
                <a16:creationId xmlns:a16="http://schemas.microsoft.com/office/drawing/2014/main" id="{6F2B0CF4-4040-2F53-E5C0-3C48211F50AF}"/>
              </a:ext>
            </a:extLst>
          </p:cNvPr>
          <p:cNvCxnSpPr/>
          <p:nvPr userDrawn="1"/>
        </p:nvCxnSpPr>
        <p:spPr>
          <a:xfrm>
            <a:off x="8221441" y="3494879"/>
            <a:ext cx="3251413" cy="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sp>
        <p:nvSpPr>
          <p:cNvPr id="19" name="Text Placeholder 5">
            <a:extLst>
              <a:ext uri="{FF2B5EF4-FFF2-40B4-BE49-F238E27FC236}">
                <a16:creationId xmlns:a16="http://schemas.microsoft.com/office/drawing/2014/main" id="{E3AE09A3-7ED0-CFEC-F594-84B47BC5ABC8}"/>
              </a:ext>
            </a:extLst>
          </p:cNvPr>
          <p:cNvSpPr>
            <a:spLocks noGrp="1"/>
          </p:cNvSpPr>
          <p:nvPr>
            <p:ph type="body" sz="quarter" idx="26" hasCustomPrompt="1"/>
          </p:nvPr>
        </p:nvSpPr>
        <p:spPr>
          <a:xfrm>
            <a:off x="396061" y="3550000"/>
            <a:ext cx="2880000" cy="288000"/>
          </a:xfrm>
          <a:noFill/>
        </p:spPr>
        <p:txBody>
          <a:bodyPr lIns="0"/>
          <a:lstStyle>
            <a:lvl1pPr>
              <a:defRPr sz="1300"/>
            </a:lvl1pPr>
          </a:lstStyle>
          <a:p>
            <a:pPr lvl="0"/>
            <a:r>
              <a:rPr lang="en-US"/>
              <a:t>Chart headline</a:t>
            </a:r>
          </a:p>
        </p:txBody>
      </p:sp>
      <p:sp>
        <p:nvSpPr>
          <p:cNvPr id="20" name="Content Placeholder 7">
            <a:extLst>
              <a:ext uri="{FF2B5EF4-FFF2-40B4-BE49-F238E27FC236}">
                <a16:creationId xmlns:a16="http://schemas.microsoft.com/office/drawing/2014/main" id="{8068154B-E4C5-D725-B0F4-9FB32C30F8B8}"/>
              </a:ext>
            </a:extLst>
          </p:cNvPr>
          <p:cNvSpPr>
            <a:spLocks noGrp="1"/>
          </p:cNvSpPr>
          <p:nvPr>
            <p:ph sz="quarter" idx="27" hasCustomPrompt="1"/>
          </p:nvPr>
        </p:nvSpPr>
        <p:spPr>
          <a:xfrm>
            <a:off x="396524" y="3838000"/>
            <a:ext cx="3744000" cy="2169000"/>
          </a:xfrm>
          <a:noFill/>
        </p:spPr>
        <p:txBody>
          <a:bodyPr/>
          <a:lstStyle>
            <a:lvl1pPr algn="ctr">
              <a:defRPr/>
            </a:lvl1pPr>
            <a:lvl5pPr>
              <a:defRPr/>
            </a:lvl5pPr>
          </a:lstStyle>
          <a:p>
            <a:pPr lvl="0"/>
            <a:r>
              <a:rPr lang="en-US"/>
              <a:t>Insert Chart</a:t>
            </a:r>
            <a:endParaRPr lang="en-GB"/>
          </a:p>
        </p:txBody>
      </p:sp>
      <p:sp>
        <p:nvSpPr>
          <p:cNvPr id="21" name="Text Placeholder 5">
            <a:extLst>
              <a:ext uri="{FF2B5EF4-FFF2-40B4-BE49-F238E27FC236}">
                <a16:creationId xmlns:a16="http://schemas.microsoft.com/office/drawing/2014/main" id="{609161F2-4E81-2C5A-1355-1578C6966E55}"/>
              </a:ext>
            </a:extLst>
          </p:cNvPr>
          <p:cNvSpPr>
            <a:spLocks noGrp="1"/>
          </p:cNvSpPr>
          <p:nvPr>
            <p:ph type="body" sz="quarter" idx="28" hasCustomPrompt="1"/>
          </p:nvPr>
        </p:nvSpPr>
        <p:spPr>
          <a:xfrm>
            <a:off x="4226803" y="3544789"/>
            <a:ext cx="2880000" cy="288000"/>
          </a:xfrm>
          <a:noFill/>
        </p:spPr>
        <p:txBody>
          <a:bodyPr lIns="0"/>
          <a:lstStyle>
            <a:lvl1pPr>
              <a:defRPr sz="1300"/>
            </a:lvl1pPr>
          </a:lstStyle>
          <a:p>
            <a:pPr lvl="0"/>
            <a:r>
              <a:rPr lang="en-US"/>
              <a:t>Chart headline</a:t>
            </a:r>
          </a:p>
        </p:txBody>
      </p:sp>
      <p:sp>
        <p:nvSpPr>
          <p:cNvPr id="43" name="Content Placeholder 7">
            <a:extLst>
              <a:ext uri="{FF2B5EF4-FFF2-40B4-BE49-F238E27FC236}">
                <a16:creationId xmlns:a16="http://schemas.microsoft.com/office/drawing/2014/main" id="{5DF6CD11-0BA6-BE5F-0CEB-B8C7EB3A63DB}"/>
              </a:ext>
            </a:extLst>
          </p:cNvPr>
          <p:cNvSpPr>
            <a:spLocks noGrp="1"/>
          </p:cNvSpPr>
          <p:nvPr>
            <p:ph sz="quarter" idx="29" hasCustomPrompt="1"/>
          </p:nvPr>
        </p:nvSpPr>
        <p:spPr>
          <a:xfrm>
            <a:off x="4227266" y="3832789"/>
            <a:ext cx="3744000" cy="2169000"/>
          </a:xfrm>
          <a:noFill/>
        </p:spPr>
        <p:txBody>
          <a:bodyPr/>
          <a:lstStyle>
            <a:lvl1pPr algn="ctr">
              <a:defRPr/>
            </a:lvl1pPr>
            <a:lvl5pPr>
              <a:defRPr/>
            </a:lvl5pPr>
          </a:lstStyle>
          <a:p>
            <a:pPr lvl="0"/>
            <a:r>
              <a:rPr lang="en-US"/>
              <a:t>Insert Chart</a:t>
            </a:r>
            <a:endParaRPr lang="en-GB"/>
          </a:p>
        </p:txBody>
      </p:sp>
      <p:sp>
        <p:nvSpPr>
          <p:cNvPr id="44" name="Text Placeholder 5">
            <a:extLst>
              <a:ext uri="{FF2B5EF4-FFF2-40B4-BE49-F238E27FC236}">
                <a16:creationId xmlns:a16="http://schemas.microsoft.com/office/drawing/2014/main" id="{A229D186-3AC0-9035-9DEC-A33E0A69EFCF}"/>
              </a:ext>
            </a:extLst>
          </p:cNvPr>
          <p:cNvSpPr>
            <a:spLocks noGrp="1"/>
          </p:cNvSpPr>
          <p:nvPr>
            <p:ph type="body" sz="quarter" idx="30" hasCustomPrompt="1"/>
          </p:nvPr>
        </p:nvSpPr>
        <p:spPr>
          <a:xfrm>
            <a:off x="8025468" y="3544789"/>
            <a:ext cx="2880000" cy="288000"/>
          </a:xfrm>
          <a:noFill/>
        </p:spPr>
        <p:txBody>
          <a:bodyPr lIns="0"/>
          <a:lstStyle>
            <a:lvl1pPr>
              <a:defRPr sz="1300"/>
            </a:lvl1pPr>
          </a:lstStyle>
          <a:p>
            <a:pPr lvl="0"/>
            <a:r>
              <a:rPr lang="en-US"/>
              <a:t>Chart headline</a:t>
            </a:r>
          </a:p>
        </p:txBody>
      </p:sp>
      <p:sp>
        <p:nvSpPr>
          <p:cNvPr id="45" name="Content Placeholder 7">
            <a:extLst>
              <a:ext uri="{FF2B5EF4-FFF2-40B4-BE49-F238E27FC236}">
                <a16:creationId xmlns:a16="http://schemas.microsoft.com/office/drawing/2014/main" id="{D0AABD0E-4839-EF4E-3ED7-F0E60DAFA138}"/>
              </a:ext>
            </a:extLst>
          </p:cNvPr>
          <p:cNvSpPr>
            <a:spLocks noGrp="1"/>
          </p:cNvSpPr>
          <p:nvPr>
            <p:ph sz="quarter" idx="31" hasCustomPrompt="1"/>
          </p:nvPr>
        </p:nvSpPr>
        <p:spPr>
          <a:xfrm>
            <a:off x="8025931" y="3832789"/>
            <a:ext cx="3744000" cy="2169000"/>
          </a:xfrm>
          <a:noFill/>
        </p:spPr>
        <p:txBody>
          <a:bodyPr/>
          <a:lstStyle>
            <a:lvl1pPr algn="ctr">
              <a:defRPr/>
            </a:lvl1pPr>
            <a:lvl5pPr>
              <a:defRPr/>
            </a:lvl5pPr>
          </a:lstStyle>
          <a:p>
            <a:pPr lvl="0"/>
            <a:r>
              <a:rPr lang="en-US"/>
              <a:t>Insert Chart</a:t>
            </a:r>
            <a:endParaRPr lang="en-GB"/>
          </a:p>
        </p:txBody>
      </p:sp>
      <p:sp>
        <p:nvSpPr>
          <p:cNvPr id="5" name="Rectangle 4">
            <a:extLst>
              <a:ext uri="{FF2B5EF4-FFF2-40B4-BE49-F238E27FC236}">
                <a16:creationId xmlns:a16="http://schemas.microsoft.com/office/drawing/2014/main" id="{518BAD1B-9DC8-E67B-F902-FAD718D6AC78}"/>
              </a:ext>
            </a:extLst>
          </p:cNvPr>
          <p:cNvSpPr/>
          <p:nvPr userDrawn="1"/>
        </p:nvSpPr>
        <p:spPr>
          <a:xfrm>
            <a:off x="10273" y="20548"/>
            <a:ext cx="1335640" cy="19520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484190493"/>
      </p:ext>
    </p:extLst>
  </p:cSld>
  <p:clrMapOvr>
    <a:masterClrMapping/>
  </p:clrMapOvr>
  <p:extLst>
    <p:ext uri="{DCECCB84-F9BA-43D5-87BE-67443E8EF086}">
      <p15:sldGuideLst xmlns:p15="http://schemas.microsoft.com/office/powerpoint/2012/main">
        <p15:guide id="1" pos="551">
          <p15:clr>
            <a:srgbClr val="5ACBF0"/>
          </p15:clr>
        </p15:guide>
        <p15:guide id="2" pos="2479">
          <p15:clr>
            <a:srgbClr val="5ACBF0"/>
          </p15:clr>
        </p15:guide>
        <p15:guide id="3" pos="2955">
          <p15:clr>
            <a:srgbClr val="5ACBF0"/>
          </p15:clr>
        </p15:guide>
        <p15:guide id="4" pos="4861">
          <p15:clr>
            <a:srgbClr val="5ACBF0"/>
          </p15:clr>
        </p15:guide>
        <p15:guide id="5" pos="7242">
          <p15:clr>
            <a:srgbClr val="5ACBF0"/>
          </p15:clr>
        </p15:guide>
        <p15:guide id="6" pos="5337">
          <p15:clr>
            <a:srgbClr val="5ACBF0"/>
          </p15:clr>
        </p15:guide>
        <p15:guide id="7" orient="horz" pos="1094">
          <p15:clr>
            <a:srgbClr val="5ACBF0"/>
          </p15:clr>
        </p15:guide>
        <p15:guide id="8" orient="horz" pos="1933">
          <p15:clr>
            <a:srgbClr val="5ACBF0"/>
          </p15:clr>
        </p15:guide>
        <p15:guide id="9" orient="horz" pos="799">
          <p15:clr>
            <a:srgbClr val="F26B43"/>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Summary Storybo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noFill/>
        </p:spPr>
        <p:txBody>
          <a:bodyPr lIns="0"/>
          <a:lstStyle/>
          <a:p>
            <a:r>
              <a:rPr lang="en-US"/>
              <a:t>Click to edit Master title style</a:t>
            </a:r>
            <a:endParaRPr lang="en-GB"/>
          </a:p>
        </p:txBody>
      </p:sp>
      <p:sp>
        <p:nvSpPr>
          <p:cNvPr id="3" name="Slide Number Placeholder 2">
            <a:extLst>
              <a:ext uri="{FF2B5EF4-FFF2-40B4-BE49-F238E27FC236}">
                <a16:creationId xmlns:a16="http://schemas.microsoft.com/office/drawing/2014/main" id="{F6A6F3C7-49FD-B21D-A71C-794307806CB1}"/>
              </a:ext>
            </a:extLst>
          </p:cNvPr>
          <p:cNvSpPr>
            <a:spLocks noGrp="1"/>
          </p:cNvSpPr>
          <p:nvPr>
            <p:ph type="sldNum" sz="quarter" idx="10"/>
          </p:nvPr>
        </p:nvSpPr>
        <p:spPr>
          <a:noFill/>
        </p:spPr>
        <p:txBody>
          <a:bodyPr/>
          <a:lstStyle>
            <a:lvl1pPr>
              <a:defRPr sz="1200">
                <a:solidFill>
                  <a:schemeClr val="tx1"/>
                </a:solidFill>
              </a:defRPr>
            </a:lvl1pPr>
          </a:lstStyle>
          <a:p>
            <a:endParaRPr lang="en-GB"/>
          </a:p>
        </p:txBody>
      </p:sp>
      <p:sp>
        <p:nvSpPr>
          <p:cNvPr id="4" name="Footer Placeholder 3">
            <a:extLst>
              <a:ext uri="{FF2B5EF4-FFF2-40B4-BE49-F238E27FC236}">
                <a16:creationId xmlns:a16="http://schemas.microsoft.com/office/drawing/2014/main" id="{5E7FC5AF-5497-9574-95D6-1D004FDD63BA}"/>
              </a:ext>
            </a:extLst>
          </p:cNvPr>
          <p:cNvSpPr>
            <a:spLocks noGrp="1"/>
          </p:cNvSpPr>
          <p:nvPr>
            <p:ph type="ftr" sz="quarter" idx="11"/>
          </p:nvPr>
        </p:nvSpPr>
        <p:spPr>
          <a:xfrm>
            <a:off x="7350369" y="6429965"/>
            <a:ext cx="3176758" cy="307777"/>
          </a:xfrm>
          <a:prstGeom prst="rect">
            <a:avLst/>
          </a:prstGeom>
          <a:noFill/>
        </p:spPr>
        <p:txBody>
          <a:bodyPr/>
          <a:lstStyle/>
          <a:p>
            <a:r>
              <a:rPr lang="en-US"/>
              <a:t>Co &amp; Li supply: stopgap or structural shift</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04392" y="972000"/>
            <a:ext cx="3744000" cy="288000"/>
          </a:xfrm>
          <a:noFill/>
        </p:spPr>
        <p:txBody>
          <a:bodyPr lIns="0"/>
          <a:lstStyle>
            <a:lvl1pPr>
              <a:defRPr sz="1300"/>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04856" y="1260000"/>
            <a:ext cx="3744000" cy="2169000"/>
          </a:xfrm>
          <a:noFill/>
        </p:spPr>
        <p:txBody>
          <a:bodyPr/>
          <a:lstStyle>
            <a:lvl1pPr algn="ctr">
              <a:defRPr/>
            </a:lvl1pPr>
            <a:lvl5pPr>
              <a:defRPr/>
            </a:lvl5pPr>
          </a:lstStyle>
          <a:p>
            <a:pPr lvl="0"/>
            <a:r>
              <a:rPr lang="en-US"/>
              <a:t>Insert Char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11365200" cy="215999"/>
          </a:xfrm>
          <a:noFill/>
        </p:spPr>
        <p:txBody>
          <a:bodyPr lIns="0"/>
          <a:lstStyle>
            <a:lvl1pPr>
              <a:defRPr sz="1050">
                <a:solidFill>
                  <a:schemeClr val="tx1"/>
                </a:solidFill>
              </a:defRPr>
            </a:lvl1pPr>
            <a:lvl5pPr>
              <a:defRPr sz="1050">
                <a:solidFill>
                  <a:schemeClr val="tx1"/>
                </a:solidFill>
              </a:defRPr>
            </a:lvl5pPr>
          </a:lstStyle>
          <a:p>
            <a:pPr lvl="0"/>
            <a:r>
              <a:rPr lang="en-US"/>
              <a:t>DATA: CRU</a:t>
            </a:r>
            <a:endParaRPr lang="en-GB"/>
          </a:p>
        </p:txBody>
      </p:sp>
      <p:sp>
        <p:nvSpPr>
          <p:cNvPr id="13" name="Text Placeholder 5">
            <a:extLst>
              <a:ext uri="{FF2B5EF4-FFF2-40B4-BE49-F238E27FC236}">
                <a16:creationId xmlns:a16="http://schemas.microsoft.com/office/drawing/2014/main" id="{0F05E3CC-77D8-00D4-3892-43359D3D440D}"/>
              </a:ext>
            </a:extLst>
          </p:cNvPr>
          <p:cNvSpPr>
            <a:spLocks noGrp="1"/>
          </p:cNvSpPr>
          <p:nvPr>
            <p:ph type="body" sz="quarter" idx="20" hasCustomPrompt="1"/>
          </p:nvPr>
        </p:nvSpPr>
        <p:spPr>
          <a:xfrm>
            <a:off x="4230286" y="972000"/>
            <a:ext cx="3744000" cy="288000"/>
          </a:xfrm>
          <a:noFill/>
        </p:spPr>
        <p:txBody>
          <a:bodyPr lIns="108000"/>
          <a:lstStyle>
            <a:lvl1pPr>
              <a:defRPr sz="1300"/>
            </a:lvl1pPr>
          </a:lstStyle>
          <a:p>
            <a:pPr lvl="0"/>
            <a:r>
              <a:rPr lang="en-US"/>
              <a:t>Chart headline</a:t>
            </a:r>
          </a:p>
        </p:txBody>
      </p:sp>
      <p:sp>
        <p:nvSpPr>
          <p:cNvPr id="14" name="Content Placeholder 7">
            <a:extLst>
              <a:ext uri="{FF2B5EF4-FFF2-40B4-BE49-F238E27FC236}">
                <a16:creationId xmlns:a16="http://schemas.microsoft.com/office/drawing/2014/main" id="{CB8F5FCB-FB91-1CC1-0B13-4616C17F6F8D}"/>
              </a:ext>
            </a:extLst>
          </p:cNvPr>
          <p:cNvSpPr>
            <a:spLocks noGrp="1"/>
          </p:cNvSpPr>
          <p:nvPr>
            <p:ph sz="quarter" idx="21" hasCustomPrompt="1"/>
          </p:nvPr>
        </p:nvSpPr>
        <p:spPr>
          <a:xfrm>
            <a:off x="4230288" y="1260000"/>
            <a:ext cx="3744000" cy="2169000"/>
          </a:xfrm>
          <a:noFill/>
        </p:spPr>
        <p:txBody>
          <a:bodyPr/>
          <a:lstStyle>
            <a:lvl1pPr algn="ctr">
              <a:defRPr/>
            </a:lvl1pPr>
            <a:lvl5pPr>
              <a:defRPr/>
            </a:lvl5pPr>
          </a:lstStyle>
          <a:p>
            <a:pPr lvl="0"/>
            <a:r>
              <a:rPr lang="en-US"/>
              <a:t>Insert Chart</a:t>
            </a:r>
            <a:endParaRPr lang="en-GB"/>
          </a:p>
        </p:txBody>
      </p:sp>
      <p:sp>
        <p:nvSpPr>
          <p:cNvPr id="17" name="Text Placeholder 5">
            <a:extLst>
              <a:ext uri="{FF2B5EF4-FFF2-40B4-BE49-F238E27FC236}">
                <a16:creationId xmlns:a16="http://schemas.microsoft.com/office/drawing/2014/main" id="{82725930-D425-C749-FEC9-D1707FF63950}"/>
              </a:ext>
            </a:extLst>
          </p:cNvPr>
          <p:cNvSpPr>
            <a:spLocks noGrp="1"/>
          </p:cNvSpPr>
          <p:nvPr>
            <p:ph type="body" sz="quarter" idx="24" hasCustomPrompt="1"/>
          </p:nvPr>
        </p:nvSpPr>
        <p:spPr>
          <a:xfrm>
            <a:off x="8037432" y="972000"/>
            <a:ext cx="3744000" cy="288000"/>
          </a:xfrm>
          <a:noFill/>
        </p:spPr>
        <p:txBody>
          <a:bodyPr lIns="108000"/>
          <a:lstStyle>
            <a:lvl1pPr>
              <a:defRPr sz="1300"/>
            </a:lvl1pPr>
          </a:lstStyle>
          <a:p>
            <a:pPr lvl="0"/>
            <a:r>
              <a:rPr lang="en-US"/>
              <a:t>Chart headline</a:t>
            </a:r>
          </a:p>
        </p:txBody>
      </p:sp>
      <p:sp>
        <p:nvSpPr>
          <p:cNvPr id="18" name="Content Placeholder 7">
            <a:extLst>
              <a:ext uri="{FF2B5EF4-FFF2-40B4-BE49-F238E27FC236}">
                <a16:creationId xmlns:a16="http://schemas.microsoft.com/office/drawing/2014/main" id="{ECAB1B5D-539C-8387-B045-BAF0C5698A72}"/>
              </a:ext>
            </a:extLst>
          </p:cNvPr>
          <p:cNvSpPr>
            <a:spLocks noGrp="1"/>
          </p:cNvSpPr>
          <p:nvPr>
            <p:ph sz="quarter" idx="25" hasCustomPrompt="1"/>
          </p:nvPr>
        </p:nvSpPr>
        <p:spPr>
          <a:xfrm>
            <a:off x="8037432" y="1260000"/>
            <a:ext cx="3744000" cy="2169000"/>
          </a:xfrm>
          <a:noFill/>
        </p:spPr>
        <p:txBody>
          <a:bodyPr/>
          <a:lstStyle>
            <a:lvl1pPr algn="ctr">
              <a:defRPr/>
            </a:lvl1pPr>
            <a:lvl5pPr>
              <a:defRPr/>
            </a:lvl5pPr>
          </a:lstStyle>
          <a:p>
            <a:pPr lvl="0"/>
            <a:r>
              <a:rPr lang="en-US"/>
              <a:t>Insert Chart</a:t>
            </a:r>
            <a:endParaRPr lang="en-GB"/>
          </a:p>
        </p:txBody>
      </p:sp>
      <p:cxnSp>
        <p:nvCxnSpPr>
          <p:cNvPr id="7" name="Straight Connector 6">
            <a:extLst>
              <a:ext uri="{FF2B5EF4-FFF2-40B4-BE49-F238E27FC236}">
                <a16:creationId xmlns:a16="http://schemas.microsoft.com/office/drawing/2014/main" id="{975CDD6E-035F-9465-32D7-99297026358F}"/>
              </a:ext>
            </a:extLst>
          </p:cNvPr>
          <p:cNvCxnSpPr/>
          <p:nvPr userDrawn="1"/>
        </p:nvCxnSpPr>
        <p:spPr>
          <a:xfrm>
            <a:off x="4190031" y="3766451"/>
            <a:ext cx="7937" cy="1990725"/>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0" name="Straight Connector 9">
            <a:extLst>
              <a:ext uri="{FF2B5EF4-FFF2-40B4-BE49-F238E27FC236}">
                <a16:creationId xmlns:a16="http://schemas.microsoft.com/office/drawing/2014/main" id="{2A904D48-4B83-5BF3-D639-51D8FAB1FCCD}"/>
              </a:ext>
            </a:extLst>
          </p:cNvPr>
          <p:cNvCxnSpPr>
            <a:cxnSpLocks/>
          </p:cNvCxnSpPr>
          <p:nvPr userDrawn="1"/>
        </p:nvCxnSpPr>
        <p:spPr>
          <a:xfrm>
            <a:off x="8004588" y="3766451"/>
            <a:ext cx="7937" cy="1990725"/>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1" name="Straight Connector 10">
            <a:extLst>
              <a:ext uri="{FF2B5EF4-FFF2-40B4-BE49-F238E27FC236}">
                <a16:creationId xmlns:a16="http://schemas.microsoft.com/office/drawing/2014/main" id="{03F1CA78-3547-5512-F36A-2F1EEF65A0E0}"/>
              </a:ext>
            </a:extLst>
          </p:cNvPr>
          <p:cNvCxnSpPr/>
          <p:nvPr userDrawn="1"/>
        </p:nvCxnSpPr>
        <p:spPr>
          <a:xfrm>
            <a:off x="4197968" y="1401902"/>
            <a:ext cx="7937" cy="1990725"/>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6" name="Straight Connector 15">
            <a:extLst>
              <a:ext uri="{FF2B5EF4-FFF2-40B4-BE49-F238E27FC236}">
                <a16:creationId xmlns:a16="http://schemas.microsoft.com/office/drawing/2014/main" id="{7561E445-AB46-12BB-71E4-C5DB6124E6E7}"/>
              </a:ext>
            </a:extLst>
          </p:cNvPr>
          <p:cNvCxnSpPr>
            <a:cxnSpLocks/>
          </p:cNvCxnSpPr>
          <p:nvPr userDrawn="1"/>
        </p:nvCxnSpPr>
        <p:spPr>
          <a:xfrm>
            <a:off x="8004588" y="1401902"/>
            <a:ext cx="7937" cy="1990725"/>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40" name="Straight Connector 39">
            <a:extLst>
              <a:ext uri="{FF2B5EF4-FFF2-40B4-BE49-F238E27FC236}">
                <a16:creationId xmlns:a16="http://schemas.microsoft.com/office/drawing/2014/main" id="{278D58A8-BE28-DE7D-6C5A-A9A83475BCC9}"/>
              </a:ext>
            </a:extLst>
          </p:cNvPr>
          <p:cNvCxnSpPr/>
          <p:nvPr userDrawn="1"/>
        </p:nvCxnSpPr>
        <p:spPr>
          <a:xfrm>
            <a:off x="684000" y="3507452"/>
            <a:ext cx="3251413" cy="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41" name="Straight Connector 40">
            <a:extLst>
              <a:ext uri="{FF2B5EF4-FFF2-40B4-BE49-F238E27FC236}">
                <a16:creationId xmlns:a16="http://schemas.microsoft.com/office/drawing/2014/main" id="{5B27A369-CAEB-07CB-E8C4-BB5EE7BE8F47}"/>
              </a:ext>
            </a:extLst>
          </p:cNvPr>
          <p:cNvCxnSpPr/>
          <p:nvPr userDrawn="1"/>
        </p:nvCxnSpPr>
        <p:spPr>
          <a:xfrm>
            <a:off x="4464631" y="3507452"/>
            <a:ext cx="3251413" cy="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42" name="Straight Connector 41">
            <a:extLst>
              <a:ext uri="{FF2B5EF4-FFF2-40B4-BE49-F238E27FC236}">
                <a16:creationId xmlns:a16="http://schemas.microsoft.com/office/drawing/2014/main" id="{6F2B0CF4-4040-2F53-E5C0-3C48211F50AF}"/>
              </a:ext>
            </a:extLst>
          </p:cNvPr>
          <p:cNvCxnSpPr/>
          <p:nvPr userDrawn="1"/>
        </p:nvCxnSpPr>
        <p:spPr>
          <a:xfrm>
            <a:off x="8245262" y="3487606"/>
            <a:ext cx="3251413" cy="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sp>
        <p:nvSpPr>
          <p:cNvPr id="20" name="Text Placeholder 5">
            <a:extLst>
              <a:ext uri="{FF2B5EF4-FFF2-40B4-BE49-F238E27FC236}">
                <a16:creationId xmlns:a16="http://schemas.microsoft.com/office/drawing/2014/main" id="{0F3D2F0E-D3E5-7B98-5397-84AEC2794C94}"/>
              </a:ext>
            </a:extLst>
          </p:cNvPr>
          <p:cNvSpPr>
            <a:spLocks noGrp="1"/>
          </p:cNvSpPr>
          <p:nvPr>
            <p:ph type="body" sz="quarter" idx="26" hasCustomPrompt="1"/>
          </p:nvPr>
        </p:nvSpPr>
        <p:spPr>
          <a:xfrm>
            <a:off x="404392" y="3573779"/>
            <a:ext cx="3744000" cy="288000"/>
          </a:xfrm>
          <a:noFill/>
        </p:spPr>
        <p:txBody>
          <a:bodyPr lIns="0"/>
          <a:lstStyle>
            <a:lvl1pPr>
              <a:defRPr sz="1300"/>
            </a:lvl1pPr>
          </a:lstStyle>
          <a:p>
            <a:pPr lvl="0"/>
            <a:r>
              <a:rPr lang="en-US"/>
              <a:t>Chart headline</a:t>
            </a:r>
          </a:p>
        </p:txBody>
      </p:sp>
      <p:sp>
        <p:nvSpPr>
          <p:cNvPr id="21" name="Content Placeholder 7">
            <a:extLst>
              <a:ext uri="{FF2B5EF4-FFF2-40B4-BE49-F238E27FC236}">
                <a16:creationId xmlns:a16="http://schemas.microsoft.com/office/drawing/2014/main" id="{971D77E2-88CE-58A0-6008-DE30CB26C28B}"/>
              </a:ext>
            </a:extLst>
          </p:cNvPr>
          <p:cNvSpPr>
            <a:spLocks noGrp="1"/>
          </p:cNvSpPr>
          <p:nvPr>
            <p:ph sz="quarter" idx="27" hasCustomPrompt="1"/>
          </p:nvPr>
        </p:nvSpPr>
        <p:spPr>
          <a:xfrm>
            <a:off x="404856" y="3861779"/>
            <a:ext cx="3744000" cy="2115158"/>
          </a:xfrm>
          <a:noFill/>
        </p:spPr>
        <p:txBody>
          <a:bodyPr/>
          <a:lstStyle>
            <a:lvl1pPr algn="ctr">
              <a:defRPr/>
            </a:lvl1pPr>
            <a:lvl5pPr>
              <a:defRPr/>
            </a:lvl5pPr>
          </a:lstStyle>
          <a:p>
            <a:pPr lvl="0"/>
            <a:r>
              <a:rPr lang="en-US"/>
              <a:t>Insert Chart</a:t>
            </a:r>
            <a:endParaRPr lang="en-GB"/>
          </a:p>
        </p:txBody>
      </p:sp>
      <p:sp>
        <p:nvSpPr>
          <p:cNvPr id="46" name="Content Placeholder 7">
            <a:extLst>
              <a:ext uri="{FF2B5EF4-FFF2-40B4-BE49-F238E27FC236}">
                <a16:creationId xmlns:a16="http://schemas.microsoft.com/office/drawing/2014/main" id="{20C3AFE5-880A-7181-B13D-75B1901632C8}"/>
              </a:ext>
            </a:extLst>
          </p:cNvPr>
          <p:cNvSpPr>
            <a:spLocks noGrp="1"/>
          </p:cNvSpPr>
          <p:nvPr>
            <p:ph sz="quarter" idx="29" hasCustomPrompt="1"/>
          </p:nvPr>
        </p:nvSpPr>
        <p:spPr>
          <a:xfrm>
            <a:off x="4232322" y="3861779"/>
            <a:ext cx="3744000" cy="2115158"/>
          </a:xfrm>
          <a:noFill/>
        </p:spPr>
        <p:txBody>
          <a:bodyPr/>
          <a:lstStyle>
            <a:lvl1pPr algn="ctr">
              <a:defRPr/>
            </a:lvl1pPr>
            <a:lvl5pPr>
              <a:defRPr/>
            </a:lvl5pPr>
          </a:lstStyle>
          <a:p>
            <a:pPr lvl="0"/>
            <a:r>
              <a:rPr lang="en-US"/>
              <a:t>Insert Chart</a:t>
            </a:r>
            <a:endParaRPr lang="en-GB"/>
          </a:p>
        </p:txBody>
      </p:sp>
      <p:sp>
        <p:nvSpPr>
          <p:cNvPr id="48" name="Content Placeholder 7">
            <a:extLst>
              <a:ext uri="{FF2B5EF4-FFF2-40B4-BE49-F238E27FC236}">
                <a16:creationId xmlns:a16="http://schemas.microsoft.com/office/drawing/2014/main" id="{C667DFCA-F390-1C45-7A51-50ACE5867206}"/>
              </a:ext>
            </a:extLst>
          </p:cNvPr>
          <p:cNvSpPr>
            <a:spLocks noGrp="1"/>
          </p:cNvSpPr>
          <p:nvPr>
            <p:ph sz="quarter" idx="31" hasCustomPrompt="1"/>
          </p:nvPr>
        </p:nvSpPr>
        <p:spPr>
          <a:xfrm>
            <a:off x="8048294" y="3861779"/>
            <a:ext cx="3744000" cy="2115158"/>
          </a:xfrm>
          <a:noFill/>
        </p:spPr>
        <p:txBody>
          <a:bodyPr/>
          <a:lstStyle>
            <a:lvl1pPr algn="ctr">
              <a:defRPr/>
            </a:lvl1pPr>
            <a:lvl5pPr>
              <a:defRPr/>
            </a:lvl5pPr>
          </a:lstStyle>
          <a:p>
            <a:pPr lvl="0"/>
            <a:r>
              <a:rPr lang="en-US"/>
              <a:t>Insert Chart</a:t>
            </a:r>
            <a:endParaRPr lang="en-GB"/>
          </a:p>
        </p:txBody>
      </p:sp>
      <p:sp>
        <p:nvSpPr>
          <p:cNvPr id="45" name="Text Placeholder 5">
            <a:extLst>
              <a:ext uri="{FF2B5EF4-FFF2-40B4-BE49-F238E27FC236}">
                <a16:creationId xmlns:a16="http://schemas.microsoft.com/office/drawing/2014/main" id="{ADA5F841-55DA-1FCD-C282-B9CA8543085D}"/>
              </a:ext>
            </a:extLst>
          </p:cNvPr>
          <p:cNvSpPr>
            <a:spLocks noGrp="1"/>
          </p:cNvSpPr>
          <p:nvPr>
            <p:ph type="body" sz="quarter" idx="28" hasCustomPrompt="1"/>
          </p:nvPr>
        </p:nvSpPr>
        <p:spPr>
          <a:xfrm>
            <a:off x="4231859" y="3573779"/>
            <a:ext cx="3744000" cy="288000"/>
          </a:xfrm>
          <a:noFill/>
        </p:spPr>
        <p:txBody>
          <a:bodyPr lIns="0"/>
          <a:lstStyle>
            <a:lvl1pPr>
              <a:defRPr sz="1300"/>
            </a:lvl1pPr>
          </a:lstStyle>
          <a:p>
            <a:pPr lvl="0"/>
            <a:r>
              <a:rPr lang="en-US"/>
              <a:t>Chart headline</a:t>
            </a:r>
          </a:p>
        </p:txBody>
      </p:sp>
      <p:sp>
        <p:nvSpPr>
          <p:cNvPr id="47" name="Text Placeholder 5">
            <a:extLst>
              <a:ext uri="{FF2B5EF4-FFF2-40B4-BE49-F238E27FC236}">
                <a16:creationId xmlns:a16="http://schemas.microsoft.com/office/drawing/2014/main" id="{BA67EBEF-FA44-93E3-1434-5D506670F1CE}"/>
              </a:ext>
            </a:extLst>
          </p:cNvPr>
          <p:cNvSpPr>
            <a:spLocks noGrp="1"/>
          </p:cNvSpPr>
          <p:nvPr>
            <p:ph type="body" sz="quarter" idx="30" hasCustomPrompt="1"/>
          </p:nvPr>
        </p:nvSpPr>
        <p:spPr>
          <a:xfrm>
            <a:off x="8047830" y="3573779"/>
            <a:ext cx="3744000" cy="288000"/>
          </a:xfrm>
          <a:noFill/>
        </p:spPr>
        <p:txBody>
          <a:bodyPr lIns="0"/>
          <a:lstStyle>
            <a:lvl1pPr>
              <a:defRPr sz="1300"/>
            </a:lvl1pPr>
          </a:lstStyle>
          <a:p>
            <a:pPr lvl="0"/>
            <a:r>
              <a:rPr lang="en-US"/>
              <a:t>Chart headline</a:t>
            </a:r>
          </a:p>
        </p:txBody>
      </p:sp>
      <p:sp>
        <p:nvSpPr>
          <p:cNvPr id="5" name="Rectangle 4">
            <a:extLst>
              <a:ext uri="{FF2B5EF4-FFF2-40B4-BE49-F238E27FC236}">
                <a16:creationId xmlns:a16="http://schemas.microsoft.com/office/drawing/2014/main" id="{29D2FD6C-7917-BDDB-84E8-26FEA8EBF56B}"/>
              </a:ext>
            </a:extLst>
          </p:cNvPr>
          <p:cNvSpPr/>
          <p:nvPr userDrawn="1"/>
        </p:nvSpPr>
        <p:spPr>
          <a:xfrm>
            <a:off x="10273" y="20548"/>
            <a:ext cx="1335640" cy="19520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721436381"/>
      </p:ext>
    </p:extLst>
  </p:cSld>
  <p:clrMapOvr>
    <a:masterClrMapping/>
  </p:clrMapOvr>
  <p:extLst>
    <p:ext uri="{DCECCB84-F9BA-43D5-87BE-67443E8EF086}">
      <p15:sldGuideLst xmlns:p15="http://schemas.microsoft.com/office/powerpoint/2012/main">
        <p15:guide id="1" pos="551">
          <p15:clr>
            <a:srgbClr val="5ACBF0"/>
          </p15:clr>
        </p15:guide>
        <p15:guide id="2" pos="2479">
          <p15:clr>
            <a:srgbClr val="5ACBF0"/>
          </p15:clr>
        </p15:guide>
        <p15:guide id="3" pos="2955">
          <p15:clr>
            <a:srgbClr val="5ACBF0"/>
          </p15:clr>
        </p15:guide>
        <p15:guide id="4" pos="4861">
          <p15:clr>
            <a:srgbClr val="5ACBF0"/>
          </p15:clr>
        </p15:guide>
        <p15:guide id="5" pos="7242">
          <p15:clr>
            <a:srgbClr val="5ACBF0"/>
          </p15:clr>
        </p15:guide>
        <p15:guide id="6" pos="5337">
          <p15:clr>
            <a:srgbClr val="5ACBF0"/>
          </p15:clr>
        </p15:guide>
        <p15:guide id="7" orient="horz" pos="1094">
          <p15:clr>
            <a:srgbClr val="5ACBF0"/>
          </p15:clr>
        </p15:guide>
        <p15:guide id="8" orient="horz" pos="1933">
          <p15:clr>
            <a:srgbClr val="5ACBF0"/>
          </p15:clr>
        </p15:guide>
        <p15:guide id="9" orient="horz" pos="799">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Blank_OUTLOOK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54A3B3-09B6-A14C-111C-44FA9910F53A}"/>
              </a:ext>
            </a:extLst>
          </p:cNvPr>
          <p:cNvSpPr>
            <a:spLocks noGrp="1"/>
          </p:cNvSpPr>
          <p:nvPr>
            <p:ph type="title"/>
          </p:nvPr>
        </p:nvSpPr>
        <p:spPr>
          <a:xfrm>
            <a:off x="1505778" y="267128"/>
            <a:ext cx="9954040" cy="688369"/>
          </a:xfrm>
        </p:spPr>
        <p:txBody>
          <a:bodyPr/>
          <a:lstStyle/>
          <a:p>
            <a:r>
              <a:rPr lang="en-US"/>
              <a:t>Click to edit Master title style</a:t>
            </a:r>
            <a:endParaRPr lang="en-GB"/>
          </a:p>
        </p:txBody>
      </p:sp>
      <p:sp>
        <p:nvSpPr>
          <p:cNvPr id="4" name="Footer Placeholder 3">
            <a:extLst>
              <a:ext uri="{FF2B5EF4-FFF2-40B4-BE49-F238E27FC236}">
                <a16:creationId xmlns:a16="http://schemas.microsoft.com/office/drawing/2014/main" id="{C089F6B3-B184-CD35-917E-7E6D3B7A8CDE}"/>
              </a:ext>
            </a:extLst>
          </p:cNvPr>
          <p:cNvSpPr>
            <a:spLocks noGrp="1"/>
          </p:cNvSpPr>
          <p:nvPr>
            <p:ph type="ftr" sz="quarter" idx="11"/>
          </p:nvPr>
        </p:nvSpPr>
        <p:spPr/>
        <p:txBody>
          <a:bodyPr/>
          <a:lstStyle/>
          <a:p>
            <a:r>
              <a:rPr lang="en-US"/>
              <a:t>Co &amp; Li supply: stopgap or structural shift</a:t>
            </a:r>
            <a:endParaRPr lang="en-GB"/>
          </a:p>
        </p:txBody>
      </p:sp>
    </p:spTree>
    <p:extLst>
      <p:ext uri="{BB962C8B-B14F-4D97-AF65-F5344CB8AC3E}">
        <p14:creationId xmlns:p14="http://schemas.microsoft.com/office/powerpoint/2010/main" val="36981250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E7B26-88FC-3260-D8DB-AE16A1862260}"/>
              </a:ext>
            </a:extLst>
          </p:cNvPr>
          <p:cNvSpPr>
            <a:spLocks noGrp="1"/>
          </p:cNvSpPr>
          <p:nvPr>
            <p:ph type="title"/>
          </p:nvPr>
        </p:nvSpPr>
        <p:spPr>
          <a:xfrm>
            <a:off x="1504800" y="252000"/>
            <a:ext cx="9954000" cy="741600"/>
          </a:xfrm>
          <a:prstGeom prst="rect">
            <a:avLst/>
          </a:prstGeom>
        </p:spPr>
        <p:txBody>
          <a:bodyPr anchor="ctr"/>
          <a:lstStyle/>
          <a:p>
            <a:r>
              <a:rPr lang="en-US"/>
              <a:t>Click to edit Master title style</a:t>
            </a:r>
            <a:endParaRPr lang="en-GB"/>
          </a:p>
        </p:txBody>
      </p:sp>
      <p:sp>
        <p:nvSpPr>
          <p:cNvPr id="3" name="Footer Placeholder 2">
            <a:extLst>
              <a:ext uri="{FF2B5EF4-FFF2-40B4-BE49-F238E27FC236}">
                <a16:creationId xmlns:a16="http://schemas.microsoft.com/office/drawing/2014/main" id="{2FC67B72-A3A4-B10F-C99A-20DF6C229A86}"/>
              </a:ext>
            </a:extLst>
          </p:cNvPr>
          <p:cNvSpPr>
            <a:spLocks noGrp="1"/>
          </p:cNvSpPr>
          <p:nvPr>
            <p:ph type="ftr" sz="quarter" idx="10"/>
          </p:nvPr>
        </p:nvSpPr>
        <p:spPr>
          <a:xfrm>
            <a:off x="7350369" y="6429965"/>
            <a:ext cx="3176758" cy="307777"/>
          </a:xfrm>
          <a:prstGeom prst="rect">
            <a:avLst/>
          </a:prstGeom>
        </p:spPr>
        <p:txBody>
          <a:bodyPr/>
          <a:lstStyle/>
          <a:p>
            <a:r>
              <a:rPr lang="en-US"/>
              <a:t>Co &amp; Li supply: stopgap or structural shift</a:t>
            </a:r>
            <a:endParaRPr lang="en-GB"/>
          </a:p>
        </p:txBody>
      </p:sp>
      <p:sp>
        <p:nvSpPr>
          <p:cNvPr id="4" name="Rectangle: Rounded Corners 3">
            <a:extLst>
              <a:ext uri="{FF2B5EF4-FFF2-40B4-BE49-F238E27FC236}">
                <a16:creationId xmlns:a16="http://schemas.microsoft.com/office/drawing/2014/main" id="{A40665E9-5DFF-F339-AD81-E2EA1ED76D58}"/>
              </a:ext>
            </a:extLst>
          </p:cNvPr>
          <p:cNvSpPr/>
          <p:nvPr userDrawn="1"/>
        </p:nvSpPr>
        <p:spPr>
          <a:xfrm>
            <a:off x="367800" y="1282192"/>
            <a:ext cx="2876811" cy="1488767"/>
          </a:xfrm>
          <a:prstGeom prst="roundRect">
            <a:avLst/>
          </a:prstGeom>
          <a:ln>
            <a:solidFill>
              <a:srgbClr val="00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sp>
        <p:nvSpPr>
          <p:cNvPr id="5" name="Picture Placeholder 35">
            <a:extLst>
              <a:ext uri="{FF2B5EF4-FFF2-40B4-BE49-F238E27FC236}">
                <a16:creationId xmlns:a16="http://schemas.microsoft.com/office/drawing/2014/main" id="{3232AE05-2F4F-928C-3DE7-8CE37B0D8E78}"/>
              </a:ext>
            </a:extLst>
          </p:cNvPr>
          <p:cNvSpPr>
            <a:spLocks noGrp="1"/>
          </p:cNvSpPr>
          <p:nvPr>
            <p:ph type="pic" sz="quarter" idx="22" hasCustomPrompt="1"/>
          </p:nvPr>
        </p:nvSpPr>
        <p:spPr>
          <a:xfrm>
            <a:off x="473059" y="1373234"/>
            <a:ext cx="709809" cy="636319"/>
          </a:xfrm>
          <a:prstGeom prst="roundRect">
            <a:avLst/>
          </a:prstGeom>
        </p:spPr>
        <p:txBody>
          <a:bodyPr/>
          <a:lstStyle>
            <a:lvl1pPr algn="ctr">
              <a:defRPr/>
            </a:lvl1pPr>
          </a:lstStyle>
          <a:p>
            <a:r>
              <a:rPr lang="en-US"/>
              <a:t>Add photo</a:t>
            </a:r>
            <a:endParaRPr lang="en-GB"/>
          </a:p>
        </p:txBody>
      </p:sp>
      <p:sp>
        <p:nvSpPr>
          <p:cNvPr id="6" name="Content Placeholder 16">
            <a:extLst>
              <a:ext uri="{FF2B5EF4-FFF2-40B4-BE49-F238E27FC236}">
                <a16:creationId xmlns:a16="http://schemas.microsoft.com/office/drawing/2014/main" id="{25A42ECA-6EDB-8210-C488-8B501A21BAF5}"/>
              </a:ext>
            </a:extLst>
          </p:cNvPr>
          <p:cNvSpPr>
            <a:spLocks noGrp="1"/>
          </p:cNvSpPr>
          <p:nvPr>
            <p:ph sz="quarter" idx="36" hasCustomPrompt="1"/>
          </p:nvPr>
        </p:nvSpPr>
        <p:spPr>
          <a:xfrm>
            <a:off x="1298853" y="1373234"/>
            <a:ext cx="1828799" cy="636319"/>
          </a:xfrm>
          <a:prstGeom prst="rect">
            <a:avLst/>
          </a:prstGeom>
          <a:solidFill>
            <a:schemeClr val="bg1"/>
          </a:solidFill>
        </p:spPr>
        <p:txBody>
          <a:bodyPr anchor="ctr"/>
          <a:lstStyle>
            <a:lvl1pPr>
              <a:defRPr sz="1600" i="0">
                <a:solidFill>
                  <a:schemeClr val="tx1"/>
                </a:solidFill>
              </a:defRPr>
            </a:lvl1pPr>
            <a:lvl2pPr>
              <a:defRPr/>
            </a:lvl2pPr>
          </a:lstStyle>
          <a:p>
            <a:r>
              <a:rPr lang="en-GB" b="1"/>
              <a:t>Forename Surname</a:t>
            </a:r>
          </a:p>
        </p:txBody>
      </p:sp>
      <p:sp>
        <p:nvSpPr>
          <p:cNvPr id="7" name="Content Placeholder 16">
            <a:extLst>
              <a:ext uri="{FF2B5EF4-FFF2-40B4-BE49-F238E27FC236}">
                <a16:creationId xmlns:a16="http://schemas.microsoft.com/office/drawing/2014/main" id="{4B6D69B0-642E-6126-8A4C-7F69FBE4C25B}"/>
              </a:ext>
            </a:extLst>
          </p:cNvPr>
          <p:cNvSpPr>
            <a:spLocks noGrp="1"/>
          </p:cNvSpPr>
          <p:nvPr>
            <p:ph sz="quarter" idx="37" hasCustomPrompt="1"/>
          </p:nvPr>
        </p:nvSpPr>
        <p:spPr>
          <a:xfrm>
            <a:off x="473059" y="2137143"/>
            <a:ext cx="2633329" cy="531629"/>
          </a:xfrm>
          <a:prstGeom prst="rect">
            <a:avLst/>
          </a:prstGeom>
          <a:solidFill>
            <a:schemeClr val="bg1"/>
          </a:solidFill>
        </p:spPr>
        <p:txBody>
          <a:bodyPr/>
          <a:lstStyle>
            <a:lvl1pPr>
              <a:spcBef>
                <a:spcPts val="0"/>
              </a:spcBef>
              <a:defRPr sz="1000">
                <a:solidFill>
                  <a:schemeClr val="tx1"/>
                </a:solidFill>
              </a:defRPr>
            </a:lvl1pPr>
            <a:lvl2pPr>
              <a:defRPr/>
            </a:lvl2pPr>
          </a:lstStyle>
          <a:p>
            <a:pPr marL="0" marR="0" lvl="0" indent="0" algn="l" defTabSz="919569" rtl="0" eaLnBrk="1" fontAlgn="auto" latinLnBrk="0" hangingPunct="1">
              <a:lnSpc>
                <a:spcPct val="100000"/>
              </a:lnSpc>
              <a:spcBef>
                <a:spcPts val="800"/>
              </a:spcBef>
              <a:spcAft>
                <a:spcPts val="0"/>
              </a:spcAft>
              <a:buClrTx/>
              <a:buSzTx/>
              <a:buFont typeface="Arial" panose="020B0604020202020204" pitchFamily="34" charset="0"/>
              <a:buNone/>
              <a:tabLst/>
              <a:defRPr/>
            </a:pPr>
            <a:r>
              <a:rPr lang="en-GB" sz="1050"/>
              <a:t>Title</a:t>
            </a:r>
            <a:br>
              <a:rPr lang="en-GB" sz="1050"/>
            </a:br>
            <a:r>
              <a:rPr lang="en-GB" sz="1050"/>
              <a:t>+44 20 7903 ####</a:t>
            </a:r>
            <a:br>
              <a:rPr lang="en-GB" sz="1050"/>
            </a:br>
            <a:r>
              <a:rPr lang="en-GB" sz="1050">
                <a:hlinkClick r:id="rId2">
                  <a:extLst>
                    <a:ext uri="{A12FA001-AC4F-418D-AE19-62706E023703}">
                      <ahyp:hlinkClr xmlns:ahyp="http://schemas.microsoft.com/office/drawing/2018/hyperlinkcolor" xmlns="" val="tx"/>
                    </a:ext>
                  </a:extLst>
                </a:hlinkClick>
              </a:rPr>
              <a:t>forename.surname@crugroup.com</a:t>
            </a:r>
            <a:endParaRPr lang="en-GB" sz="1050"/>
          </a:p>
        </p:txBody>
      </p:sp>
      <p:sp>
        <p:nvSpPr>
          <p:cNvPr id="8" name="Rectangle: Rounded Corners 7">
            <a:extLst>
              <a:ext uri="{FF2B5EF4-FFF2-40B4-BE49-F238E27FC236}">
                <a16:creationId xmlns:a16="http://schemas.microsoft.com/office/drawing/2014/main" id="{E6F89DBE-1ADD-21F4-B987-DA15BA74CC15}"/>
              </a:ext>
            </a:extLst>
          </p:cNvPr>
          <p:cNvSpPr/>
          <p:nvPr userDrawn="1"/>
        </p:nvSpPr>
        <p:spPr>
          <a:xfrm>
            <a:off x="3310222" y="1282192"/>
            <a:ext cx="2876811" cy="1488767"/>
          </a:xfrm>
          <a:prstGeom prst="roundRect">
            <a:avLst/>
          </a:prstGeom>
          <a:ln>
            <a:solidFill>
              <a:srgbClr val="00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sp>
        <p:nvSpPr>
          <p:cNvPr id="9" name="Picture Placeholder 35">
            <a:extLst>
              <a:ext uri="{FF2B5EF4-FFF2-40B4-BE49-F238E27FC236}">
                <a16:creationId xmlns:a16="http://schemas.microsoft.com/office/drawing/2014/main" id="{B30B5D47-4D00-98E8-1434-30844FADE493}"/>
              </a:ext>
            </a:extLst>
          </p:cNvPr>
          <p:cNvSpPr>
            <a:spLocks noGrp="1"/>
          </p:cNvSpPr>
          <p:nvPr>
            <p:ph type="pic" sz="quarter" idx="38" hasCustomPrompt="1"/>
          </p:nvPr>
        </p:nvSpPr>
        <p:spPr>
          <a:xfrm>
            <a:off x="3415481" y="1373234"/>
            <a:ext cx="709809" cy="636319"/>
          </a:xfrm>
          <a:prstGeom prst="roundRect">
            <a:avLst/>
          </a:prstGeom>
        </p:spPr>
        <p:txBody>
          <a:bodyPr/>
          <a:lstStyle>
            <a:lvl1pPr algn="ctr">
              <a:defRPr/>
            </a:lvl1pPr>
          </a:lstStyle>
          <a:p>
            <a:r>
              <a:rPr lang="en-US"/>
              <a:t>Add photo</a:t>
            </a:r>
            <a:endParaRPr lang="en-GB"/>
          </a:p>
        </p:txBody>
      </p:sp>
      <p:sp>
        <p:nvSpPr>
          <p:cNvPr id="10" name="Content Placeholder 16">
            <a:extLst>
              <a:ext uri="{FF2B5EF4-FFF2-40B4-BE49-F238E27FC236}">
                <a16:creationId xmlns:a16="http://schemas.microsoft.com/office/drawing/2014/main" id="{AC9AA341-AC60-0744-CF74-816C43CC9BA2}"/>
              </a:ext>
            </a:extLst>
          </p:cNvPr>
          <p:cNvSpPr>
            <a:spLocks noGrp="1"/>
          </p:cNvSpPr>
          <p:nvPr>
            <p:ph sz="quarter" idx="39" hasCustomPrompt="1"/>
          </p:nvPr>
        </p:nvSpPr>
        <p:spPr>
          <a:xfrm>
            <a:off x="4241275" y="1373234"/>
            <a:ext cx="1828799" cy="636319"/>
          </a:xfrm>
          <a:prstGeom prst="rect">
            <a:avLst/>
          </a:prstGeom>
          <a:solidFill>
            <a:schemeClr val="bg1"/>
          </a:solidFill>
        </p:spPr>
        <p:txBody>
          <a:bodyPr anchor="ctr"/>
          <a:lstStyle>
            <a:lvl1pPr>
              <a:defRPr sz="1600" i="0">
                <a:solidFill>
                  <a:schemeClr val="tx1"/>
                </a:solidFill>
              </a:defRPr>
            </a:lvl1pPr>
            <a:lvl2pPr>
              <a:defRPr/>
            </a:lvl2pPr>
          </a:lstStyle>
          <a:p>
            <a:r>
              <a:rPr lang="en-GB" b="1"/>
              <a:t>Forename Surname</a:t>
            </a:r>
          </a:p>
        </p:txBody>
      </p:sp>
      <p:sp>
        <p:nvSpPr>
          <p:cNvPr id="11" name="Content Placeholder 16">
            <a:extLst>
              <a:ext uri="{FF2B5EF4-FFF2-40B4-BE49-F238E27FC236}">
                <a16:creationId xmlns:a16="http://schemas.microsoft.com/office/drawing/2014/main" id="{E5689BC6-F55D-02F3-66B2-7C7C112207D1}"/>
              </a:ext>
            </a:extLst>
          </p:cNvPr>
          <p:cNvSpPr>
            <a:spLocks noGrp="1"/>
          </p:cNvSpPr>
          <p:nvPr>
            <p:ph sz="quarter" idx="40" hasCustomPrompt="1"/>
          </p:nvPr>
        </p:nvSpPr>
        <p:spPr>
          <a:xfrm>
            <a:off x="3415481" y="2137143"/>
            <a:ext cx="2633329" cy="531629"/>
          </a:xfrm>
          <a:prstGeom prst="rect">
            <a:avLst/>
          </a:prstGeom>
          <a:solidFill>
            <a:schemeClr val="bg1"/>
          </a:solidFill>
        </p:spPr>
        <p:txBody>
          <a:bodyPr/>
          <a:lstStyle>
            <a:lvl1pPr>
              <a:spcBef>
                <a:spcPts val="0"/>
              </a:spcBef>
              <a:defRPr sz="1000">
                <a:solidFill>
                  <a:schemeClr val="tx1"/>
                </a:solidFill>
              </a:defRPr>
            </a:lvl1pPr>
            <a:lvl2pPr>
              <a:defRPr/>
            </a:lvl2pPr>
          </a:lstStyle>
          <a:p>
            <a:pPr marL="0" marR="0" lvl="0" indent="0" algn="l" defTabSz="919569" rtl="0" eaLnBrk="1" fontAlgn="auto" latinLnBrk="0" hangingPunct="1">
              <a:lnSpc>
                <a:spcPct val="100000"/>
              </a:lnSpc>
              <a:spcBef>
                <a:spcPts val="800"/>
              </a:spcBef>
              <a:spcAft>
                <a:spcPts val="0"/>
              </a:spcAft>
              <a:buClrTx/>
              <a:buSzTx/>
              <a:buFont typeface="Arial" panose="020B0604020202020204" pitchFamily="34" charset="0"/>
              <a:buNone/>
              <a:tabLst/>
              <a:defRPr/>
            </a:pPr>
            <a:r>
              <a:rPr lang="en-GB" sz="1050"/>
              <a:t>Title</a:t>
            </a:r>
            <a:br>
              <a:rPr lang="en-GB" sz="1050"/>
            </a:br>
            <a:r>
              <a:rPr lang="en-GB" sz="1050"/>
              <a:t>+44 20 7903 ####</a:t>
            </a:r>
            <a:br>
              <a:rPr lang="en-GB" sz="1050"/>
            </a:br>
            <a:r>
              <a:rPr lang="en-GB" sz="1050">
                <a:hlinkClick r:id="rId2">
                  <a:extLst>
                    <a:ext uri="{A12FA001-AC4F-418D-AE19-62706E023703}">
                      <ahyp:hlinkClr xmlns:ahyp="http://schemas.microsoft.com/office/drawing/2018/hyperlinkcolor" xmlns="" val="tx"/>
                    </a:ext>
                  </a:extLst>
                </a:hlinkClick>
              </a:rPr>
              <a:t>forename.surname@crugroup.com</a:t>
            </a:r>
            <a:endParaRPr lang="en-GB" sz="1050"/>
          </a:p>
        </p:txBody>
      </p:sp>
      <p:sp>
        <p:nvSpPr>
          <p:cNvPr id="12" name="Rectangle: Rounded Corners 11">
            <a:extLst>
              <a:ext uri="{FF2B5EF4-FFF2-40B4-BE49-F238E27FC236}">
                <a16:creationId xmlns:a16="http://schemas.microsoft.com/office/drawing/2014/main" id="{F50F336C-B351-73CD-F405-5E624D0815CD}"/>
              </a:ext>
            </a:extLst>
          </p:cNvPr>
          <p:cNvSpPr/>
          <p:nvPr userDrawn="1"/>
        </p:nvSpPr>
        <p:spPr>
          <a:xfrm>
            <a:off x="6252829" y="1282192"/>
            <a:ext cx="2876811" cy="1488767"/>
          </a:xfrm>
          <a:prstGeom prst="roundRect">
            <a:avLst/>
          </a:prstGeom>
          <a:ln>
            <a:solidFill>
              <a:srgbClr val="00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sp>
        <p:nvSpPr>
          <p:cNvPr id="13" name="Picture Placeholder 35">
            <a:extLst>
              <a:ext uri="{FF2B5EF4-FFF2-40B4-BE49-F238E27FC236}">
                <a16:creationId xmlns:a16="http://schemas.microsoft.com/office/drawing/2014/main" id="{28D7B3D0-001A-6102-3848-0D26C870B01C}"/>
              </a:ext>
            </a:extLst>
          </p:cNvPr>
          <p:cNvSpPr>
            <a:spLocks noGrp="1"/>
          </p:cNvSpPr>
          <p:nvPr>
            <p:ph type="pic" sz="quarter" idx="41" hasCustomPrompt="1"/>
          </p:nvPr>
        </p:nvSpPr>
        <p:spPr>
          <a:xfrm>
            <a:off x="6358088" y="1373234"/>
            <a:ext cx="709809" cy="636319"/>
          </a:xfrm>
          <a:prstGeom prst="roundRect">
            <a:avLst/>
          </a:prstGeom>
        </p:spPr>
        <p:txBody>
          <a:bodyPr/>
          <a:lstStyle>
            <a:lvl1pPr algn="ctr">
              <a:defRPr/>
            </a:lvl1pPr>
          </a:lstStyle>
          <a:p>
            <a:r>
              <a:rPr lang="en-US"/>
              <a:t>Add photo</a:t>
            </a:r>
            <a:endParaRPr lang="en-GB"/>
          </a:p>
        </p:txBody>
      </p:sp>
      <p:sp>
        <p:nvSpPr>
          <p:cNvPr id="14" name="Content Placeholder 16">
            <a:extLst>
              <a:ext uri="{FF2B5EF4-FFF2-40B4-BE49-F238E27FC236}">
                <a16:creationId xmlns:a16="http://schemas.microsoft.com/office/drawing/2014/main" id="{8038A79D-887F-41EB-4F1F-50A84B261443}"/>
              </a:ext>
            </a:extLst>
          </p:cNvPr>
          <p:cNvSpPr>
            <a:spLocks noGrp="1"/>
          </p:cNvSpPr>
          <p:nvPr>
            <p:ph sz="quarter" idx="42" hasCustomPrompt="1"/>
          </p:nvPr>
        </p:nvSpPr>
        <p:spPr>
          <a:xfrm>
            <a:off x="7183882" y="1373234"/>
            <a:ext cx="1828799" cy="636319"/>
          </a:xfrm>
          <a:prstGeom prst="rect">
            <a:avLst/>
          </a:prstGeom>
          <a:solidFill>
            <a:schemeClr val="bg1"/>
          </a:solidFill>
        </p:spPr>
        <p:txBody>
          <a:bodyPr anchor="ctr"/>
          <a:lstStyle>
            <a:lvl1pPr>
              <a:defRPr sz="1600" i="0">
                <a:solidFill>
                  <a:schemeClr val="tx1"/>
                </a:solidFill>
              </a:defRPr>
            </a:lvl1pPr>
            <a:lvl2pPr>
              <a:defRPr/>
            </a:lvl2pPr>
          </a:lstStyle>
          <a:p>
            <a:r>
              <a:rPr lang="en-GB" b="1"/>
              <a:t>Forename Surname</a:t>
            </a:r>
          </a:p>
        </p:txBody>
      </p:sp>
      <p:sp>
        <p:nvSpPr>
          <p:cNvPr id="15" name="Content Placeholder 16">
            <a:extLst>
              <a:ext uri="{FF2B5EF4-FFF2-40B4-BE49-F238E27FC236}">
                <a16:creationId xmlns:a16="http://schemas.microsoft.com/office/drawing/2014/main" id="{73D29D24-277F-FEA6-BEC5-AD652C19DD03}"/>
              </a:ext>
            </a:extLst>
          </p:cNvPr>
          <p:cNvSpPr>
            <a:spLocks noGrp="1"/>
          </p:cNvSpPr>
          <p:nvPr>
            <p:ph sz="quarter" idx="43" hasCustomPrompt="1"/>
          </p:nvPr>
        </p:nvSpPr>
        <p:spPr>
          <a:xfrm>
            <a:off x="6358088" y="2137143"/>
            <a:ext cx="2633329" cy="531629"/>
          </a:xfrm>
          <a:prstGeom prst="rect">
            <a:avLst/>
          </a:prstGeom>
          <a:solidFill>
            <a:schemeClr val="bg1"/>
          </a:solidFill>
        </p:spPr>
        <p:txBody>
          <a:bodyPr/>
          <a:lstStyle>
            <a:lvl1pPr>
              <a:spcBef>
                <a:spcPts val="0"/>
              </a:spcBef>
              <a:defRPr sz="1000">
                <a:solidFill>
                  <a:schemeClr val="tx1"/>
                </a:solidFill>
              </a:defRPr>
            </a:lvl1pPr>
            <a:lvl2pPr>
              <a:defRPr/>
            </a:lvl2pPr>
          </a:lstStyle>
          <a:p>
            <a:pPr marL="0" marR="0" lvl="0" indent="0" algn="l" defTabSz="919569" rtl="0" eaLnBrk="1" fontAlgn="auto" latinLnBrk="0" hangingPunct="1">
              <a:lnSpc>
                <a:spcPct val="100000"/>
              </a:lnSpc>
              <a:spcBef>
                <a:spcPts val="800"/>
              </a:spcBef>
              <a:spcAft>
                <a:spcPts val="0"/>
              </a:spcAft>
              <a:buClrTx/>
              <a:buSzTx/>
              <a:buFont typeface="Arial" panose="020B0604020202020204" pitchFamily="34" charset="0"/>
              <a:buNone/>
              <a:tabLst/>
              <a:defRPr/>
            </a:pPr>
            <a:r>
              <a:rPr lang="en-GB" sz="1050"/>
              <a:t>Title</a:t>
            </a:r>
            <a:br>
              <a:rPr lang="en-GB" sz="1050"/>
            </a:br>
            <a:r>
              <a:rPr lang="en-GB" sz="1050"/>
              <a:t>+44 20 7903 ####</a:t>
            </a:r>
            <a:br>
              <a:rPr lang="en-GB" sz="1050"/>
            </a:br>
            <a:r>
              <a:rPr lang="en-GB" sz="1050">
                <a:hlinkClick r:id="rId2">
                  <a:extLst>
                    <a:ext uri="{A12FA001-AC4F-418D-AE19-62706E023703}">
                      <ahyp:hlinkClr xmlns:ahyp="http://schemas.microsoft.com/office/drawing/2018/hyperlinkcolor" xmlns="" val="tx"/>
                    </a:ext>
                  </a:extLst>
                </a:hlinkClick>
              </a:rPr>
              <a:t>forename.surname@crugroup.com</a:t>
            </a:r>
            <a:endParaRPr lang="en-GB" sz="1050"/>
          </a:p>
        </p:txBody>
      </p:sp>
      <p:sp>
        <p:nvSpPr>
          <p:cNvPr id="16" name="Rectangle: Rounded Corners 15">
            <a:extLst>
              <a:ext uri="{FF2B5EF4-FFF2-40B4-BE49-F238E27FC236}">
                <a16:creationId xmlns:a16="http://schemas.microsoft.com/office/drawing/2014/main" id="{33481F76-301B-610D-6E43-D70748DB4D29}"/>
              </a:ext>
            </a:extLst>
          </p:cNvPr>
          <p:cNvSpPr/>
          <p:nvPr userDrawn="1"/>
        </p:nvSpPr>
        <p:spPr>
          <a:xfrm>
            <a:off x="9179582" y="1282192"/>
            <a:ext cx="2876811" cy="1488767"/>
          </a:xfrm>
          <a:prstGeom prst="roundRect">
            <a:avLst/>
          </a:prstGeom>
          <a:ln>
            <a:solidFill>
              <a:srgbClr val="00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sp>
        <p:nvSpPr>
          <p:cNvPr id="17" name="Picture Placeholder 35">
            <a:extLst>
              <a:ext uri="{FF2B5EF4-FFF2-40B4-BE49-F238E27FC236}">
                <a16:creationId xmlns:a16="http://schemas.microsoft.com/office/drawing/2014/main" id="{808420F4-3C68-7FF1-C813-D7E8EC7BCAFF}"/>
              </a:ext>
            </a:extLst>
          </p:cNvPr>
          <p:cNvSpPr>
            <a:spLocks noGrp="1"/>
          </p:cNvSpPr>
          <p:nvPr>
            <p:ph type="pic" sz="quarter" idx="44" hasCustomPrompt="1"/>
          </p:nvPr>
        </p:nvSpPr>
        <p:spPr>
          <a:xfrm>
            <a:off x="9284841" y="1373234"/>
            <a:ext cx="709809" cy="636319"/>
          </a:xfrm>
          <a:prstGeom prst="roundRect">
            <a:avLst/>
          </a:prstGeom>
        </p:spPr>
        <p:txBody>
          <a:bodyPr/>
          <a:lstStyle>
            <a:lvl1pPr algn="ctr">
              <a:defRPr/>
            </a:lvl1pPr>
          </a:lstStyle>
          <a:p>
            <a:r>
              <a:rPr lang="en-US"/>
              <a:t>Add photo</a:t>
            </a:r>
            <a:endParaRPr lang="en-GB"/>
          </a:p>
        </p:txBody>
      </p:sp>
      <p:sp>
        <p:nvSpPr>
          <p:cNvPr id="18" name="Content Placeholder 16">
            <a:extLst>
              <a:ext uri="{FF2B5EF4-FFF2-40B4-BE49-F238E27FC236}">
                <a16:creationId xmlns:a16="http://schemas.microsoft.com/office/drawing/2014/main" id="{F4C62556-49A0-34F9-E3E3-D5165857D9FF}"/>
              </a:ext>
            </a:extLst>
          </p:cNvPr>
          <p:cNvSpPr>
            <a:spLocks noGrp="1"/>
          </p:cNvSpPr>
          <p:nvPr>
            <p:ph sz="quarter" idx="45" hasCustomPrompt="1"/>
          </p:nvPr>
        </p:nvSpPr>
        <p:spPr>
          <a:xfrm>
            <a:off x="10110635" y="1373234"/>
            <a:ext cx="1828799" cy="636319"/>
          </a:xfrm>
          <a:prstGeom prst="rect">
            <a:avLst/>
          </a:prstGeom>
          <a:solidFill>
            <a:schemeClr val="bg1"/>
          </a:solidFill>
        </p:spPr>
        <p:txBody>
          <a:bodyPr anchor="ctr"/>
          <a:lstStyle>
            <a:lvl1pPr>
              <a:defRPr sz="1600" i="0">
                <a:solidFill>
                  <a:schemeClr val="tx1"/>
                </a:solidFill>
              </a:defRPr>
            </a:lvl1pPr>
            <a:lvl2pPr>
              <a:defRPr/>
            </a:lvl2pPr>
          </a:lstStyle>
          <a:p>
            <a:r>
              <a:rPr lang="en-GB" b="1"/>
              <a:t>Forename Surname</a:t>
            </a:r>
          </a:p>
        </p:txBody>
      </p:sp>
      <p:sp>
        <p:nvSpPr>
          <p:cNvPr id="19" name="Content Placeholder 16">
            <a:extLst>
              <a:ext uri="{FF2B5EF4-FFF2-40B4-BE49-F238E27FC236}">
                <a16:creationId xmlns:a16="http://schemas.microsoft.com/office/drawing/2014/main" id="{9B36B99C-221F-0A04-8026-0BA44778EC04}"/>
              </a:ext>
            </a:extLst>
          </p:cNvPr>
          <p:cNvSpPr>
            <a:spLocks noGrp="1"/>
          </p:cNvSpPr>
          <p:nvPr>
            <p:ph sz="quarter" idx="46" hasCustomPrompt="1"/>
          </p:nvPr>
        </p:nvSpPr>
        <p:spPr>
          <a:xfrm>
            <a:off x="9284841" y="2137143"/>
            <a:ext cx="2633329" cy="531629"/>
          </a:xfrm>
          <a:prstGeom prst="rect">
            <a:avLst/>
          </a:prstGeom>
          <a:solidFill>
            <a:schemeClr val="bg1"/>
          </a:solidFill>
        </p:spPr>
        <p:txBody>
          <a:bodyPr/>
          <a:lstStyle>
            <a:lvl1pPr>
              <a:spcBef>
                <a:spcPts val="0"/>
              </a:spcBef>
              <a:defRPr sz="1000">
                <a:solidFill>
                  <a:schemeClr val="tx1"/>
                </a:solidFill>
              </a:defRPr>
            </a:lvl1pPr>
            <a:lvl2pPr>
              <a:defRPr/>
            </a:lvl2pPr>
          </a:lstStyle>
          <a:p>
            <a:pPr marL="0" marR="0" lvl="0" indent="0" algn="l" defTabSz="919569" rtl="0" eaLnBrk="1" fontAlgn="auto" latinLnBrk="0" hangingPunct="1">
              <a:lnSpc>
                <a:spcPct val="100000"/>
              </a:lnSpc>
              <a:spcBef>
                <a:spcPts val="800"/>
              </a:spcBef>
              <a:spcAft>
                <a:spcPts val="0"/>
              </a:spcAft>
              <a:buClrTx/>
              <a:buSzTx/>
              <a:buFont typeface="Arial" panose="020B0604020202020204" pitchFamily="34" charset="0"/>
              <a:buNone/>
              <a:tabLst/>
              <a:defRPr/>
            </a:pPr>
            <a:r>
              <a:rPr lang="en-GB" sz="1050"/>
              <a:t>Title</a:t>
            </a:r>
            <a:br>
              <a:rPr lang="en-GB" sz="1050"/>
            </a:br>
            <a:r>
              <a:rPr lang="en-GB" sz="1050"/>
              <a:t>+44 20 7903 ####</a:t>
            </a:r>
            <a:br>
              <a:rPr lang="en-GB" sz="1050"/>
            </a:br>
            <a:r>
              <a:rPr lang="en-GB" sz="1050">
                <a:hlinkClick r:id="rId2">
                  <a:extLst>
                    <a:ext uri="{A12FA001-AC4F-418D-AE19-62706E023703}">
                      <ahyp:hlinkClr xmlns:ahyp="http://schemas.microsoft.com/office/drawing/2018/hyperlinkcolor" xmlns="" val="tx"/>
                    </a:ext>
                  </a:extLst>
                </a:hlinkClick>
              </a:rPr>
              <a:t>forename.surname@crugroup.com</a:t>
            </a:r>
            <a:endParaRPr lang="en-GB" sz="1050"/>
          </a:p>
        </p:txBody>
      </p:sp>
      <p:sp>
        <p:nvSpPr>
          <p:cNvPr id="20" name="Rectangle: Rounded Corners 19">
            <a:extLst>
              <a:ext uri="{FF2B5EF4-FFF2-40B4-BE49-F238E27FC236}">
                <a16:creationId xmlns:a16="http://schemas.microsoft.com/office/drawing/2014/main" id="{C32007C5-4152-7C87-128E-1CFD65E320FE}"/>
              </a:ext>
            </a:extLst>
          </p:cNvPr>
          <p:cNvSpPr/>
          <p:nvPr userDrawn="1"/>
        </p:nvSpPr>
        <p:spPr>
          <a:xfrm>
            <a:off x="367800" y="2878384"/>
            <a:ext cx="2876811" cy="1488767"/>
          </a:xfrm>
          <a:prstGeom prst="roundRect">
            <a:avLst/>
          </a:prstGeom>
          <a:ln>
            <a:solidFill>
              <a:srgbClr val="00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sp>
        <p:nvSpPr>
          <p:cNvPr id="21" name="Picture Placeholder 35">
            <a:extLst>
              <a:ext uri="{FF2B5EF4-FFF2-40B4-BE49-F238E27FC236}">
                <a16:creationId xmlns:a16="http://schemas.microsoft.com/office/drawing/2014/main" id="{C9BB9644-1790-E56D-E195-0DFD2482D2C8}"/>
              </a:ext>
            </a:extLst>
          </p:cNvPr>
          <p:cNvSpPr>
            <a:spLocks noGrp="1"/>
          </p:cNvSpPr>
          <p:nvPr>
            <p:ph type="pic" sz="quarter" idx="47" hasCustomPrompt="1"/>
          </p:nvPr>
        </p:nvSpPr>
        <p:spPr>
          <a:xfrm>
            <a:off x="473059" y="2969426"/>
            <a:ext cx="709809" cy="636319"/>
          </a:xfrm>
          <a:prstGeom prst="roundRect">
            <a:avLst/>
          </a:prstGeom>
        </p:spPr>
        <p:txBody>
          <a:bodyPr/>
          <a:lstStyle>
            <a:lvl1pPr algn="ctr">
              <a:defRPr/>
            </a:lvl1pPr>
          </a:lstStyle>
          <a:p>
            <a:r>
              <a:rPr lang="en-US"/>
              <a:t>Add photo</a:t>
            </a:r>
            <a:endParaRPr lang="en-GB"/>
          </a:p>
        </p:txBody>
      </p:sp>
      <p:sp>
        <p:nvSpPr>
          <p:cNvPr id="22" name="Content Placeholder 16">
            <a:extLst>
              <a:ext uri="{FF2B5EF4-FFF2-40B4-BE49-F238E27FC236}">
                <a16:creationId xmlns:a16="http://schemas.microsoft.com/office/drawing/2014/main" id="{8CF69B77-8112-6130-9331-88A28D710A45}"/>
              </a:ext>
            </a:extLst>
          </p:cNvPr>
          <p:cNvSpPr>
            <a:spLocks noGrp="1"/>
          </p:cNvSpPr>
          <p:nvPr>
            <p:ph sz="quarter" idx="48" hasCustomPrompt="1"/>
          </p:nvPr>
        </p:nvSpPr>
        <p:spPr>
          <a:xfrm>
            <a:off x="1298853" y="2969426"/>
            <a:ext cx="1828799" cy="636319"/>
          </a:xfrm>
          <a:prstGeom prst="rect">
            <a:avLst/>
          </a:prstGeom>
          <a:solidFill>
            <a:schemeClr val="bg1"/>
          </a:solidFill>
        </p:spPr>
        <p:txBody>
          <a:bodyPr anchor="ctr"/>
          <a:lstStyle>
            <a:lvl1pPr>
              <a:defRPr sz="1600" i="0">
                <a:solidFill>
                  <a:schemeClr val="tx1"/>
                </a:solidFill>
              </a:defRPr>
            </a:lvl1pPr>
            <a:lvl2pPr>
              <a:defRPr/>
            </a:lvl2pPr>
          </a:lstStyle>
          <a:p>
            <a:r>
              <a:rPr lang="en-GB" b="1"/>
              <a:t>Forename Surname</a:t>
            </a:r>
          </a:p>
        </p:txBody>
      </p:sp>
      <p:sp>
        <p:nvSpPr>
          <p:cNvPr id="23" name="Content Placeholder 16">
            <a:extLst>
              <a:ext uri="{FF2B5EF4-FFF2-40B4-BE49-F238E27FC236}">
                <a16:creationId xmlns:a16="http://schemas.microsoft.com/office/drawing/2014/main" id="{D1A5FCF1-FD3E-8EED-FB71-E63D18738D8E}"/>
              </a:ext>
            </a:extLst>
          </p:cNvPr>
          <p:cNvSpPr>
            <a:spLocks noGrp="1"/>
          </p:cNvSpPr>
          <p:nvPr>
            <p:ph sz="quarter" idx="49" hasCustomPrompt="1"/>
          </p:nvPr>
        </p:nvSpPr>
        <p:spPr>
          <a:xfrm>
            <a:off x="473059" y="3765139"/>
            <a:ext cx="2633329" cy="531629"/>
          </a:xfrm>
          <a:prstGeom prst="rect">
            <a:avLst/>
          </a:prstGeom>
          <a:solidFill>
            <a:schemeClr val="bg1"/>
          </a:solidFill>
        </p:spPr>
        <p:txBody>
          <a:bodyPr/>
          <a:lstStyle>
            <a:lvl1pPr>
              <a:spcBef>
                <a:spcPts val="0"/>
              </a:spcBef>
              <a:defRPr sz="1000">
                <a:solidFill>
                  <a:schemeClr val="tx1"/>
                </a:solidFill>
              </a:defRPr>
            </a:lvl1pPr>
            <a:lvl2pPr>
              <a:defRPr/>
            </a:lvl2pPr>
          </a:lstStyle>
          <a:p>
            <a:pPr marL="0" marR="0" lvl="0" indent="0" algn="l" defTabSz="919569" rtl="0" eaLnBrk="1" fontAlgn="auto" latinLnBrk="0" hangingPunct="1">
              <a:lnSpc>
                <a:spcPct val="100000"/>
              </a:lnSpc>
              <a:spcBef>
                <a:spcPts val="800"/>
              </a:spcBef>
              <a:spcAft>
                <a:spcPts val="0"/>
              </a:spcAft>
              <a:buClrTx/>
              <a:buSzTx/>
              <a:buFont typeface="Arial" panose="020B0604020202020204" pitchFamily="34" charset="0"/>
              <a:buNone/>
              <a:tabLst/>
              <a:defRPr/>
            </a:pPr>
            <a:r>
              <a:rPr lang="en-GB" sz="1050"/>
              <a:t>Title</a:t>
            </a:r>
            <a:br>
              <a:rPr lang="en-GB" sz="1050"/>
            </a:br>
            <a:r>
              <a:rPr lang="en-GB" sz="1050"/>
              <a:t>+44 20 7903 ####</a:t>
            </a:r>
            <a:br>
              <a:rPr lang="en-GB" sz="1050"/>
            </a:br>
            <a:r>
              <a:rPr lang="en-GB" sz="1050">
                <a:hlinkClick r:id="rId2">
                  <a:extLst>
                    <a:ext uri="{A12FA001-AC4F-418D-AE19-62706E023703}">
                      <ahyp:hlinkClr xmlns:ahyp="http://schemas.microsoft.com/office/drawing/2018/hyperlinkcolor" xmlns="" val="tx"/>
                    </a:ext>
                  </a:extLst>
                </a:hlinkClick>
              </a:rPr>
              <a:t>forename.surname@crugroup.com</a:t>
            </a:r>
            <a:endParaRPr lang="en-GB" sz="1050"/>
          </a:p>
        </p:txBody>
      </p:sp>
      <p:sp>
        <p:nvSpPr>
          <p:cNvPr id="24" name="Rectangle: Rounded Corners 23">
            <a:extLst>
              <a:ext uri="{FF2B5EF4-FFF2-40B4-BE49-F238E27FC236}">
                <a16:creationId xmlns:a16="http://schemas.microsoft.com/office/drawing/2014/main" id="{C397F6BF-F80E-A0F7-1422-B767B06A3011}"/>
              </a:ext>
            </a:extLst>
          </p:cNvPr>
          <p:cNvSpPr/>
          <p:nvPr userDrawn="1"/>
        </p:nvSpPr>
        <p:spPr>
          <a:xfrm>
            <a:off x="3310222" y="2878384"/>
            <a:ext cx="2876811" cy="1488767"/>
          </a:xfrm>
          <a:prstGeom prst="roundRect">
            <a:avLst/>
          </a:prstGeom>
          <a:ln>
            <a:solidFill>
              <a:srgbClr val="00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sp>
        <p:nvSpPr>
          <p:cNvPr id="25" name="Picture Placeholder 35">
            <a:extLst>
              <a:ext uri="{FF2B5EF4-FFF2-40B4-BE49-F238E27FC236}">
                <a16:creationId xmlns:a16="http://schemas.microsoft.com/office/drawing/2014/main" id="{4A9E53A8-A8FE-55EB-A1CC-42186E7CB034}"/>
              </a:ext>
            </a:extLst>
          </p:cNvPr>
          <p:cNvSpPr>
            <a:spLocks noGrp="1"/>
          </p:cNvSpPr>
          <p:nvPr>
            <p:ph type="pic" sz="quarter" idx="50" hasCustomPrompt="1"/>
          </p:nvPr>
        </p:nvSpPr>
        <p:spPr>
          <a:xfrm>
            <a:off x="3415481" y="2969426"/>
            <a:ext cx="709809" cy="636319"/>
          </a:xfrm>
          <a:prstGeom prst="roundRect">
            <a:avLst/>
          </a:prstGeom>
        </p:spPr>
        <p:txBody>
          <a:bodyPr/>
          <a:lstStyle>
            <a:lvl1pPr algn="ctr">
              <a:defRPr/>
            </a:lvl1pPr>
          </a:lstStyle>
          <a:p>
            <a:r>
              <a:rPr lang="en-US"/>
              <a:t>Add photo</a:t>
            </a:r>
            <a:endParaRPr lang="en-GB"/>
          </a:p>
        </p:txBody>
      </p:sp>
      <p:sp>
        <p:nvSpPr>
          <p:cNvPr id="26" name="Content Placeholder 16">
            <a:extLst>
              <a:ext uri="{FF2B5EF4-FFF2-40B4-BE49-F238E27FC236}">
                <a16:creationId xmlns:a16="http://schemas.microsoft.com/office/drawing/2014/main" id="{36C2BCF7-09C8-3A05-16FA-A35CB3152D8B}"/>
              </a:ext>
            </a:extLst>
          </p:cNvPr>
          <p:cNvSpPr>
            <a:spLocks noGrp="1"/>
          </p:cNvSpPr>
          <p:nvPr>
            <p:ph sz="quarter" idx="51" hasCustomPrompt="1"/>
          </p:nvPr>
        </p:nvSpPr>
        <p:spPr>
          <a:xfrm>
            <a:off x="4241275" y="2969426"/>
            <a:ext cx="1828799" cy="636319"/>
          </a:xfrm>
          <a:prstGeom prst="rect">
            <a:avLst/>
          </a:prstGeom>
          <a:solidFill>
            <a:schemeClr val="bg1"/>
          </a:solidFill>
        </p:spPr>
        <p:txBody>
          <a:bodyPr anchor="ctr"/>
          <a:lstStyle>
            <a:lvl1pPr>
              <a:defRPr sz="1600" i="0">
                <a:solidFill>
                  <a:schemeClr val="tx1"/>
                </a:solidFill>
              </a:defRPr>
            </a:lvl1pPr>
            <a:lvl2pPr>
              <a:defRPr/>
            </a:lvl2pPr>
          </a:lstStyle>
          <a:p>
            <a:r>
              <a:rPr lang="en-GB" b="1"/>
              <a:t>Forename Surname</a:t>
            </a:r>
          </a:p>
        </p:txBody>
      </p:sp>
      <p:sp>
        <p:nvSpPr>
          <p:cNvPr id="27" name="Content Placeholder 16">
            <a:extLst>
              <a:ext uri="{FF2B5EF4-FFF2-40B4-BE49-F238E27FC236}">
                <a16:creationId xmlns:a16="http://schemas.microsoft.com/office/drawing/2014/main" id="{6430A049-C5E3-2EA6-E84D-E15EC5F286CF}"/>
              </a:ext>
            </a:extLst>
          </p:cNvPr>
          <p:cNvSpPr>
            <a:spLocks noGrp="1"/>
          </p:cNvSpPr>
          <p:nvPr>
            <p:ph sz="quarter" idx="52" hasCustomPrompt="1"/>
          </p:nvPr>
        </p:nvSpPr>
        <p:spPr>
          <a:xfrm>
            <a:off x="3415481" y="3765139"/>
            <a:ext cx="2633329" cy="531629"/>
          </a:xfrm>
          <a:prstGeom prst="rect">
            <a:avLst/>
          </a:prstGeom>
          <a:solidFill>
            <a:schemeClr val="bg1"/>
          </a:solidFill>
        </p:spPr>
        <p:txBody>
          <a:bodyPr/>
          <a:lstStyle>
            <a:lvl1pPr>
              <a:spcBef>
                <a:spcPts val="0"/>
              </a:spcBef>
              <a:defRPr sz="1000">
                <a:solidFill>
                  <a:schemeClr val="tx1"/>
                </a:solidFill>
              </a:defRPr>
            </a:lvl1pPr>
            <a:lvl2pPr>
              <a:defRPr/>
            </a:lvl2pPr>
          </a:lstStyle>
          <a:p>
            <a:pPr marL="0" marR="0" lvl="0" indent="0" algn="l" defTabSz="919569" rtl="0" eaLnBrk="1" fontAlgn="auto" latinLnBrk="0" hangingPunct="1">
              <a:lnSpc>
                <a:spcPct val="100000"/>
              </a:lnSpc>
              <a:spcBef>
                <a:spcPts val="800"/>
              </a:spcBef>
              <a:spcAft>
                <a:spcPts val="0"/>
              </a:spcAft>
              <a:buClrTx/>
              <a:buSzTx/>
              <a:buFont typeface="Arial" panose="020B0604020202020204" pitchFamily="34" charset="0"/>
              <a:buNone/>
              <a:tabLst/>
              <a:defRPr/>
            </a:pPr>
            <a:r>
              <a:rPr lang="en-GB" sz="1050"/>
              <a:t>Title</a:t>
            </a:r>
            <a:br>
              <a:rPr lang="en-GB" sz="1050"/>
            </a:br>
            <a:r>
              <a:rPr lang="en-GB" sz="1050"/>
              <a:t>+44 20 7903 ####</a:t>
            </a:r>
            <a:br>
              <a:rPr lang="en-GB" sz="1050"/>
            </a:br>
            <a:r>
              <a:rPr lang="en-GB" sz="1050">
                <a:hlinkClick r:id="rId2">
                  <a:extLst>
                    <a:ext uri="{A12FA001-AC4F-418D-AE19-62706E023703}">
                      <ahyp:hlinkClr xmlns:ahyp="http://schemas.microsoft.com/office/drawing/2018/hyperlinkcolor" xmlns="" val="tx"/>
                    </a:ext>
                  </a:extLst>
                </a:hlinkClick>
              </a:rPr>
              <a:t>forename.surname@crugroup.com</a:t>
            </a:r>
            <a:endParaRPr lang="en-GB" sz="1050"/>
          </a:p>
        </p:txBody>
      </p:sp>
      <p:sp>
        <p:nvSpPr>
          <p:cNvPr id="28" name="Rectangle: Rounded Corners 27">
            <a:extLst>
              <a:ext uri="{FF2B5EF4-FFF2-40B4-BE49-F238E27FC236}">
                <a16:creationId xmlns:a16="http://schemas.microsoft.com/office/drawing/2014/main" id="{5A55BAAD-4D77-08CF-A6E3-EB3624D6DB0A}"/>
              </a:ext>
            </a:extLst>
          </p:cNvPr>
          <p:cNvSpPr/>
          <p:nvPr userDrawn="1"/>
        </p:nvSpPr>
        <p:spPr>
          <a:xfrm>
            <a:off x="6252829" y="2878384"/>
            <a:ext cx="2876811" cy="1488767"/>
          </a:xfrm>
          <a:prstGeom prst="roundRect">
            <a:avLst/>
          </a:prstGeom>
          <a:ln>
            <a:solidFill>
              <a:srgbClr val="00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sp>
        <p:nvSpPr>
          <p:cNvPr id="29" name="Picture Placeholder 35">
            <a:extLst>
              <a:ext uri="{FF2B5EF4-FFF2-40B4-BE49-F238E27FC236}">
                <a16:creationId xmlns:a16="http://schemas.microsoft.com/office/drawing/2014/main" id="{FB749911-500D-2FCC-EF68-0F904191723C}"/>
              </a:ext>
            </a:extLst>
          </p:cNvPr>
          <p:cNvSpPr>
            <a:spLocks noGrp="1"/>
          </p:cNvSpPr>
          <p:nvPr>
            <p:ph type="pic" sz="quarter" idx="53" hasCustomPrompt="1"/>
          </p:nvPr>
        </p:nvSpPr>
        <p:spPr>
          <a:xfrm>
            <a:off x="6358088" y="2969426"/>
            <a:ext cx="709809" cy="636319"/>
          </a:xfrm>
          <a:prstGeom prst="roundRect">
            <a:avLst/>
          </a:prstGeom>
        </p:spPr>
        <p:txBody>
          <a:bodyPr/>
          <a:lstStyle>
            <a:lvl1pPr algn="ctr">
              <a:defRPr/>
            </a:lvl1pPr>
          </a:lstStyle>
          <a:p>
            <a:r>
              <a:rPr lang="en-US"/>
              <a:t>Add photo</a:t>
            </a:r>
            <a:endParaRPr lang="en-GB"/>
          </a:p>
        </p:txBody>
      </p:sp>
      <p:sp>
        <p:nvSpPr>
          <p:cNvPr id="30" name="Content Placeholder 16">
            <a:extLst>
              <a:ext uri="{FF2B5EF4-FFF2-40B4-BE49-F238E27FC236}">
                <a16:creationId xmlns:a16="http://schemas.microsoft.com/office/drawing/2014/main" id="{D746C92E-98E3-AE5C-8197-AAC9CDBD0A48}"/>
              </a:ext>
            </a:extLst>
          </p:cNvPr>
          <p:cNvSpPr>
            <a:spLocks noGrp="1"/>
          </p:cNvSpPr>
          <p:nvPr>
            <p:ph sz="quarter" idx="54" hasCustomPrompt="1"/>
          </p:nvPr>
        </p:nvSpPr>
        <p:spPr>
          <a:xfrm>
            <a:off x="7183882" y="2969426"/>
            <a:ext cx="1828799" cy="636319"/>
          </a:xfrm>
          <a:prstGeom prst="rect">
            <a:avLst/>
          </a:prstGeom>
          <a:solidFill>
            <a:schemeClr val="bg1"/>
          </a:solidFill>
        </p:spPr>
        <p:txBody>
          <a:bodyPr anchor="ctr"/>
          <a:lstStyle>
            <a:lvl1pPr>
              <a:defRPr sz="1600" i="0">
                <a:solidFill>
                  <a:schemeClr val="tx1"/>
                </a:solidFill>
              </a:defRPr>
            </a:lvl1pPr>
            <a:lvl2pPr>
              <a:defRPr/>
            </a:lvl2pPr>
          </a:lstStyle>
          <a:p>
            <a:r>
              <a:rPr lang="en-GB" b="1"/>
              <a:t>Forename Surname</a:t>
            </a:r>
          </a:p>
        </p:txBody>
      </p:sp>
      <p:sp>
        <p:nvSpPr>
          <p:cNvPr id="31" name="Content Placeholder 16">
            <a:extLst>
              <a:ext uri="{FF2B5EF4-FFF2-40B4-BE49-F238E27FC236}">
                <a16:creationId xmlns:a16="http://schemas.microsoft.com/office/drawing/2014/main" id="{8FE49FA2-1B10-9F26-3CA9-7D865A819EEB}"/>
              </a:ext>
            </a:extLst>
          </p:cNvPr>
          <p:cNvSpPr>
            <a:spLocks noGrp="1"/>
          </p:cNvSpPr>
          <p:nvPr>
            <p:ph sz="quarter" idx="55" hasCustomPrompt="1"/>
          </p:nvPr>
        </p:nvSpPr>
        <p:spPr>
          <a:xfrm>
            <a:off x="6358088" y="3765139"/>
            <a:ext cx="2633329" cy="531629"/>
          </a:xfrm>
          <a:prstGeom prst="rect">
            <a:avLst/>
          </a:prstGeom>
          <a:solidFill>
            <a:schemeClr val="bg1"/>
          </a:solidFill>
        </p:spPr>
        <p:txBody>
          <a:bodyPr/>
          <a:lstStyle>
            <a:lvl1pPr>
              <a:spcBef>
                <a:spcPts val="0"/>
              </a:spcBef>
              <a:defRPr sz="1000">
                <a:solidFill>
                  <a:schemeClr val="tx1"/>
                </a:solidFill>
              </a:defRPr>
            </a:lvl1pPr>
            <a:lvl2pPr>
              <a:defRPr/>
            </a:lvl2pPr>
          </a:lstStyle>
          <a:p>
            <a:pPr marL="0" marR="0" lvl="0" indent="0" algn="l" defTabSz="919569" rtl="0" eaLnBrk="1" fontAlgn="auto" latinLnBrk="0" hangingPunct="1">
              <a:lnSpc>
                <a:spcPct val="100000"/>
              </a:lnSpc>
              <a:spcBef>
                <a:spcPts val="800"/>
              </a:spcBef>
              <a:spcAft>
                <a:spcPts val="0"/>
              </a:spcAft>
              <a:buClrTx/>
              <a:buSzTx/>
              <a:buFont typeface="Arial" panose="020B0604020202020204" pitchFamily="34" charset="0"/>
              <a:buNone/>
              <a:tabLst/>
              <a:defRPr/>
            </a:pPr>
            <a:r>
              <a:rPr lang="en-GB" sz="1050"/>
              <a:t>Title</a:t>
            </a:r>
            <a:br>
              <a:rPr lang="en-GB" sz="1050"/>
            </a:br>
            <a:r>
              <a:rPr lang="en-GB" sz="1050"/>
              <a:t>+44 20 7903 ####</a:t>
            </a:r>
            <a:br>
              <a:rPr lang="en-GB" sz="1050"/>
            </a:br>
            <a:r>
              <a:rPr lang="en-GB" sz="1050">
                <a:hlinkClick r:id="rId2">
                  <a:extLst>
                    <a:ext uri="{A12FA001-AC4F-418D-AE19-62706E023703}">
                      <ahyp:hlinkClr xmlns:ahyp="http://schemas.microsoft.com/office/drawing/2018/hyperlinkcolor" xmlns="" val="tx"/>
                    </a:ext>
                  </a:extLst>
                </a:hlinkClick>
              </a:rPr>
              <a:t>forename.surname@crugroup.com</a:t>
            </a:r>
            <a:endParaRPr lang="en-GB" sz="1050"/>
          </a:p>
        </p:txBody>
      </p:sp>
      <p:sp>
        <p:nvSpPr>
          <p:cNvPr id="32" name="Rectangle: Rounded Corners 31">
            <a:extLst>
              <a:ext uri="{FF2B5EF4-FFF2-40B4-BE49-F238E27FC236}">
                <a16:creationId xmlns:a16="http://schemas.microsoft.com/office/drawing/2014/main" id="{283D7489-4ACE-2405-B728-51A158D427FE}"/>
              </a:ext>
            </a:extLst>
          </p:cNvPr>
          <p:cNvSpPr/>
          <p:nvPr userDrawn="1"/>
        </p:nvSpPr>
        <p:spPr>
          <a:xfrm>
            <a:off x="9179582" y="2878384"/>
            <a:ext cx="2876811" cy="1488767"/>
          </a:xfrm>
          <a:prstGeom prst="roundRect">
            <a:avLst/>
          </a:prstGeom>
          <a:ln>
            <a:solidFill>
              <a:srgbClr val="00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sp>
        <p:nvSpPr>
          <p:cNvPr id="33" name="Picture Placeholder 35">
            <a:extLst>
              <a:ext uri="{FF2B5EF4-FFF2-40B4-BE49-F238E27FC236}">
                <a16:creationId xmlns:a16="http://schemas.microsoft.com/office/drawing/2014/main" id="{7A9F52CE-D1D8-4ACD-3FAC-5C8C2F349EE8}"/>
              </a:ext>
            </a:extLst>
          </p:cNvPr>
          <p:cNvSpPr>
            <a:spLocks noGrp="1"/>
          </p:cNvSpPr>
          <p:nvPr>
            <p:ph type="pic" sz="quarter" idx="56" hasCustomPrompt="1"/>
          </p:nvPr>
        </p:nvSpPr>
        <p:spPr>
          <a:xfrm>
            <a:off x="9284841" y="2969426"/>
            <a:ext cx="709809" cy="636319"/>
          </a:xfrm>
          <a:prstGeom prst="roundRect">
            <a:avLst/>
          </a:prstGeom>
        </p:spPr>
        <p:txBody>
          <a:bodyPr/>
          <a:lstStyle>
            <a:lvl1pPr algn="ctr">
              <a:defRPr/>
            </a:lvl1pPr>
          </a:lstStyle>
          <a:p>
            <a:r>
              <a:rPr lang="en-US"/>
              <a:t>Add photo</a:t>
            </a:r>
            <a:endParaRPr lang="en-GB"/>
          </a:p>
        </p:txBody>
      </p:sp>
      <p:sp>
        <p:nvSpPr>
          <p:cNvPr id="34" name="Content Placeholder 16">
            <a:extLst>
              <a:ext uri="{FF2B5EF4-FFF2-40B4-BE49-F238E27FC236}">
                <a16:creationId xmlns:a16="http://schemas.microsoft.com/office/drawing/2014/main" id="{F6C222DE-96EC-7398-8F85-772469AF57F6}"/>
              </a:ext>
            </a:extLst>
          </p:cNvPr>
          <p:cNvSpPr>
            <a:spLocks noGrp="1"/>
          </p:cNvSpPr>
          <p:nvPr>
            <p:ph sz="quarter" idx="57" hasCustomPrompt="1"/>
          </p:nvPr>
        </p:nvSpPr>
        <p:spPr>
          <a:xfrm>
            <a:off x="10110635" y="2969426"/>
            <a:ext cx="1828799" cy="636319"/>
          </a:xfrm>
          <a:prstGeom prst="rect">
            <a:avLst/>
          </a:prstGeom>
          <a:solidFill>
            <a:schemeClr val="bg1"/>
          </a:solidFill>
        </p:spPr>
        <p:txBody>
          <a:bodyPr anchor="ctr"/>
          <a:lstStyle>
            <a:lvl1pPr>
              <a:defRPr sz="1600" i="0">
                <a:solidFill>
                  <a:schemeClr val="tx1"/>
                </a:solidFill>
              </a:defRPr>
            </a:lvl1pPr>
            <a:lvl2pPr>
              <a:defRPr/>
            </a:lvl2pPr>
          </a:lstStyle>
          <a:p>
            <a:r>
              <a:rPr lang="en-GB" b="1"/>
              <a:t>Forename Surname</a:t>
            </a:r>
          </a:p>
        </p:txBody>
      </p:sp>
      <p:sp>
        <p:nvSpPr>
          <p:cNvPr id="35" name="Content Placeholder 16">
            <a:extLst>
              <a:ext uri="{FF2B5EF4-FFF2-40B4-BE49-F238E27FC236}">
                <a16:creationId xmlns:a16="http://schemas.microsoft.com/office/drawing/2014/main" id="{792838F4-8369-C13B-B486-537756569141}"/>
              </a:ext>
            </a:extLst>
          </p:cNvPr>
          <p:cNvSpPr>
            <a:spLocks noGrp="1"/>
          </p:cNvSpPr>
          <p:nvPr>
            <p:ph sz="quarter" idx="58" hasCustomPrompt="1"/>
          </p:nvPr>
        </p:nvSpPr>
        <p:spPr>
          <a:xfrm>
            <a:off x="9284841" y="3765139"/>
            <a:ext cx="2633329" cy="531629"/>
          </a:xfrm>
          <a:prstGeom prst="rect">
            <a:avLst/>
          </a:prstGeom>
          <a:solidFill>
            <a:schemeClr val="bg1"/>
          </a:solidFill>
        </p:spPr>
        <p:txBody>
          <a:bodyPr/>
          <a:lstStyle>
            <a:lvl1pPr>
              <a:spcBef>
                <a:spcPts val="0"/>
              </a:spcBef>
              <a:defRPr sz="1000">
                <a:solidFill>
                  <a:schemeClr val="tx1"/>
                </a:solidFill>
              </a:defRPr>
            </a:lvl1pPr>
            <a:lvl2pPr>
              <a:defRPr/>
            </a:lvl2pPr>
          </a:lstStyle>
          <a:p>
            <a:pPr marL="0" marR="0" lvl="0" indent="0" algn="l" defTabSz="919569" rtl="0" eaLnBrk="1" fontAlgn="auto" latinLnBrk="0" hangingPunct="1">
              <a:lnSpc>
                <a:spcPct val="100000"/>
              </a:lnSpc>
              <a:spcBef>
                <a:spcPts val="800"/>
              </a:spcBef>
              <a:spcAft>
                <a:spcPts val="0"/>
              </a:spcAft>
              <a:buClrTx/>
              <a:buSzTx/>
              <a:buFont typeface="Arial" panose="020B0604020202020204" pitchFamily="34" charset="0"/>
              <a:buNone/>
              <a:tabLst/>
              <a:defRPr/>
            </a:pPr>
            <a:r>
              <a:rPr lang="en-GB" sz="1050"/>
              <a:t>Title</a:t>
            </a:r>
            <a:br>
              <a:rPr lang="en-GB" sz="1050"/>
            </a:br>
            <a:r>
              <a:rPr lang="en-GB" sz="1050"/>
              <a:t>+44 20 7903 ####</a:t>
            </a:r>
            <a:br>
              <a:rPr lang="en-GB" sz="1050"/>
            </a:br>
            <a:r>
              <a:rPr lang="en-GB" sz="1050">
                <a:hlinkClick r:id="rId2">
                  <a:extLst>
                    <a:ext uri="{A12FA001-AC4F-418D-AE19-62706E023703}">
                      <ahyp:hlinkClr xmlns:ahyp="http://schemas.microsoft.com/office/drawing/2018/hyperlinkcolor" xmlns="" val="tx"/>
                    </a:ext>
                  </a:extLst>
                </a:hlinkClick>
              </a:rPr>
              <a:t>forename.surname@crugroup.com</a:t>
            </a:r>
            <a:endParaRPr lang="en-GB" sz="1050"/>
          </a:p>
        </p:txBody>
      </p:sp>
      <p:sp>
        <p:nvSpPr>
          <p:cNvPr id="36" name="Rectangle: Rounded Corners 35">
            <a:extLst>
              <a:ext uri="{FF2B5EF4-FFF2-40B4-BE49-F238E27FC236}">
                <a16:creationId xmlns:a16="http://schemas.microsoft.com/office/drawing/2014/main" id="{02C5F67B-E545-59C1-3DF4-5E84C1BA8F70}"/>
              </a:ext>
            </a:extLst>
          </p:cNvPr>
          <p:cNvSpPr/>
          <p:nvPr userDrawn="1"/>
        </p:nvSpPr>
        <p:spPr>
          <a:xfrm>
            <a:off x="367800" y="4503857"/>
            <a:ext cx="2876811" cy="1488767"/>
          </a:xfrm>
          <a:prstGeom prst="roundRect">
            <a:avLst/>
          </a:prstGeom>
          <a:ln>
            <a:solidFill>
              <a:srgbClr val="00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b="1">
              <a:solidFill>
                <a:schemeClr val="tx1"/>
              </a:solidFill>
            </a:endParaRPr>
          </a:p>
        </p:txBody>
      </p:sp>
      <p:sp>
        <p:nvSpPr>
          <p:cNvPr id="37" name="Picture Placeholder 35">
            <a:extLst>
              <a:ext uri="{FF2B5EF4-FFF2-40B4-BE49-F238E27FC236}">
                <a16:creationId xmlns:a16="http://schemas.microsoft.com/office/drawing/2014/main" id="{217D30D2-7237-7EA0-E638-03B64929EBFD}"/>
              </a:ext>
            </a:extLst>
          </p:cNvPr>
          <p:cNvSpPr>
            <a:spLocks noGrp="1"/>
          </p:cNvSpPr>
          <p:nvPr>
            <p:ph type="pic" sz="quarter" idx="59" hasCustomPrompt="1"/>
          </p:nvPr>
        </p:nvSpPr>
        <p:spPr>
          <a:xfrm>
            <a:off x="473059" y="4594899"/>
            <a:ext cx="709809" cy="636319"/>
          </a:xfrm>
          <a:prstGeom prst="roundRect">
            <a:avLst/>
          </a:prstGeom>
        </p:spPr>
        <p:txBody>
          <a:bodyPr/>
          <a:lstStyle>
            <a:lvl1pPr algn="ctr">
              <a:defRPr b="0"/>
            </a:lvl1pPr>
          </a:lstStyle>
          <a:p>
            <a:r>
              <a:rPr lang="en-US"/>
              <a:t>Add photo</a:t>
            </a:r>
            <a:endParaRPr lang="en-GB"/>
          </a:p>
        </p:txBody>
      </p:sp>
      <p:sp>
        <p:nvSpPr>
          <p:cNvPr id="38" name="Content Placeholder 16">
            <a:extLst>
              <a:ext uri="{FF2B5EF4-FFF2-40B4-BE49-F238E27FC236}">
                <a16:creationId xmlns:a16="http://schemas.microsoft.com/office/drawing/2014/main" id="{B84A8470-1395-171A-D3A0-D5E4A7C1DD74}"/>
              </a:ext>
            </a:extLst>
          </p:cNvPr>
          <p:cNvSpPr>
            <a:spLocks noGrp="1"/>
          </p:cNvSpPr>
          <p:nvPr>
            <p:ph sz="quarter" idx="60" hasCustomPrompt="1"/>
          </p:nvPr>
        </p:nvSpPr>
        <p:spPr>
          <a:xfrm>
            <a:off x="1298853" y="4594899"/>
            <a:ext cx="1828799" cy="636319"/>
          </a:xfrm>
          <a:prstGeom prst="rect">
            <a:avLst/>
          </a:prstGeom>
          <a:solidFill>
            <a:schemeClr val="bg1"/>
          </a:solidFill>
        </p:spPr>
        <p:txBody>
          <a:bodyPr anchor="ctr"/>
          <a:lstStyle>
            <a:lvl1pPr>
              <a:defRPr sz="1600" b="1" i="0">
                <a:solidFill>
                  <a:schemeClr val="tx1"/>
                </a:solidFill>
              </a:defRPr>
            </a:lvl1pPr>
            <a:lvl2pPr>
              <a:defRPr/>
            </a:lvl2pPr>
          </a:lstStyle>
          <a:p>
            <a:r>
              <a:rPr lang="en-GB" b="1"/>
              <a:t>Forename Surname</a:t>
            </a:r>
          </a:p>
        </p:txBody>
      </p:sp>
      <p:sp>
        <p:nvSpPr>
          <p:cNvPr id="39" name="Content Placeholder 16">
            <a:extLst>
              <a:ext uri="{FF2B5EF4-FFF2-40B4-BE49-F238E27FC236}">
                <a16:creationId xmlns:a16="http://schemas.microsoft.com/office/drawing/2014/main" id="{286BE7A7-A117-6167-5F24-FA6345DBDF59}"/>
              </a:ext>
            </a:extLst>
          </p:cNvPr>
          <p:cNvSpPr>
            <a:spLocks noGrp="1"/>
          </p:cNvSpPr>
          <p:nvPr>
            <p:ph sz="quarter" idx="61" hasCustomPrompt="1"/>
          </p:nvPr>
        </p:nvSpPr>
        <p:spPr>
          <a:xfrm>
            <a:off x="473059" y="5358808"/>
            <a:ext cx="2633329" cy="531629"/>
          </a:xfrm>
          <a:prstGeom prst="rect">
            <a:avLst/>
          </a:prstGeom>
          <a:solidFill>
            <a:schemeClr val="bg1"/>
          </a:solidFill>
        </p:spPr>
        <p:txBody>
          <a:bodyPr/>
          <a:lstStyle>
            <a:lvl1pPr>
              <a:spcBef>
                <a:spcPts val="0"/>
              </a:spcBef>
              <a:defRPr sz="1000" b="0">
                <a:solidFill>
                  <a:schemeClr val="tx1"/>
                </a:solidFill>
              </a:defRPr>
            </a:lvl1pPr>
            <a:lvl2pPr>
              <a:defRPr/>
            </a:lvl2pPr>
          </a:lstStyle>
          <a:p>
            <a:pPr marL="0" marR="0" lvl="0" indent="0" algn="l" defTabSz="919569" rtl="0" eaLnBrk="1" fontAlgn="auto" latinLnBrk="0" hangingPunct="1">
              <a:lnSpc>
                <a:spcPct val="100000"/>
              </a:lnSpc>
              <a:spcBef>
                <a:spcPts val="800"/>
              </a:spcBef>
              <a:spcAft>
                <a:spcPts val="0"/>
              </a:spcAft>
              <a:buClrTx/>
              <a:buSzTx/>
              <a:buFont typeface="Arial" panose="020B0604020202020204" pitchFamily="34" charset="0"/>
              <a:buNone/>
              <a:tabLst/>
              <a:defRPr/>
            </a:pPr>
            <a:r>
              <a:rPr lang="en-GB" sz="1050"/>
              <a:t>Title</a:t>
            </a:r>
            <a:br>
              <a:rPr lang="en-GB" sz="1050"/>
            </a:br>
            <a:r>
              <a:rPr lang="en-GB" sz="1050"/>
              <a:t>+44 20 7903 ####</a:t>
            </a:r>
            <a:br>
              <a:rPr lang="en-GB" sz="1050"/>
            </a:br>
            <a:r>
              <a:rPr lang="en-GB" sz="1050">
                <a:hlinkClick r:id="rId2">
                  <a:extLst>
                    <a:ext uri="{A12FA001-AC4F-418D-AE19-62706E023703}">
                      <ahyp:hlinkClr xmlns:ahyp="http://schemas.microsoft.com/office/drawing/2018/hyperlinkcolor" xmlns="" val="tx"/>
                    </a:ext>
                  </a:extLst>
                </a:hlinkClick>
              </a:rPr>
              <a:t>forename.surname@crugroup.com</a:t>
            </a:r>
            <a:endParaRPr lang="en-GB" sz="1050"/>
          </a:p>
        </p:txBody>
      </p:sp>
      <p:cxnSp>
        <p:nvCxnSpPr>
          <p:cNvPr id="52" name="Straight Connector 51">
            <a:extLst>
              <a:ext uri="{FF2B5EF4-FFF2-40B4-BE49-F238E27FC236}">
                <a16:creationId xmlns:a16="http://schemas.microsoft.com/office/drawing/2014/main" id="{03BF13B1-7CA6-17FF-4FFA-820346E9B903}"/>
              </a:ext>
            </a:extLst>
          </p:cNvPr>
          <p:cNvCxnSpPr>
            <a:cxnSpLocks/>
          </p:cNvCxnSpPr>
          <p:nvPr userDrawn="1"/>
        </p:nvCxnSpPr>
        <p:spPr>
          <a:xfrm>
            <a:off x="361310" y="2076728"/>
            <a:ext cx="2876811"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B6012023-889F-4DA6-079A-8EF67A009E32}"/>
              </a:ext>
            </a:extLst>
          </p:cNvPr>
          <p:cNvCxnSpPr>
            <a:cxnSpLocks/>
          </p:cNvCxnSpPr>
          <p:nvPr userDrawn="1"/>
        </p:nvCxnSpPr>
        <p:spPr>
          <a:xfrm>
            <a:off x="354684" y="3677590"/>
            <a:ext cx="2876811"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4A268B6-6151-2F51-9258-B4AB6E888F80}"/>
              </a:ext>
            </a:extLst>
          </p:cNvPr>
          <p:cNvCxnSpPr>
            <a:cxnSpLocks/>
          </p:cNvCxnSpPr>
          <p:nvPr userDrawn="1"/>
        </p:nvCxnSpPr>
        <p:spPr>
          <a:xfrm>
            <a:off x="354683" y="5299593"/>
            <a:ext cx="2876811"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E66B849-99F1-CE0E-FC87-327ABF10A719}"/>
              </a:ext>
            </a:extLst>
          </p:cNvPr>
          <p:cNvCxnSpPr>
            <a:cxnSpLocks/>
          </p:cNvCxnSpPr>
          <p:nvPr userDrawn="1"/>
        </p:nvCxnSpPr>
        <p:spPr>
          <a:xfrm>
            <a:off x="6259821" y="2076728"/>
            <a:ext cx="2876811"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43D3364D-9A78-68FA-FB76-8327115F0C64}"/>
              </a:ext>
            </a:extLst>
          </p:cNvPr>
          <p:cNvCxnSpPr>
            <a:cxnSpLocks/>
          </p:cNvCxnSpPr>
          <p:nvPr userDrawn="1"/>
        </p:nvCxnSpPr>
        <p:spPr>
          <a:xfrm>
            <a:off x="3313895" y="2076728"/>
            <a:ext cx="2876811"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456DC5E-FC3B-89DE-7D07-64126C04F2A7}"/>
              </a:ext>
            </a:extLst>
          </p:cNvPr>
          <p:cNvCxnSpPr>
            <a:cxnSpLocks/>
          </p:cNvCxnSpPr>
          <p:nvPr userDrawn="1"/>
        </p:nvCxnSpPr>
        <p:spPr>
          <a:xfrm>
            <a:off x="9174005" y="2076728"/>
            <a:ext cx="2876811"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03246ED-D74F-C76E-BCEE-D12066B15196}"/>
              </a:ext>
            </a:extLst>
          </p:cNvPr>
          <p:cNvCxnSpPr>
            <a:cxnSpLocks/>
          </p:cNvCxnSpPr>
          <p:nvPr userDrawn="1"/>
        </p:nvCxnSpPr>
        <p:spPr>
          <a:xfrm>
            <a:off x="3313894" y="3677590"/>
            <a:ext cx="2876811"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9D19A92E-0657-D078-0808-DCFD5488B865}"/>
              </a:ext>
            </a:extLst>
          </p:cNvPr>
          <p:cNvCxnSpPr>
            <a:cxnSpLocks/>
          </p:cNvCxnSpPr>
          <p:nvPr userDrawn="1"/>
        </p:nvCxnSpPr>
        <p:spPr>
          <a:xfrm>
            <a:off x="6262471" y="3677590"/>
            <a:ext cx="2876811"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3C34136B-0236-DB91-3D05-A64CD6EA727E}"/>
              </a:ext>
            </a:extLst>
          </p:cNvPr>
          <p:cNvCxnSpPr>
            <a:cxnSpLocks/>
          </p:cNvCxnSpPr>
          <p:nvPr userDrawn="1"/>
        </p:nvCxnSpPr>
        <p:spPr>
          <a:xfrm>
            <a:off x="9167379" y="3677590"/>
            <a:ext cx="2876811"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Rounded Corners 39">
            <a:extLst>
              <a:ext uri="{FF2B5EF4-FFF2-40B4-BE49-F238E27FC236}">
                <a16:creationId xmlns:a16="http://schemas.microsoft.com/office/drawing/2014/main" id="{7578EC27-45CC-61B3-03DC-C48776EC8D7A}"/>
              </a:ext>
            </a:extLst>
          </p:cNvPr>
          <p:cNvSpPr/>
          <p:nvPr userDrawn="1"/>
        </p:nvSpPr>
        <p:spPr>
          <a:xfrm>
            <a:off x="3310222" y="4503857"/>
            <a:ext cx="2876811" cy="1488767"/>
          </a:xfrm>
          <a:prstGeom prst="roundRect">
            <a:avLst/>
          </a:prstGeom>
          <a:ln>
            <a:solidFill>
              <a:srgbClr val="00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b="1">
              <a:solidFill>
                <a:schemeClr val="tx1"/>
              </a:solidFill>
            </a:endParaRPr>
          </a:p>
        </p:txBody>
      </p:sp>
      <p:sp>
        <p:nvSpPr>
          <p:cNvPr id="41" name="Picture Placeholder 35">
            <a:extLst>
              <a:ext uri="{FF2B5EF4-FFF2-40B4-BE49-F238E27FC236}">
                <a16:creationId xmlns:a16="http://schemas.microsoft.com/office/drawing/2014/main" id="{5041FB16-87DA-A2F5-8D96-EF0AAAFF80D6}"/>
              </a:ext>
            </a:extLst>
          </p:cNvPr>
          <p:cNvSpPr>
            <a:spLocks noGrp="1"/>
          </p:cNvSpPr>
          <p:nvPr>
            <p:ph type="pic" sz="quarter" idx="62" hasCustomPrompt="1"/>
          </p:nvPr>
        </p:nvSpPr>
        <p:spPr>
          <a:xfrm>
            <a:off x="3415481" y="4594899"/>
            <a:ext cx="709809" cy="636319"/>
          </a:xfrm>
          <a:prstGeom prst="roundRect">
            <a:avLst/>
          </a:prstGeom>
        </p:spPr>
        <p:txBody>
          <a:bodyPr/>
          <a:lstStyle>
            <a:lvl1pPr algn="ctr">
              <a:defRPr b="0"/>
            </a:lvl1pPr>
          </a:lstStyle>
          <a:p>
            <a:r>
              <a:rPr lang="en-US"/>
              <a:t>Add photo</a:t>
            </a:r>
            <a:endParaRPr lang="en-GB"/>
          </a:p>
        </p:txBody>
      </p:sp>
      <p:sp>
        <p:nvSpPr>
          <p:cNvPr id="42" name="Content Placeholder 16">
            <a:extLst>
              <a:ext uri="{FF2B5EF4-FFF2-40B4-BE49-F238E27FC236}">
                <a16:creationId xmlns:a16="http://schemas.microsoft.com/office/drawing/2014/main" id="{F6E5BE44-029C-0C01-EA6B-2E56D4892E01}"/>
              </a:ext>
            </a:extLst>
          </p:cNvPr>
          <p:cNvSpPr>
            <a:spLocks noGrp="1"/>
          </p:cNvSpPr>
          <p:nvPr>
            <p:ph sz="quarter" idx="63" hasCustomPrompt="1"/>
          </p:nvPr>
        </p:nvSpPr>
        <p:spPr>
          <a:xfrm>
            <a:off x="4241275" y="4594899"/>
            <a:ext cx="1828799" cy="636319"/>
          </a:xfrm>
          <a:prstGeom prst="rect">
            <a:avLst/>
          </a:prstGeom>
          <a:solidFill>
            <a:schemeClr val="bg1"/>
          </a:solidFill>
        </p:spPr>
        <p:txBody>
          <a:bodyPr anchor="ctr"/>
          <a:lstStyle>
            <a:lvl1pPr>
              <a:defRPr sz="1600" b="1" i="0">
                <a:solidFill>
                  <a:schemeClr val="tx1"/>
                </a:solidFill>
              </a:defRPr>
            </a:lvl1pPr>
            <a:lvl2pPr>
              <a:defRPr/>
            </a:lvl2pPr>
          </a:lstStyle>
          <a:p>
            <a:r>
              <a:rPr lang="en-GB" b="1"/>
              <a:t>Forename Surname</a:t>
            </a:r>
          </a:p>
        </p:txBody>
      </p:sp>
      <p:sp>
        <p:nvSpPr>
          <p:cNvPr id="43" name="Content Placeholder 16">
            <a:extLst>
              <a:ext uri="{FF2B5EF4-FFF2-40B4-BE49-F238E27FC236}">
                <a16:creationId xmlns:a16="http://schemas.microsoft.com/office/drawing/2014/main" id="{F319B1A9-6BAF-F2D2-91D1-7DF9D977305C}"/>
              </a:ext>
            </a:extLst>
          </p:cNvPr>
          <p:cNvSpPr>
            <a:spLocks noGrp="1"/>
          </p:cNvSpPr>
          <p:nvPr>
            <p:ph sz="quarter" idx="64" hasCustomPrompt="1"/>
          </p:nvPr>
        </p:nvSpPr>
        <p:spPr>
          <a:xfrm>
            <a:off x="3415481" y="5358808"/>
            <a:ext cx="2633329" cy="531629"/>
          </a:xfrm>
          <a:prstGeom prst="rect">
            <a:avLst/>
          </a:prstGeom>
          <a:solidFill>
            <a:schemeClr val="bg1"/>
          </a:solidFill>
        </p:spPr>
        <p:txBody>
          <a:bodyPr/>
          <a:lstStyle>
            <a:lvl1pPr>
              <a:spcBef>
                <a:spcPts val="0"/>
              </a:spcBef>
              <a:defRPr sz="1000" b="0">
                <a:solidFill>
                  <a:schemeClr val="tx1"/>
                </a:solidFill>
              </a:defRPr>
            </a:lvl1pPr>
            <a:lvl2pPr>
              <a:defRPr/>
            </a:lvl2pPr>
          </a:lstStyle>
          <a:p>
            <a:pPr marL="0" marR="0" lvl="0" indent="0" algn="l" defTabSz="919569" rtl="0" eaLnBrk="1" fontAlgn="auto" latinLnBrk="0" hangingPunct="1">
              <a:lnSpc>
                <a:spcPct val="100000"/>
              </a:lnSpc>
              <a:spcBef>
                <a:spcPts val="800"/>
              </a:spcBef>
              <a:spcAft>
                <a:spcPts val="0"/>
              </a:spcAft>
              <a:buClrTx/>
              <a:buSzTx/>
              <a:buFont typeface="Arial" panose="020B0604020202020204" pitchFamily="34" charset="0"/>
              <a:buNone/>
              <a:tabLst/>
              <a:defRPr/>
            </a:pPr>
            <a:r>
              <a:rPr lang="en-GB" sz="1050"/>
              <a:t>Title</a:t>
            </a:r>
            <a:br>
              <a:rPr lang="en-GB" sz="1050"/>
            </a:br>
            <a:r>
              <a:rPr lang="en-GB" sz="1050"/>
              <a:t>+44 20 7903 ####</a:t>
            </a:r>
            <a:br>
              <a:rPr lang="en-GB" sz="1050"/>
            </a:br>
            <a:r>
              <a:rPr lang="en-GB" sz="1050">
                <a:hlinkClick r:id="rId2">
                  <a:extLst>
                    <a:ext uri="{A12FA001-AC4F-418D-AE19-62706E023703}">
                      <ahyp:hlinkClr xmlns:ahyp="http://schemas.microsoft.com/office/drawing/2018/hyperlinkcolor" xmlns="" val="tx"/>
                    </a:ext>
                  </a:extLst>
                </a:hlinkClick>
              </a:rPr>
              <a:t>forename.surname@crugroup.com</a:t>
            </a:r>
            <a:endParaRPr lang="en-GB" sz="1050"/>
          </a:p>
        </p:txBody>
      </p:sp>
      <p:cxnSp>
        <p:nvCxnSpPr>
          <p:cNvPr id="44" name="Straight Connector 43">
            <a:extLst>
              <a:ext uri="{FF2B5EF4-FFF2-40B4-BE49-F238E27FC236}">
                <a16:creationId xmlns:a16="http://schemas.microsoft.com/office/drawing/2014/main" id="{865795FC-BBAE-461B-3A99-C35CD94EC5D6}"/>
              </a:ext>
            </a:extLst>
          </p:cNvPr>
          <p:cNvCxnSpPr>
            <a:cxnSpLocks/>
          </p:cNvCxnSpPr>
          <p:nvPr userDrawn="1"/>
        </p:nvCxnSpPr>
        <p:spPr>
          <a:xfrm>
            <a:off x="3297105" y="5299593"/>
            <a:ext cx="2876811"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11965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3x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noFill/>
        </p:spPr>
        <p:txBody>
          <a:bodyPr lIns="0"/>
          <a:lstStyle/>
          <a:p>
            <a:r>
              <a:rPr lang="en-US"/>
              <a:t>Click to edit Master title style</a:t>
            </a:r>
            <a:endParaRPr lang="en-GB"/>
          </a:p>
        </p:txBody>
      </p:sp>
      <p:sp>
        <p:nvSpPr>
          <p:cNvPr id="3" name="Slide Number Placeholder 2">
            <a:extLst>
              <a:ext uri="{FF2B5EF4-FFF2-40B4-BE49-F238E27FC236}">
                <a16:creationId xmlns:a16="http://schemas.microsoft.com/office/drawing/2014/main" id="{F6A6F3C7-49FD-B21D-A71C-794307806CB1}"/>
              </a:ext>
            </a:extLst>
          </p:cNvPr>
          <p:cNvSpPr>
            <a:spLocks noGrp="1"/>
          </p:cNvSpPr>
          <p:nvPr>
            <p:ph type="sldNum" sz="quarter" idx="10"/>
          </p:nvPr>
        </p:nvSpPr>
        <p:spPr>
          <a:noFill/>
        </p:spPr>
        <p:txBody>
          <a:bodyPr/>
          <a:lstStyle>
            <a:lvl1pPr>
              <a:defRPr sz="1200">
                <a:solidFill>
                  <a:schemeClr val="tx1"/>
                </a:solidFill>
              </a:defRPr>
            </a:lvl1pPr>
          </a:lstStyle>
          <a:p>
            <a:endParaRPr lang="en-GB"/>
          </a:p>
        </p:txBody>
      </p:sp>
      <p:sp>
        <p:nvSpPr>
          <p:cNvPr id="4" name="Footer Placeholder 3">
            <a:extLst>
              <a:ext uri="{FF2B5EF4-FFF2-40B4-BE49-F238E27FC236}">
                <a16:creationId xmlns:a16="http://schemas.microsoft.com/office/drawing/2014/main" id="{5E7FC5AF-5497-9574-95D6-1D004FDD63BA}"/>
              </a:ext>
            </a:extLst>
          </p:cNvPr>
          <p:cNvSpPr>
            <a:spLocks noGrp="1"/>
          </p:cNvSpPr>
          <p:nvPr>
            <p:ph type="ftr" sz="quarter" idx="11"/>
          </p:nvPr>
        </p:nvSpPr>
        <p:spPr>
          <a:xfrm>
            <a:off x="7350369" y="6429965"/>
            <a:ext cx="3176758" cy="307777"/>
          </a:xfrm>
          <a:prstGeom prst="rect">
            <a:avLst/>
          </a:prstGeom>
          <a:noFill/>
        </p:spPr>
        <p:txBody>
          <a:bodyPr/>
          <a:lstStyle/>
          <a:p>
            <a:r>
              <a:rPr lang="en-US"/>
              <a:t>Co &amp; Li supply: stopgap or structural shift</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3536" y="972000"/>
            <a:ext cx="3768557" cy="288000"/>
          </a:xfrm>
          <a:noFill/>
        </p:spPr>
        <p:txBody>
          <a:bodyPr lIns="0"/>
          <a:lstStyle>
            <a:lvl1pPr>
              <a:defRPr sz="1300"/>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35266" y="1260000"/>
            <a:ext cx="3744000" cy="4746998"/>
          </a:xfrm>
          <a:noFill/>
        </p:spPr>
        <p:txBody>
          <a:bodyPr/>
          <a:lstStyle>
            <a:lvl1pPr algn="ctr">
              <a:defRPr/>
            </a:lvl1pPr>
            <a:lvl5pPr>
              <a:defRPr/>
            </a:lvl5pPr>
          </a:lstStyle>
          <a:p>
            <a:pPr lvl="0"/>
            <a:r>
              <a:rPr lang="en-US"/>
              <a:t>Insert Char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11365200" cy="215999"/>
          </a:xfrm>
          <a:noFill/>
        </p:spPr>
        <p:txBody>
          <a:bodyPr lIns="0"/>
          <a:lstStyle>
            <a:lvl1pPr>
              <a:defRPr sz="1050">
                <a:solidFill>
                  <a:schemeClr val="tx1"/>
                </a:solidFill>
              </a:defRPr>
            </a:lvl1pPr>
            <a:lvl5pPr>
              <a:defRPr sz="1050">
                <a:solidFill>
                  <a:schemeClr val="tx1"/>
                </a:solidFill>
              </a:defRPr>
            </a:lvl5pPr>
          </a:lstStyle>
          <a:p>
            <a:pPr lvl="0"/>
            <a:r>
              <a:rPr lang="en-US"/>
              <a:t>DATA: CRU</a:t>
            </a:r>
            <a:endParaRPr lang="en-GB"/>
          </a:p>
        </p:txBody>
      </p:sp>
      <p:sp>
        <p:nvSpPr>
          <p:cNvPr id="13" name="Text Placeholder 5">
            <a:extLst>
              <a:ext uri="{FF2B5EF4-FFF2-40B4-BE49-F238E27FC236}">
                <a16:creationId xmlns:a16="http://schemas.microsoft.com/office/drawing/2014/main" id="{0F05E3CC-77D8-00D4-3892-43359D3D440D}"/>
              </a:ext>
            </a:extLst>
          </p:cNvPr>
          <p:cNvSpPr>
            <a:spLocks noGrp="1"/>
          </p:cNvSpPr>
          <p:nvPr>
            <p:ph type="body" sz="quarter" idx="20" hasCustomPrompt="1"/>
          </p:nvPr>
        </p:nvSpPr>
        <p:spPr>
          <a:xfrm>
            <a:off x="4212000" y="972000"/>
            <a:ext cx="3768556" cy="288000"/>
          </a:xfrm>
          <a:noFill/>
        </p:spPr>
        <p:txBody>
          <a:bodyPr lIns="108000"/>
          <a:lstStyle>
            <a:lvl1pPr>
              <a:defRPr sz="1300"/>
            </a:lvl1pPr>
          </a:lstStyle>
          <a:p>
            <a:pPr lvl="0"/>
            <a:r>
              <a:rPr lang="en-US"/>
              <a:t>Chart headline</a:t>
            </a:r>
          </a:p>
        </p:txBody>
      </p:sp>
      <p:sp>
        <p:nvSpPr>
          <p:cNvPr id="14" name="Content Placeholder 7">
            <a:extLst>
              <a:ext uri="{FF2B5EF4-FFF2-40B4-BE49-F238E27FC236}">
                <a16:creationId xmlns:a16="http://schemas.microsoft.com/office/drawing/2014/main" id="{CB8F5FCB-FB91-1CC1-0B13-4616C17F6F8D}"/>
              </a:ext>
            </a:extLst>
          </p:cNvPr>
          <p:cNvSpPr>
            <a:spLocks noGrp="1"/>
          </p:cNvSpPr>
          <p:nvPr>
            <p:ph sz="quarter" idx="21" hasCustomPrompt="1"/>
          </p:nvPr>
        </p:nvSpPr>
        <p:spPr>
          <a:xfrm>
            <a:off x="4233266" y="1260000"/>
            <a:ext cx="3744000" cy="4747000"/>
          </a:xfrm>
          <a:noFill/>
        </p:spPr>
        <p:txBody>
          <a:bodyPr/>
          <a:lstStyle>
            <a:lvl1pPr algn="ctr">
              <a:defRPr/>
            </a:lvl1pPr>
            <a:lvl5pPr>
              <a:defRPr/>
            </a:lvl5pPr>
          </a:lstStyle>
          <a:p>
            <a:pPr lvl="0"/>
            <a:r>
              <a:rPr lang="en-US"/>
              <a:t>Insert Chart</a:t>
            </a:r>
            <a:endParaRPr lang="en-GB"/>
          </a:p>
        </p:txBody>
      </p:sp>
      <p:sp>
        <p:nvSpPr>
          <p:cNvPr id="17" name="Text Placeholder 5">
            <a:extLst>
              <a:ext uri="{FF2B5EF4-FFF2-40B4-BE49-F238E27FC236}">
                <a16:creationId xmlns:a16="http://schemas.microsoft.com/office/drawing/2014/main" id="{82725930-D425-C749-FEC9-D1707FF63950}"/>
              </a:ext>
            </a:extLst>
          </p:cNvPr>
          <p:cNvSpPr>
            <a:spLocks noGrp="1"/>
          </p:cNvSpPr>
          <p:nvPr>
            <p:ph type="body" sz="quarter" idx="24" hasCustomPrompt="1"/>
          </p:nvPr>
        </p:nvSpPr>
        <p:spPr>
          <a:xfrm>
            <a:off x="8010000" y="972000"/>
            <a:ext cx="3767950" cy="288000"/>
          </a:xfrm>
          <a:noFill/>
        </p:spPr>
        <p:txBody>
          <a:bodyPr lIns="108000"/>
          <a:lstStyle>
            <a:lvl1pPr>
              <a:defRPr sz="1300"/>
            </a:lvl1pPr>
          </a:lstStyle>
          <a:p>
            <a:pPr lvl="0"/>
            <a:r>
              <a:rPr lang="en-US"/>
              <a:t>Chart headline</a:t>
            </a:r>
          </a:p>
        </p:txBody>
      </p:sp>
      <p:sp>
        <p:nvSpPr>
          <p:cNvPr id="18" name="Content Placeholder 7">
            <a:extLst>
              <a:ext uri="{FF2B5EF4-FFF2-40B4-BE49-F238E27FC236}">
                <a16:creationId xmlns:a16="http://schemas.microsoft.com/office/drawing/2014/main" id="{ECAB1B5D-539C-8387-B045-BAF0C5698A72}"/>
              </a:ext>
            </a:extLst>
          </p:cNvPr>
          <p:cNvSpPr>
            <a:spLocks noGrp="1"/>
          </p:cNvSpPr>
          <p:nvPr>
            <p:ph sz="quarter" idx="25" hasCustomPrompt="1"/>
          </p:nvPr>
        </p:nvSpPr>
        <p:spPr>
          <a:xfrm>
            <a:off x="8031266" y="1259999"/>
            <a:ext cx="3744000" cy="4746999"/>
          </a:xfrm>
          <a:noFill/>
        </p:spPr>
        <p:txBody>
          <a:bodyPr/>
          <a:lstStyle>
            <a:lvl1pPr algn="ctr">
              <a:defRPr/>
            </a:lvl1pPr>
            <a:lvl5pPr>
              <a:defRPr/>
            </a:lvl5pPr>
          </a:lstStyle>
          <a:p>
            <a:pPr lvl="0"/>
            <a:r>
              <a:rPr lang="en-US"/>
              <a:t>Insert Chart</a:t>
            </a:r>
            <a:endParaRPr lang="en-GB"/>
          </a:p>
        </p:txBody>
      </p:sp>
      <p:cxnSp>
        <p:nvCxnSpPr>
          <p:cNvPr id="7" name="Straight Connector 6">
            <a:extLst>
              <a:ext uri="{FF2B5EF4-FFF2-40B4-BE49-F238E27FC236}">
                <a16:creationId xmlns:a16="http://schemas.microsoft.com/office/drawing/2014/main" id="{975CDD6E-035F-9465-32D7-99297026358F}"/>
              </a:ext>
            </a:extLst>
          </p:cNvPr>
          <p:cNvCxnSpPr/>
          <p:nvPr userDrawn="1"/>
        </p:nvCxnSpPr>
        <p:spPr>
          <a:xfrm>
            <a:off x="4190031" y="3766451"/>
            <a:ext cx="7937" cy="1990725"/>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0" name="Straight Connector 9">
            <a:extLst>
              <a:ext uri="{FF2B5EF4-FFF2-40B4-BE49-F238E27FC236}">
                <a16:creationId xmlns:a16="http://schemas.microsoft.com/office/drawing/2014/main" id="{2A904D48-4B83-5BF3-D639-51D8FAB1FCCD}"/>
              </a:ext>
            </a:extLst>
          </p:cNvPr>
          <p:cNvCxnSpPr/>
          <p:nvPr userDrawn="1"/>
        </p:nvCxnSpPr>
        <p:spPr>
          <a:xfrm>
            <a:off x="7991475" y="3766451"/>
            <a:ext cx="7937" cy="1990725"/>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1" name="Straight Connector 10">
            <a:extLst>
              <a:ext uri="{FF2B5EF4-FFF2-40B4-BE49-F238E27FC236}">
                <a16:creationId xmlns:a16="http://schemas.microsoft.com/office/drawing/2014/main" id="{03F1CA78-3547-5512-F36A-2F1EEF65A0E0}"/>
              </a:ext>
            </a:extLst>
          </p:cNvPr>
          <p:cNvCxnSpPr/>
          <p:nvPr userDrawn="1"/>
        </p:nvCxnSpPr>
        <p:spPr>
          <a:xfrm>
            <a:off x="4197968" y="1401902"/>
            <a:ext cx="7937" cy="1990725"/>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6" name="Straight Connector 15">
            <a:extLst>
              <a:ext uri="{FF2B5EF4-FFF2-40B4-BE49-F238E27FC236}">
                <a16:creationId xmlns:a16="http://schemas.microsoft.com/office/drawing/2014/main" id="{7561E445-AB46-12BB-71E4-C5DB6124E6E7}"/>
              </a:ext>
            </a:extLst>
          </p:cNvPr>
          <p:cNvCxnSpPr/>
          <p:nvPr userDrawn="1"/>
        </p:nvCxnSpPr>
        <p:spPr>
          <a:xfrm>
            <a:off x="7999412" y="1401902"/>
            <a:ext cx="7937" cy="1990725"/>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sp>
        <p:nvSpPr>
          <p:cNvPr id="5" name="Rectangle 4">
            <a:extLst>
              <a:ext uri="{FF2B5EF4-FFF2-40B4-BE49-F238E27FC236}">
                <a16:creationId xmlns:a16="http://schemas.microsoft.com/office/drawing/2014/main" id="{A8E08B8C-3D67-710F-F333-4E871126F2E1}"/>
              </a:ext>
            </a:extLst>
          </p:cNvPr>
          <p:cNvSpPr/>
          <p:nvPr userDrawn="1"/>
        </p:nvSpPr>
        <p:spPr>
          <a:xfrm>
            <a:off x="10273" y="20548"/>
            <a:ext cx="1335640" cy="19520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493071670"/>
      </p:ext>
    </p:extLst>
  </p:cSld>
  <p:clrMapOvr>
    <a:masterClrMapping/>
  </p:clrMapOvr>
  <p:extLst>
    <p:ext uri="{DCECCB84-F9BA-43D5-87BE-67443E8EF086}">
      <p15:sldGuideLst xmlns:p15="http://schemas.microsoft.com/office/powerpoint/2012/main">
        <p15:guide id="1" pos="551">
          <p15:clr>
            <a:srgbClr val="5ACBF0"/>
          </p15:clr>
        </p15:guide>
        <p15:guide id="2" pos="2479">
          <p15:clr>
            <a:srgbClr val="5ACBF0"/>
          </p15:clr>
        </p15:guide>
        <p15:guide id="3" pos="2955">
          <p15:clr>
            <a:srgbClr val="5ACBF0"/>
          </p15:clr>
        </p15:guide>
        <p15:guide id="4" pos="4861">
          <p15:clr>
            <a:srgbClr val="5ACBF0"/>
          </p15:clr>
        </p15:guide>
        <p15:guide id="5" pos="7242">
          <p15:clr>
            <a:srgbClr val="5ACBF0"/>
          </p15:clr>
        </p15:guide>
        <p15:guide id="6" pos="5337">
          <p15:clr>
            <a:srgbClr val="5ACBF0"/>
          </p15:clr>
        </p15:guide>
        <p15:guide id="7" orient="horz" pos="1094">
          <p15:clr>
            <a:srgbClr val="5ACBF0"/>
          </p15:clr>
        </p15:guide>
        <p15:guide id="8" orient="horz" pos="1933">
          <p15:clr>
            <a:srgbClr val="5ACBF0"/>
          </p15:clr>
        </p15:guide>
        <p15:guide id="9" orient="horz" pos="799">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4 Content -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noFill/>
        </p:spPr>
        <p:txBody>
          <a:bodyPr lIns="0"/>
          <a:lstStyle/>
          <a:p>
            <a:r>
              <a:rPr lang="en-US"/>
              <a:t>Click to edit Master title style</a:t>
            </a:r>
            <a:endParaRPr lang="en-GB"/>
          </a:p>
        </p:txBody>
      </p:sp>
      <p:sp>
        <p:nvSpPr>
          <p:cNvPr id="3" name="Slide Number Placeholder 2">
            <a:extLst>
              <a:ext uri="{FF2B5EF4-FFF2-40B4-BE49-F238E27FC236}">
                <a16:creationId xmlns:a16="http://schemas.microsoft.com/office/drawing/2014/main" id="{F6A6F3C7-49FD-B21D-A71C-794307806CB1}"/>
              </a:ext>
            </a:extLst>
          </p:cNvPr>
          <p:cNvSpPr>
            <a:spLocks noGrp="1"/>
          </p:cNvSpPr>
          <p:nvPr>
            <p:ph type="sldNum" sz="quarter" idx="10"/>
          </p:nvPr>
        </p:nvSpPr>
        <p:spPr>
          <a:noFill/>
        </p:spPr>
        <p:txBody>
          <a:bodyPr/>
          <a:lstStyle>
            <a:lvl1pPr>
              <a:defRPr sz="1200">
                <a:solidFill>
                  <a:schemeClr val="tx1"/>
                </a:solidFill>
              </a:defRPr>
            </a:lvl1pPr>
          </a:lstStyle>
          <a:p>
            <a:endParaRPr lang="en-GB"/>
          </a:p>
        </p:txBody>
      </p:sp>
      <p:sp>
        <p:nvSpPr>
          <p:cNvPr id="4" name="Footer Placeholder 3">
            <a:extLst>
              <a:ext uri="{FF2B5EF4-FFF2-40B4-BE49-F238E27FC236}">
                <a16:creationId xmlns:a16="http://schemas.microsoft.com/office/drawing/2014/main" id="{5E7FC5AF-5497-9574-95D6-1D004FDD63BA}"/>
              </a:ext>
            </a:extLst>
          </p:cNvPr>
          <p:cNvSpPr>
            <a:spLocks noGrp="1"/>
          </p:cNvSpPr>
          <p:nvPr>
            <p:ph type="ftr" sz="quarter" idx="11"/>
          </p:nvPr>
        </p:nvSpPr>
        <p:spPr>
          <a:xfrm>
            <a:off x="7350369" y="6429965"/>
            <a:ext cx="3176758" cy="307777"/>
          </a:xfrm>
          <a:prstGeom prst="rect">
            <a:avLst/>
          </a:prstGeom>
          <a:noFill/>
        </p:spPr>
        <p:txBody>
          <a:bodyPr/>
          <a:lstStyle/>
          <a:p>
            <a:r>
              <a:rPr lang="en-US"/>
              <a:t>Co &amp; Li supply: stopgap or structural shift</a:t>
            </a:r>
            <a:endParaRPr lang="en-GB"/>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3998" y="1148985"/>
            <a:ext cx="5626800" cy="2340000"/>
          </a:xfrm>
          <a:noFill/>
        </p:spPr>
        <p:txBody>
          <a:bodyPr/>
          <a:lstStyle>
            <a:lvl1pPr algn="ctr">
              <a:defRPr/>
            </a:lvl1pPr>
            <a:lvl5pPr>
              <a:defRPr/>
            </a:lvl5pPr>
          </a:lstStyle>
          <a:p>
            <a:pPr lvl="0"/>
            <a:r>
              <a:rPr lang="en-US"/>
              <a:t>Insert Char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11377250" cy="215999"/>
          </a:xfrm>
          <a:noFill/>
        </p:spPr>
        <p:txBody>
          <a:bodyPr lIns="0"/>
          <a:lstStyle>
            <a:lvl1pPr>
              <a:defRPr sz="1050">
                <a:solidFill>
                  <a:schemeClr val="tx1"/>
                </a:solidFill>
              </a:defRPr>
            </a:lvl1pPr>
            <a:lvl5pPr>
              <a:defRPr sz="1050">
                <a:solidFill>
                  <a:schemeClr val="tx1"/>
                </a:solidFill>
              </a:defRPr>
            </a:lvl5pPr>
          </a:lstStyle>
          <a:p>
            <a:pPr lvl="0"/>
            <a:r>
              <a:rPr lang="en-US"/>
              <a:t>DATA: CRU</a:t>
            </a:r>
            <a:endParaRPr lang="en-GB"/>
          </a:p>
        </p:txBody>
      </p:sp>
      <p:sp>
        <p:nvSpPr>
          <p:cNvPr id="7" name="Content Placeholder 7">
            <a:extLst>
              <a:ext uri="{FF2B5EF4-FFF2-40B4-BE49-F238E27FC236}">
                <a16:creationId xmlns:a16="http://schemas.microsoft.com/office/drawing/2014/main" id="{301ACA0B-90BD-21BF-F5A6-4461A144284D}"/>
              </a:ext>
            </a:extLst>
          </p:cNvPr>
          <p:cNvSpPr>
            <a:spLocks noGrp="1"/>
          </p:cNvSpPr>
          <p:nvPr>
            <p:ph sz="quarter" idx="17" hasCustomPrompt="1"/>
          </p:nvPr>
        </p:nvSpPr>
        <p:spPr>
          <a:xfrm>
            <a:off x="413025" y="3592476"/>
            <a:ext cx="5626800" cy="2340000"/>
          </a:xfrm>
          <a:noFill/>
        </p:spPr>
        <p:txBody>
          <a:bodyPr/>
          <a:lstStyle>
            <a:lvl1pPr algn="ctr">
              <a:defRPr/>
            </a:lvl1pPr>
            <a:lvl5pPr>
              <a:defRPr/>
            </a:lvl5pPr>
          </a:lstStyle>
          <a:p>
            <a:pPr lvl="0"/>
            <a:r>
              <a:rPr lang="en-US"/>
              <a:t>Insert Chart</a:t>
            </a:r>
            <a:endParaRPr lang="en-GB"/>
          </a:p>
        </p:txBody>
      </p:sp>
      <p:sp>
        <p:nvSpPr>
          <p:cNvPr id="11" name="Content Placeholder 7">
            <a:extLst>
              <a:ext uri="{FF2B5EF4-FFF2-40B4-BE49-F238E27FC236}">
                <a16:creationId xmlns:a16="http://schemas.microsoft.com/office/drawing/2014/main" id="{D63835D9-5A9C-436E-DE0E-681C84B793FD}"/>
              </a:ext>
            </a:extLst>
          </p:cNvPr>
          <p:cNvSpPr>
            <a:spLocks noGrp="1"/>
          </p:cNvSpPr>
          <p:nvPr>
            <p:ph sz="quarter" idx="19" hasCustomPrompt="1"/>
          </p:nvPr>
        </p:nvSpPr>
        <p:spPr>
          <a:xfrm>
            <a:off x="6156689" y="3592476"/>
            <a:ext cx="5626800" cy="2340000"/>
          </a:xfrm>
          <a:noFill/>
        </p:spPr>
        <p:txBody>
          <a:bodyPr/>
          <a:lstStyle>
            <a:lvl1pPr algn="ctr">
              <a:defRPr/>
            </a:lvl1pPr>
            <a:lvl5pPr>
              <a:defRPr/>
            </a:lvl5pPr>
          </a:lstStyle>
          <a:p>
            <a:pPr lvl="0"/>
            <a:r>
              <a:rPr lang="en-US"/>
              <a:t>Insert Chart</a:t>
            </a:r>
            <a:endParaRPr lang="en-GB"/>
          </a:p>
        </p:txBody>
      </p:sp>
      <p:sp>
        <p:nvSpPr>
          <p:cNvPr id="14" name="Content Placeholder 7">
            <a:extLst>
              <a:ext uri="{FF2B5EF4-FFF2-40B4-BE49-F238E27FC236}">
                <a16:creationId xmlns:a16="http://schemas.microsoft.com/office/drawing/2014/main" id="{CB8F5FCB-FB91-1CC1-0B13-4616C17F6F8D}"/>
              </a:ext>
            </a:extLst>
          </p:cNvPr>
          <p:cNvSpPr>
            <a:spLocks noGrp="1"/>
          </p:cNvSpPr>
          <p:nvPr>
            <p:ph sz="quarter" idx="21" hasCustomPrompt="1"/>
          </p:nvPr>
        </p:nvSpPr>
        <p:spPr>
          <a:xfrm>
            <a:off x="6156688" y="1148985"/>
            <a:ext cx="5626800" cy="2340000"/>
          </a:xfrm>
          <a:noFill/>
        </p:spPr>
        <p:txBody>
          <a:bodyPr/>
          <a:lstStyle>
            <a:lvl1pPr algn="ctr">
              <a:defRPr/>
            </a:lvl1pPr>
            <a:lvl5pPr>
              <a:defRPr/>
            </a:lvl5pPr>
          </a:lstStyle>
          <a:p>
            <a:pPr lvl="0"/>
            <a:r>
              <a:rPr lang="en-US"/>
              <a:t>Insert Chart</a:t>
            </a:r>
            <a:endParaRPr lang="en-GB"/>
          </a:p>
        </p:txBody>
      </p:sp>
      <p:sp>
        <p:nvSpPr>
          <p:cNvPr id="5" name="Rectangle 4">
            <a:extLst>
              <a:ext uri="{FF2B5EF4-FFF2-40B4-BE49-F238E27FC236}">
                <a16:creationId xmlns:a16="http://schemas.microsoft.com/office/drawing/2014/main" id="{0A260A3E-E86E-35EF-6902-4C45EE681BCD}"/>
              </a:ext>
            </a:extLst>
          </p:cNvPr>
          <p:cNvSpPr/>
          <p:nvPr userDrawn="1"/>
        </p:nvSpPr>
        <p:spPr>
          <a:xfrm>
            <a:off x="10273" y="20548"/>
            <a:ext cx="1335640" cy="19520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146281962"/>
      </p:ext>
    </p:extLst>
  </p:cSld>
  <p:clrMapOvr>
    <a:masterClrMapping/>
  </p:clrMapOvr>
  <p:extLst>
    <p:ext uri="{DCECCB84-F9BA-43D5-87BE-67443E8EF086}">
      <p15:sldGuideLst xmlns:p15="http://schemas.microsoft.com/office/powerpoint/2012/main">
        <p15:guide id="1" pos="665">
          <p15:clr>
            <a:srgbClr val="5ACBF0"/>
          </p15:clr>
        </p15:guide>
        <p15:guide id="2" pos="2434">
          <p15:clr>
            <a:srgbClr val="5ACBF0"/>
          </p15:clr>
        </p15:guide>
        <p15:guide id="3" pos="3069">
          <p15:clr>
            <a:srgbClr val="5ACBF0"/>
          </p15:clr>
        </p15:guide>
        <p15:guide id="4" pos="4838">
          <p15:clr>
            <a:srgbClr val="5ACBF0"/>
          </p15:clr>
        </p15:guide>
        <p15:guide id="5" orient="horz" pos="1071">
          <p15:clr>
            <a:srgbClr val="5ACBF0"/>
          </p15:clr>
        </p15:guide>
        <p15:guide id="6" orient="horz" pos="1911">
          <p15:clr>
            <a:srgbClr val="5ACBF0"/>
          </p15:clr>
        </p15:guide>
        <p15:guide id="7" orient="horz" pos="3521">
          <p15:clr>
            <a:srgbClr val="5ACBF0"/>
          </p15:clr>
        </p15:guide>
        <p15:guide id="8" orient="horz" pos="2636">
          <p15:clr>
            <a:srgbClr val="5ACBF0"/>
          </p15:clr>
        </p15:guide>
        <p15:guide id="9" orient="horz" pos="799">
          <p15:clr>
            <a:srgbClr val="F26B43"/>
          </p15:clr>
        </p15:guide>
        <p15:guide id="10" orient="horz" pos="2364">
          <p15:clr>
            <a:srgbClr val="F26B43"/>
          </p15:clr>
        </p15:guide>
        <p15:guide id="11" orient="horz" pos="3725">
          <p15:clr>
            <a:srgbClr val="F26B43"/>
          </p15:clr>
        </p15:guide>
        <p15:guide id="12" pos="5042">
          <p15:clr>
            <a:srgbClr val="F26B43"/>
          </p15:clr>
        </p15:guide>
        <p15:guide id="13" pos="2638">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eam P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581E154-12C6-B32E-8C4E-90F758005B0D}"/>
              </a:ext>
            </a:extLst>
          </p:cNvPr>
          <p:cNvGraphicFramePr>
            <a:graphicFrameLocks noChangeAspect="1"/>
          </p:cNvGraphicFramePr>
          <p:nvPr userDrawn="1">
            <p:custDataLst>
              <p:tags r:id="rId2"/>
            </p:custDataLst>
            <p:extLst>
              <p:ext uri="{D42A27DB-BD31-4B8C-83A1-F6EECF244321}">
                <p14:modId xmlns:p14="http://schemas.microsoft.com/office/powerpoint/2010/main" val="620071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4" imgW="351" imgH="351" progId="TCLayout.ActiveDocument.1">
                  <p:embed/>
                </p:oleObj>
              </mc:Choice>
              <mc:Fallback>
                <p:oleObj name="think-cell Slide" r:id="rId4" imgW="351" imgH="351" progId="TCLayout.ActiveDocument.1">
                  <p:embed/>
                  <p:pic>
                    <p:nvPicPr>
                      <p:cNvPr id="5" name="Object 4" hidden="1">
                        <a:extLst>
                          <a:ext uri="{FF2B5EF4-FFF2-40B4-BE49-F238E27FC236}">
                            <a16:creationId xmlns:a16="http://schemas.microsoft.com/office/drawing/2014/main" id="{E581E154-12C6-B32E-8C4E-90F758005B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Rounded Corners 9">
            <a:extLst>
              <a:ext uri="{FF2B5EF4-FFF2-40B4-BE49-F238E27FC236}">
                <a16:creationId xmlns:a16="http://schemas.microsoft.com/office/drawing/2014/main" id="{FAE624B0-5547-F5EA-E417-94D7B3A020E3}"/>
              </a:ext>
            </a:extLst>
          </p:cNvPr>
          <p:cNvSpPr/>
          <p:nvPr userDrawn="1"/>
        </p:nvSpPr>
        <p:spPr>
          <a:xfrm>
            <a:off x="536240" y="1324723"/>
            <a:ext cx="3200873" cy="1488767"/>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Picture Placeholder 35">
            <a:extLst>
              <a:ext uri="{FF2B5EF4-FFF2-40B4-BE49-F238E27FC236}">
                <a16:creationId xmlns:a16="http://schemas.microsoft.com/office/drawing/2014/main" id="{316DD513-D78D-1467-2CE4-9E3E97407AC1}"/>
              </a:ext>
            </a:extLst>
          </p:cNvPr>
          <p:cNvSpPr>
            <a:spLocks noGrp="1"/>
          </p:cNvSpPr>
          <p:nvPr>
            <p:ph type="pic" sz="quarter" idx="22" hasCustomPrompt="1"/>
          </p:nvPr>
        </p:nvSpPr>
        <p:spPr>
          <a:xfrm>
            <a:off x="646043" y="1405826"/>
            <a:ext cx="617260" cy="631696"/>
          </a:xfrm>
          <a:prstGeom prst="roundRect">
            <a:avLst>
              <a:gd name="adj" fmla="val 0"/>
            </a:avLst>
          </a:prstGeom>
        </p:spPr>
        <p:txBody>
          <a:bodyPr>
            <a:normAutofit/>
          </a:bodyPr>
          <a:lstStyle>
            <a:lvl1pPr algn="ctr">
              <a:defRPr sz="900"/>
            </a:lvl1pPr>
          </a:lstStyle>
          <a:p>
            <a:r>
              <a:rPr lang="en-US"/>
              <a:t>Add photo</a:t>
            </a:r>
            <a:endParaRPr lang="en-GB"/>
          </a:p>
        </p:txBody>
      </p:sp>
      <p:sp>
        <p:nvSpPr>
          <p:cNvPr id="34" name="Content Placeholder 16">
            <a:extLst>
              <a:ext uri="{FF2B5EF4-FFF2-40B4-BE49-F238E27FC236}">
                <a16:creationId xmlns:a16="http://schemas.microsoft.com/office/drawing/2014/main" id="{C68F7F20-C153-6BBF-D4F1-1B5EFF3660D3}"/>
              </a:ext>
            </a:extLst>
          </p:cNvPr>
          <p:cNvSpPr>
            <a:spLocks noGrp="1"/>
          </p:cNvSpPr>
          <p:nvPr>
            <p:ph sz="quarter" idx="36" hasCustomPrompt="1"/>
          </p:nvPr>
        </p:nvSpPr>
        <p:spPr>
          <a:xfrm>
            <a:off x="655982" y="2067340"/>
            <a:ext cx="2971800" cy="694304"/>
          </a:xfrm>
        </p:spPr>
        <p:txBody>
          <a:bodyPr>
            <a:noAutofit/>
          </a:bodyPr>
          <a:lstStyle>
            <a:lvl1pPr>
              <a:lnSpc>
                <a:spcPct val="100000"/>
              </a:lnSpc>
              <a:spcBef>
                <a:spcPts val="0"/>
              </a:spcBef>
              <a:defRPr sz="900" b="0">
                <a:solidFill>
                  <a:schemeClr val="tx1"/>
                </a:solidFill>
              </a:defRPr>
            </a:lvl1pPr>
            <a:lvl2pPr>
              <a:defRPr/>
            </a:lvl2pPr>
          </a:lstStyle>
          <a:p>
            <a:pPr>
              <a:spcAft>
                <a:spcPts val="0"/>
              </a:spcAft>
            </a:pPr>
            <a:r>
              <a:rPr lang="en-GB" sz="1050"/>
              <a:t>Title</a:t>
            </a:r>
          </a:p>
          <a:p>
            <a:pPr>
              <a:spcAft>
                <a:spcPts val="0"/>
              </a:spcAft>
            </a:pPr>
            <a:r>
              <a:rPr lang="en-GB" sz="1050"/>
              <a:t>+44 20 7903 ####</a:t>
            </a:r>
            <a:br>
              <a:rPr lang="en-GB" sz="1050"/>
            </a:br>
            <a:r>
              <a:rPr lang="en-GB" sz="1050">
                <a:hlinkClick r:id="rId6">
                  <a:extLst>
                    <a:ext uri="{A12FA001-AC4F-418D-AE19-62706E023703}">
                      <ahyp:hlinkClr xmlns:ahyp="http://schemas.microsoft.com/office/drawing/2018/hyperlinkcolor" xmlns="" val="tx"/>
                    </a:ext>
                  </a:extLst>
                </a:hlinkClick>
              </a:rPr>
              <a:t>forename.surname@crugroup.com</a:t>
            </a:r>
            <a:endParaRPr lang="en-GB" sz="1050"/>
          </a:p>
        </p:txBody>
      </p:sp>
      <p:sp>
        <p:nvSpPr>
          <p:cNvPr id="35" name="Title 1">
            <a:extLst>
              <a:ext uri="{FF2B5EF4-FFF2-40B4-BE49-F238E27FC236}">
                <a16:creationId xmlns:a16="http://schemas.microsoft.com/office/drawing/2014/main" id="{820141C6-811C-1496-E441-5E0335BD5F2B}"/>
              </a:ext>
            </a:extLst>
          </p:cNvPr>
          <p:cNvSpPr>
            <a:spLocks noGrp="1"/>
          </p:cNvSpPr>
          <p:nvPr>
            <p:ph type="ctrTitle" hasCustomPrompt="1"/>
          </p:nvPr>
        </p:nvSpPr>
        <p:spPr>
          <a:xfrm>
            <a:off x="1076400" y="329400"/>
            <a:ext cx="10386000" cy="648000"/>
          </a:xfrm>
          <a:prstGeom prst="rect">
            <a:avLst/>
          </a:prstGeom>
        </p:spPr>
        <p:txBody>
          <a:bodyPr vert="horz" lIns="36000" anchor="ctr" anchorCtr="0">
            <a:normAutofit/>
          </a:bodyPr>
          <a:lstStyle>
            <a:lvl1pPr algn="l">
              <a:defRPr sz="2400" b="0">
                <a:solidFill>
                  <a:schemeClr val="accent6"/>
                </a:solidFill>
              </a:defRPr>
            </a:lvl1pPr>
          </a:lstStyle>
          <a:p>
            <a:r>
              <a:rPr lang="en-GB"/>
              <a:t>Team</a:t>
            </a:r>
          </a:p>
        </p:txBody>
      </p:sp>
      <p:sp>
        <p:nvSpPr>
          <p:cNvPr id="6" name="Content Placeholder 16">
            <a:extLst>
              <a:ext uri="{FF2B5EF4-FFF2-40B4-BE49-F238E27FC236}">
                <a16:creationId xmlns:a16="http://schemas.microsoft.com/office/drawing/2014/main" id="{A66053A2-6C75-499D-D45E-B5863D4524A5}"/>
              </a:ext>
            </a:extLst>
          </p:cNvPr>
          <p:cNvSpPr>
            <a:spLocks noGrp="1"/>
          </p:cNvSpPr>
          <p:nvPr>
            <p:ph sz="quarter" idx="39" hasCustomPrompt="1"/>
          </p:nvPr>
        </p:nvSpPr>
        <p:spPr>
          <a:xfrm>
            <a:off x="1315278" y="1404731"/>
            <a:ext cx="2302565" cy="624731"/>
          </a:xfrm>
        </p:spPr>
        <p:txBody>
          <a:bodyPr anchor="ctr">
            <a:noAutofit/>
          </a:bodyPr>
          <a:lstStyle>
            <a:lvl1pPr>
              <a:defRPr sz="1600">
                <a:solidFill>
                  <a:schemeClr val="tx1"/>
                </a:solidFill>
              </a:defRPr>
            </a:lvl1pPr>
            <a:lvl2pPr>
              <a:defRPr/>
            </a:lvl2pPr>
          </a:lstStyle>
          <a:p>
            <a:r>
              <a:rPr lang="en-GB" b="1"/>
              <a:t>Forename Surname</a:t>
            </a:r>
          </a:p>
        </p:txBody>
      </p:sp>
      <p:cxnSp>
        <p:nvCxnSpPr>
          <p:cNvPr id="8" name="Straight Connector 7">
            <a:extLst>
              <a:ext uri="{FF2B5EF4-FFF2-40B4-BE49-F238E27FC236}">
                <a16:creationId xmlns:a16="http://schemas.microsoft.com/office/drawing/2014/main" id="{3A80A350-EF92-135F-4301-688D3A079558}"/>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924A05CC-2FEE-853D-7F8F-6500D93D85A2}"/>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3EB130DC-0D21-1E15-E0C6-0E896C32BCFA}"/>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0B6B9D07-B0CA-DB18-CB71-2D01C232952A}"/>
              </a:ext>
            </a:extLst>
          </p:cNvPr>
          <p:cNvSpPr txBox="1"/>
          <p:nvPr userDrawn="1"/>
        </p:nvSpPr>
        <p:spPr>
          <a:xfrm>
            <a:off x="2623437" y="6407999"/>
            <a:ext cx="2455460" cy="309600"/>
          </a:xfrm>
          <a:prstGeom prst="rect">
            <a:avLst/>
          </a:prstGeom>
          <a:noFill/>
          <a:ln>
            <a:noFill/>
          </a:ln>
        </p:spPr>
        <p:txBody>
          <a:bodyPr wrap="square">
            <a:spAutoFit/>
          </a:bodyPr>
          <a:lstStyle/>
          <a:p>
            <a:r>
              <a:rPr lang="en-GB" sz="1000" b="0" i="0">
                <a:solidFill>
                  <a:schemeClr val="tx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tx1"/>
                </a:solidFill>
                <a:latin typeface="Garamond" panose="02020404030301010803" pitchFamily="18" charset="0"/>
                <a:ea typeface="Helvetica Neue UltraLight" panose="02000206000000020004" pitchFamily="2" charset="0"/>
              </a:rPr>
              <a:t>expert</a:t>
            </a:r>
            <a:r>
              <a:rPr lang="en-GB" sz="1000" b="0" i="0">
                <a:solidFill>
                  <a:schemeClr val="tx1"/>
                </a:solidFill>
                <a:latin typeface="Helvetica Neue UltraLight" panose="02000206000000020004" pitchFamily="2" charset="0"/>
                <a:ea typeface="Helvetica Neue UltraLight" panose="02000206000000020004" pitchFamily="2" charset="0"/>
              </a:rPr>
              <a:t> </a:t>
            </a:r>
            <a:r>
              <a:rPr lang="en-GB" sz="1000" b="0" i="0">
                <a:solidFill>
                  <a:schemeClr val="tx1"/>
                </a:solidFill>
                <a:latin typeface="Arial" panose="020B0604020202020204" pitchFamily="34" charset="0"/>
                <a:ea typeface="Helvetica Neue Thin" panose="020B0403020202020204" pitchFamily="34" charset="0"/>
                <a:cs typeface="Arial" panose="020B0604020202020204" pitchFamily="34" charset="0"/>
              </a:rPr>
              <a:t>intelligence</a:t>
            </a:r>
          </a:p>
        </p:txBody>
      </p:sp>
      <p:cxnSp>
        <p:nvCxnSpPr>
          <p:cNvPr id="14" name="Straight Connector 13">
            <a:extLst>
              <a:ext uri="{FF2B5EF4-FFF2-40B4-BE49-F238E27FC236}">
                <a16:creationId xmlns:a16="http://schemas.microsoft.com/office/drawing/2014/main" id="{AB546CAA-7358-0DA5-002D-443820B17593}"/>
              </a:ext>
            </a:extLst>
          </p:cNvPr>
          <p:cNvCxnSpPr>
            <a:cxnSpLocks/>
          </p:cNvCxnSpPr>
          <p:nvPr userDrawn="1"/>
        </p:nvCxnSpPr>
        <p:spPr>
          <a:xfrm>
            <a:off x="27036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00148053-661C-1878-27DA-50B22FA392D2}"/>
              </a:ext>
            </a:extLst>
          </p:cNvPr>
          <p:cNvCxnSpPr>
            <a:cxnSpLocks/>
          </p:cNvCxnSpPr>
          <p:nvPr userDrawn="1"/>
        </p:nvCxnSpPr>
        <p:spPr>
          <a:xfrm>
            <a:off x="54900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DF0CE452-C855-0C56-0130-7FFC627A2009}"/>
              </a:ext>
            </a:extLst>
          </p:cNvPr>
          <p:cNvCxnSpPr>
            <a:cxnSpLocks/>
          </p:cNvCxnSpPr>
          <p:nvPr userDrawn="1"/>
        </p:nvCxnSpPr>
        <p:spPr>
          <a:xfrm>
            <a:off x="74124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EF81B579-3519-62E8-7C39-8031991E0EBC}"/>
              </a:ext>
            </a:extLst>
          </p:cNvPr>
          <p:cNvSpPr txBox="1"/>
          <p:nvPr userDrawn="1"/>
        </p:nvSpPr>
        <p:spPr>
          <a:xfrm>
            <a:off x="11682742" y="6458310"/>
            <a:ext cx="409669" cy="276999"/>
          </a:xfrm>
          <a:prstGeom prst="rect">
            <a:avLst/>
          </a:prstGeom>
          <a:noFill/>
        </p:spPr>
        <p:txBody>
          <a:bodyPr wrap="square" anchor="ctr">
            <a:spAutoFit/>
          </a:bodyPr>
          <a:lstStyle/>
          <a:p>
            <a:fld id="{562BA7E0-5F5E-EE41-AE8D-BD30ED9E17AD}" type="slidenum">
              <a:rPr lang="en-GB" sz="1200" smtClean="0">
                <a:solidFill>
                  <a:schemeClr val="tx1"/>
                </a:solidFill>
                <a:latin typeface="Arial" panose="020B0604020202020204" pitchFamily="34" charset="0"/>
                <a:cs typeface="Arial" panose="020B0604020202020204" pitchFamily="34" charset="0"/>
              </a:rPr>
              <a:pPr/>
              <a:t>‹#›</a:t>
            </a:fld>
            <a:endParaRPr lang="en-GB" sz="1200">
              <a:solidFill>
                <a:schemeClr val="tx1"/>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6BCA1CFE-130E-2667-3C52-98E8DF2D8259}"/>
              </a:ext>
            </a:extLst>
          </p:cNvPr>
          <p:cNvSpPr txBox="1"/>
          <p:nvPr userDrawn="1"/>
        </p:nvSpPr>
        <p:spPr>
          <a:xfrm>
            <a:off x="5411710" y="6424299"/>
            <a:ext cx="1342176" cy="276999"/>
          </a:xfrm>
          <a:prstGeom prst="rect">
            <a:avLst/>
          </a:prstGeom>
          <a:noFill/>
        </p:spPr>
        <p:txBody>
          <a:bodyPr wrap="square" anchor="ctr">
            <a:spAutoFit/>
          </a:bodyPr>
          <a:lstStyle/>
          <a:p>
            <a:pPr algn="ctr"/>
            <a:r>
              <a:rPr lang="en-GB" sz="1200" i="1">
                <a:solidFill>
                  <a:schemeClr val="tx1"/>
                </a:solidFill>
                <a:latin typeface="Garamond" panose="02020404030301010803" pitchFamily="18" charset="0"/>
              </a:rPr>
              <a:t>October 2025</a:t>
            </a:r>
          </a:p>
        </p:txBody>
      </p:sp>
      <p:pic>
        <p:nvPicPr>
          <p:cNvPr id="7" name="Picture 6" descr="A logo on a black background&#10;&#10;Description automatically generated">
            <a:extLst>
              <a:ext uri="{FF2B5EF4-FFF2-40B4-BE49-F238E27FC236}">
                <a16:creationId xmlns:a16="http://schemas.microsoft.com/office/drawing/2014/main" id="{25C70C89-9CB0-21CD-B2EF-364FE147FEEF}"/>
              </a:ext>
            </a:extLst>
          </p:cNvPr>
          <p:cNvPicPr>
            <a:picLocks noChangeAspect="1"/>
          </p:cNvPicPr>
          <p:nvPr userDrawn="1"/>
        </p:nvPicPr>
        <p:blipFill rotWithShape="1">
          <a:blip r:embed="rId7"/>
          <a:srcRect l="8433" t="34147" r="75111" b="37880"/>
          <a:stretch/>
        </p:blipFill>
        <p:spPr>
          <a:xfrm>
            <a:off x="262800" y="331200"/>
            <a:ext cx="684000" cy="648000"/>
          </a:xfrm>
          <a:prstGeom prst="rect">
            <a:avLst/>
          </a:prstGeom>
        </p:spPr>
      </p:pic>
      <p:sp>
        <p:nvSpPr>
          <p:cNvPr id="21" name="Footer Placeholder 4">
            <a:extLst>
              <a:ext uri="{FF2B5EF4-FFF2-40B4-BE49-F238E27FC236}">
                <a16:creationId xmlns:a16="http://schemas.microsoft.com/office/drawing/2014/main" id="{66032475-9D90-0443-41C2-09D02441F895}"/>
              </a:ext>
            </a:extLst>
          </p:cNvPr>
          <p:cNvSpPr>
            <a:spLocks noGrp="1"/>
          </p:cNvSpPr>
          <p:nvPr>
            <p:ph type="ftr" sz="quarter" idx="3"/>
          </p:nvPr>
        </p:nvSpPr>
        <p:spPr>
          <a:xfrm>
            <a:off x="7350369" y="6407999"/>
            <a:ext cx="3176758" cy="309600"/>
          </a:xfrm>
          <a:prstGeom prst="rect">
            <a:avLst/>
          </a:prstGeom>
          <a:ln>
            <a:noFill/>
          </a:ln>
        </p:spPr>
        <p:txBody>
          <a:bodyPr vert="horz" lIns="91440" tIns="45720" rIns="91440" bIns="45720" rtlCol="0" anchor="ctr"/>
          <a:lstStyle>
            <a:lvl1pPr algn="l">
              <a:defRPr sz="1000" b="0" i="0">
                <a:solidFill>
                  <a:schemeClr val="tx1"/>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Tree>
    <p:extLst>
      <p:ext uri="{BB962C8B-B14F-4D97-AF65-F5344CB8AC3E}">
        <p14:creationId xmlns:p14="http://schemas.microsoft.com/office/powerpoint/2010/main" val="268425542"/>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581E154-12C6-B32E-8C4E-90F758005B0D}"/>
              </a:ext>
            </a:extLst>
          </p:cNvPr>
          <p:cNvGraphicFramePr>
            <a:graphicFrameLocks noChangeAspect="1"/>
          </p:cNvGraphicFramePr>
          <p:nvPr userDrawn="1">
            <p:custDataLst>
              <p:tags r:id="rId2"/>
            </p:custDataLst>
            <p:extLst>
              <p:ext uri="{D42A27DB-BD31-4B8C-83A1-F6EECF244321}">
                <p14:modId xmlns:p14="http://schemas.microsoft.com/office/powerpoint/2010/main" val="620071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4" imgW="351" imgH="351" progId="TCLayout.ActiveDocument.1">
                  <p:embed/>
                </p:oleObj>
              </mc:Choice>
              <mc:Fallback>
                <p:oleObj name="think-cell Slide" r:id="rId4" imgW="351" imgH="351" progId="TCLayout.ActiveDocument.1">
                  <p:embed/>
                  <p:pic>
                    <p:nvPicPr>
                      <p:cNvPr id="5" name="Object 4" hidden="1">
                        <a:extLst>
                          <a:ext uri="{FF2B5EF4-FFF2-40B4-BE49-F238E27FC236}">
                            <a16:creationId xmlns:a16="http://schemas.microsoft.com/office/drawing/2014/main" id="{E581E154-12C6-B32E-8C4E-90F758005B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1E9453E1-634C-4A45-A6C2-46A9F05D3C6D}"/>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22368" y="6210000"/>
            <a:ext cx="606504" cy="576000"/>
          </a:xfrm>
          <a:prstGeom prst="rect">
            <a:avLst/>
          </a:prstGeom>
        </p:spPr>
      </p:pic>
      <p:sp>
        <p:nvSpPr>
          <p:cNvPr id="16" name="Title 1">
            <a:extLst>
              <a:ext uri="{FF2B5EF4-FFF2-40B4-BE49-F238E27FC236}">
                <a16:creationId xmlns:a16="http://schemas.microsoft.com/office/drawing/2014/main" id="{F687563E-6141-7CD2-D650-D6DAC2DBC9D8}"/>
              </a:ext>
            </a:extLst>
          </p:cNvPr>
          <p:cNvSpPr>
            <a:spLocks noGrp="1"/>
          </p:cNvSpPr>
          <p:nvPr>
            <p:ph type="ctrTitle" hasCustomPrompt="1"/>
          </p:nvPr>
        </p:nvSpPr>
        <p:spPr>
          <a:xfrm>
            <a:off x="1076400" y="329400"/>
            <a:ext cx="10386000" cy="648000"/>
          </a:xfrm>
          <a:prstGeom prst="rect">
            <a:avLst/>
          </a:prstGeom>
        </p:spPr>
        <p:txBody>
          <a:bodyPr vert="horz" lIns="36000" anchor="ctr" anchorCtr="0">
            <a:normAutofit/>
          </a:bodyPr>
          <a:lstStyle>
            <a:lvl1pPr algn="l">
              <a:defRPr sz="2400" b="0">
                <a:solidFill>
                  <a:schemeClr val="accent6"/>
                </a:solidFill>
              </a:defRPr>
            </a:lvl1pPr>
          </a:lstStyle>
          <a:p>
            <a:r>
              <a:rPr lang="en-GB"/>
              <a:t>Contents</a:t>
            </a:r>
          </a:p>
        </p:txBody>
      </p:sp>
      <p:cxnSp>
        <p:nvCxnSpPr>
          <p:cNvPr id="18" name="Straight Connector 17">
            <a:extLst>
              <a:ext uri="{FF2B5EF4-FFF2-40B4-BE49-F238E27FC236}">
                <a16:creationId xmlns:a16="http://schemas.microsoft.com/office/drawing/2014/main" id="{7F719F48-EE31-3F7E-3424-7AC85470B969}"/>
              </a:ext>
            </a:extLst>
          </p:cNvPr>
          <p:cNvCxnSpPr>
            <a:cxnSpLocks/>
          </p:cNvCxnSpPr>
          <p:nvPr userDrawn="1"/>
        </p:nvCxnSpPr>
        <p:spPr>
          <a:xfrm>
            <a:off x="2702950"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4BBE08DB-2638-CD5E-4BBC-BB24AEFF1FF9}"/>
              </a:ext>
            </a:extLst>
          </p:cNvPr>
          <p:cNvCxnSpPr>
            <a:cxnSpLocks/>
          </p:cNvCxnSpPr>
          <p:nvPr userDrawn="1"/>
        </p:nvCxnSpPr>
        <p:spPr>
          <a:xfrm>
            <a:off x="5488473"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5024E3DE-3AE9-ED05-E144-EB3C0635DA95}"/>
              </a:ext>
            </a:extLst>
          </p:cNvPr>
          <p:cNvCxnSpPr>
            <a:cxnSpLocks/>
          </p:cNvCxnSpPr>
          <p:nvPr userDrawn="1"/>
        </p:nvCxnSpPr>
        <p:spPr>
          <a:xfrm>
            <a:off x="7411982"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F456025F-3F39-3336-9925-3C93CDDB158E}"/>
              </a:ext>
            </a:extLst>
          </p:cNvPr>
          <p:cNvSpPr txBox="1"/>
          <p:nvPr userDrawn="1"/>
        </p:nvSpPr>
        <p:spPr>
          <a:xfrm>
            <a:off x="11682742" y="6458310"/>
            <a:ext cx="409669" cy="276999"/>
          </a:xfrm>
          <a:prstGeom prst="rect">
            <a:avLst/>
          </a:prstGeom>
          <a:noFill/>
        </p:spPr>
        <p:txBody>
          <a:bodyPr wrap="square" anchor="ctr">
            <a:spAutoFit/>
          </a:bodyPr>
          <a:lstStyle/>
          <a:p>
            <a:fld id="{562BA7E0-5F5E-EE41-AE8D-BD30ED9E17AD}" type="slidenum">
              <a:rPr lang="en-GB" sz="1200" smtClean="0">
                <a:solidFill>
                  <a:schemeClr val="tx1"/>
                </a:solidFill>
                <a:latin typeface="Arial" panose="020B0604020202020204" pitchFamily="34" charset="0"/>
                <a:cs typeface="Arial" panose="020B0604020202020204" pitchFamily="34" charset="0"/>
              </a:rPr>
              <a:pPr/>
              <a:t>‹#›</a:t>
            </a:fld>
            <a:endParaRPr lang="en-GB" sz="1200">
              <a:solidFill>
                <a:schemeClr val="tx1"/>
              </a:solidFill>
              <a:latin typeface="Arial" panose="020B0604020202020204" pitchFamily="34" charset="0"/>
              <a:cs typeface="Arial" panose="020B0604020202020204" pitchFamily="34" charset="0"/>
            </a:endParaRPr>
          </a:p>
        </p:txBody>
      </p:sp>
      <p:pic>
        <p:nvPicPr>
          <p:cNvPr id="15" name="Picture 14" descr="A logo on a black background&#10;&#10;Description automatically generated">
            <a:extLst>
              <a:ext uri="{FF2B5EF4-FFF2-40B4-BE49-F238E27FC236}">
                <a16:creationId xmlns:a16="http://schemas.microsoft.com/office/drawing/2014/main" id="{C9EE2AC4-FFD8-B906-8AF5-23D40F79E583}"/>
              </a:ext>
            </a:extLst>
          </p:cNvPr>
          <p:cNvPicPr>
            <a:picLocks noChangeAspect="1"/>
          </p:cNvPicPr>
          <p:nvPr userDrawn="1"/>
        </p:nvPicPr>
        <p:blipFill rotWithShape="1">
          <a:blip r:embed="rId7"/>
          <a:srcRect l="8433" t="34147" r="75111" b="37880"/>
          <a:stretch/>
        </p:blipFill>
        <p:spPr>
          <a:xfrm>
            <a:off x="262800" y="331200"/>
            <a:ext cx="684000" cy="648000"/>
          </a:xfrm>
          <a:prstGeom prst="rect">
            <a:avLst/>
          </a:prstGeom>
        </p:spPr>
      </p:pic>
      <p:sp>
        <p:nvSpPr>
          <p:cNvPr id="29" name="TextBox 28">
            <a:extLst>
              <a:ext uri="{FF2B5EF4-FFF2-40B4-BE49-F238E27FC236}">
                <a16:creationId xmlns:a16="http://schemas.microsoft.com/office/drawing/2014/main" id="{53302149-E092-5EA4-DC1F-5E759930B05A}"/>
              </a:ext>
            </a:extLst>
          </p:cNvPr>
          <p:cNvSpPr txBox="1"/>
          <p:nvPr userDrawn="1"/>
        </p:nvSpPr>
        <p:spPr>
          <a:xfrm>
            <a:off x="2623437" y="6408000"/>
            <a:ext cx="2455460" cy="309600"/>
          </a:xfrm>
          <a:prstGeom prst="rect">
            <a:avLst/>
          </a:prstGeom>
          <a:noFill/>
          <a:ln>
            <a:noFill/>
          </a:ln>
        </p:spPr>
        <p:txBody>
          <a:bodyPr wrap="square">
            <a:spAutoFit/>
          </a:bodyPr>
          <a:lstStyle/>
          <a:p>
            <a:r>
              <a:rPr lang="en-GB" sz="1000" b="0" i="0">
                <a:solidFill>
                  <a:schemeClr val="tx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tx1"/>
                </a:solidFill>
                <a:latin typeface="Garamond" panose="02020404030301010803" pitchFamily="18" charset="0"/>
                <a:ea typeface="Helvetica Neue UltraLight" panose="02000206000000020004" pitchFamily="2" charset="0"/>
              </a:rPr>
              <a:t>expert</a:t>
            </a:r>
            <a:r>
              <a:rPr lang="en-GB" sz="1000" b="0" i="0">
                <a:solidFill>
                  <a:schemeClr val="tx1"/>
                </a:solidFill>
                <a:latin typeface="Helvetica Neue UltraLight" panose="02000206000000020004" pitchFamily="2" charset="0"/>
                <a:ea typeface="Helvetica Neue UltraLight" panose="02000206000000020004" pitchFamily="2" charset="0"/>
              </a:rPr>
              <a:t> </a:t>
            </a:r>
            <a:r>
              <a:rPr lang="en-GB" sz="1000" b="0" i="0">
                <a:solidFill>
                  <a:schemeClr val="tx1"/>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30" name="TextBox 29">
            <a:extLst>
              <a:ext uri="{FF2B5EF4-FFF2-40B4-BE49-F238E27FC236}">
                <a16:creationId xmlns:a16="http://schemas.microsoft.com/office/drawing/2014/main" id="{8612911C-8699-62C5-2005-CBD62FEB5C38}"/>
              </a:ext>
            </a:extLst>
          </p:cNvPr>
          <p:cNvSpPr txBox="1"/>
          <p:nvPr userDrawn="1"/>
        </p:nvSpPr>
        <p:spPr>
          <a:xfrm>
            <a:off x="5411710" y="6408000"/>
            <a:ext cx="1342176" cy="276999"/>
          </a:xfrm>
          <a:prstGeom prst="rect">
            <a:avLst/>
          </a:prstGeom>
          <a:noFill/>
        </p:spPr>
        <p:txBody>
          <a:bodyPr wrap="square" anchor="ctr">
            <a:spAutoFit/>
          </a:bodyPr>
          <a:lstStyle/>
          <a:p>
            <a:pPr algn="ctr"/>
            <a:r>
              <a:rPr lang="en-GB" sz="1200" i="1">
                <a:solidFill>
                  <a:schemeClr val="tx1"/>
                </a:solidFill>
                <a:latin typeface="Garamond" panose="02020404030301010803" pitchFamily="18" charset="0"/>
                <a:cs typeface="Arial" panose="020B0604020202020204" pitchFamily="34" charset="0"/>
              </a:rPr>
              <a:t>October 2025</a:t>
            </a:r>
            <a:endParaRPr lang="en-GB" sz="1050" i="1">
              <a:solidFill>
                <a:schemeClr val="tx1"/>
              </a:solidFill>
              <a:latin typeface="Garamond" panose="02020404030301010803" pitchFamily="18" charset="0"/>
              <a:cs typeface="Arial" panose="020B0604020202020204" pitchFamily="34" charset="0"/>
            </a:endParaRPr>
          </a:p>
        </p:txBody>
      </p:sp>
      <p:sp>
        <p:nvSpPr>
          <p:cNvPr id="31" name="Footer Placeholder 4">
            <a:extLst>
              <a:ext uri="{FF2B5EF4-FFF2-40B4-BE49-F238E27FC236}">
                <a16:creationId xmlns:a16="http://schemas.microsoft.com/office/drawing/2014/main" id="{FBF2DB1D-3BB5-1FF3-256B-718F8F2C0DC6}"/>
              </a:ext>
            </a:extLst>
          </p:cNvPr>
          <p:cNvSpPr>
            <a:spLocks noGrp="1"/>
          </p:cNvSpPr>
          <p:nvPr>
            <p:ph type="ftr" sz="quarter" idx="3"/>
          </p:nvPr>
        </p:nvSpPr>
        <p:spPr>
          <a:xfrm>
            <a:off x="7350369" y="6408000"/>
            <a:ext cx="3176758" cy="309600"/>
          </a:xfrm>
          <a:prstGeom prst="rect">
            <a:avLst/>
          </a:prstGeom>
          <a:ln>
            <a:noFill/>
          </a:ln>
        </p:spPr>
        <p:txBody>
          <a:bodyPr vert="horz" lIns="91440" tIns="45720" rIns="91440" bIns="45720" rtlCol="0" anchor="ctr"/>
          <a:lstStyle>
            <a:lvl1pPr algn="l">
              <a:defRPr sz="1000" b="0" i="0">
                <a:solidFill>
                  <a:schemeClr val="tx1"/>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
        <p:nvSpPr>
          <p:cNvPr id="4" name="Picture Placeholder 5">
            <a:extLst>
              <a:ext uri="{FF2B5EF4-FFF2-40B4-BE49-F238E27FC236}">
                <a16:creationId xmlns:a16="http://schemas.microsoft.com/office/drawing/2014/main" id="{5654F838-CFD7-FB12-2FE8-BB2C92DE5621}"/>
              </a:ext>
            </a:extLst>
          </p:cNvPr>
          <p:cNvSpPr>
            <a:spLocks noGrp="1"/>
          </p:cNvSpPr>
          <p:nvPr>
            <p:ph type="pic" sz="quarter" idx="18" hasCustomPrompt="1"/>
          </p:nvPr>
        </p:nvSpPr>
        <p:spPr>
          <a:xfrm>
            <a:off x="415742" y="1409406"/>
            <a:ext cx="2664000" cy="1332000"/>
          </a:xfrm>
        </p:spPr>
        <p:txBody>
          <a:bodyPr/>
          <a:lstStyle>
            <a:lvl1pPr algn="ctr">
              <a:defRPr b="0"/>
            </a:lvl1pPr>
          </a:lstStyle>
          <a:p>
            <a:r>
              <a:rPr lang="en-US"/>
              <a:t>Drag n drop section slide</a:t>
            </a:r>
            <a:endParaRPr lang="en-GB"/>
          </a:p>
        </p:txBody>
      </p:sp>
      <p:sp>
        <p:nvSpPr>
          <p:cNvPr id="11" name="Picture Placeholder 7">
            <a:extLst>
              <a:ext uri="{FF2B5EF4-FFF2-40B4-BE49-F238E27FC236}">
                <a16:creationId xmlns:a16="http://schemas.microsoft.com/office/drawing/2014/main" id="{1663B7BF-5474-7C5D-CCA0-A4B9CA6BD0CD}"/>
              </a:ext>
            </a:extLst>
          </p:cNvPr>
          <p:cNvSpPr>
            <a:spLocks noGrp="1"/>
          </p:cNvSpPr>
          <p:nvPr>
            <p:ph type="pic" sz="quarter" idx="19" hasCustomPrompt="1"/>
          </p:nvPr>
        </p:nvSpPr>
        <p:spPr>
          <a:xfrm>
            <a:off x="3313012" y="1409406"/>
            <a:ext cx="2664000" cy="1332000"/>
          </a:xfrm>
        </p:spPr>
        <p:txBody>
          <a:bodyPr/>
          <a:lstStyle>
            <a:lvl1pPr algn="ctr">
              <a:defRPr b="0"/>
            </a:lvl1pPr>
          </a:lstStyle>
          <a:p>
            <a:r>
              <a:rPr lang="en-US"/>
              <a:t>Drag n drop section slide</a:t>
            </a:r>
            <a:endParaRPr lang="en-GB"/>
          </a:p>
        </p:txBody>
      </p:sp>
      <p:sp>
        <p:nvSpPr>
          <p:cNvPr id="12" name="Picture Placeholder 7">
            <a:extLst>
              <a:ext uri="{FF2B5EF4-FFF2-40B4-BE49-F238E27FC236}">
                <a16:creationId xmlns:a16="http://schemas.microsoft.com/office/drawing/2014/main" id="{A14B3DF4-6685-C770-9C31-BB0D3A03D3D6}"/>
              </a:ext>
            </a:extLst>
          </p:cNvPr>
          <p:cNvSpPr>
            <a:spLocks noGrp="1"/>
          </p:cNvSpPr>
          <p:nvPr>
            <p:ph type="pic" sz="quarter" idx="20" hasCustomPrompt="1"/>
          </p:nvPr>
        </p:nvSpPr>
        <p:spPr>
          <a:xfrm>
            <a:off x="6210282" y="1409406"/>
            <a:ext cx="2664000" cy="1332000"/>
          </a:xfrm>
        </p:spPr>
        <p:txBody>
          <a:bodyPr/>
          <a:lstStyle>
            <a:lvl1pPr algn="ctr">
              <a:defRPr b="0"/>
            </a:lvl1pPr>
          </a:lstStyle>
          <a:p>
            <a:r>
              <a:rPr lang="en-US"/>
              <a:t>Drag n drop section slide</a:t>
            </a:r>
            <a:endParaRPr lang="en-GB"/>
          </a:p>
        </p:txBody>
      </p:sp>
      <p:sp>
        <p:nvSpPr>
          <p:cNvPr id="13" name="Picture Placeholder 7">
            <a:extLst>
              <a:ext uri="{FF2B5EF4-FFF2-40B4-BE49-F238E27FC236}">
                <a16:creationId xmlns:a16="http://schemas.microsoft.com/office/drawing/2014/main" id="{8E4EBF12-07B1-0D6A-DA60-E279EA000BD4}"/>
              </a:ext>
            </a:extLst>
          </p:cNvPr>
          <p:cNvSpPr>
            <a:spLocks noGrp="1"/>
          </p:cNvSpPr>
          <p:nvPr>
            <p:ph type="pic" sz="quarter" idx="21" hasCustomPrompt="1"/>
          </p:nvPr>
        </p:nvSpPr>
        <p:spPr>
          <a:xfrm>
            <a:off x="9107552" y="1409406"/>
            <a:ext cx="2664000" cy="1332000"/>
          </a:xfrm>
        </p:spPr>
        <p:txBody>
          <a:bodyPr/>
          <a:lstStyle>
            <a:lvl1pPr algn="ctr">
              <a:defRPr b="0"/>
            </a:lvl1pPr>
          </a:lstStyle>
          <a:p>
            <a:r>
              <a:rPr lang="en-US"/>
              <a:t>Drag n drop section slide</a:t>
            </a:r>
            <a:endParaRPr lang="en-GB"/>
          </a:p>
        </p:txBody>
      </p:sp>
      <p:sp>
        <p:nvSpPr>
          <p:cNvPr id="14" name="Picture Placeholder 5">
            <a:extLst>
              <a:ext uri="{FF2B5EF4-FFF2-40B4-BE49-F238E27FC236}">
                <a16:creationId xmlns:a16="http://schemas.microsoft.com/office/drawing/2014/main" id="{D229251A-C4D2-81FB-1B1C-5AE7F4BB9BA5}"/>
              </a:ext>
            </a:extLst>
          </p:cNvPr>
          <p:cNvSpPr>
            <a:spLocks noGrp="1"/>
          </p:cNvSpPr>
          <p:nvPr>
            <p:ph type="pic" sz="quarter" idx="22" hasCustomPrompt="1"/>
          </p:nvPr>
        </p:nvSpPr>
        <p:spPr>
          <a:xfrm>
            <a:off x="415742" y="2825867"/>
            <a:ext cx="2664000" cy="1332000"/>
          </a:xfrm>
        </p:spPr>
        <p:txBody>
          <a:bodyPr/>
          <a:lstStyle>
            <a:lvl1pPr algn="ctr">
              <a:defRPr b="0"/>
            </a:lvl1pPr>
          </a:lstStyle>
          <a:p>
            <a:r>
              <a:rPr lang="en-US"/>
              <a:t>Drag n drop section slide</a:t>
            </a:r>
            <a:endParaRPr lang="en-GB"/>
          </a:p>
        </p:txBody>
      </p:sp>
      <p:sp>
        <p:nvSpPr>
          <p:cNvPr id="21" name="Picture Placeholder 7">
            <a:extLst>
              <a:ext uri="{FF2B5EF4-FFF2-40B4-BE49-F238E27FC236}">
                <a16:creationId xmlns:a16="http://schemas.microsoft.com/office/drawing/2014/main" id="{E12ED144-A834-9B0F-3BEA-0FC080B85397}"/>
              </a:ext>
            </a:extLst>
          </p:cNvPr>
          <p:cNvSpPr>
            <a:spLocks noGrp="1"/>
          </p:cNvSpPr>
          <p:nvPr>
            <p:ph type="pic" sz="quarter" idx="23" hasCustomPrompt="1"/>
          </p:nvPr>
        </p:nvSpPr>
        <p:spPr>
          <a:xfrm>
            <a:off x="3313012" y="2825867"/>
            <a:ext cx="2664000" cy="1332000"/>
          </a:xfrm>
        </p:spPr>
        <p:txBody>
          <a:bodyPr/>
          <a:lstStyle>
            <a:lvl1pPr algn="ctr">
              <a:defRPr b="0"/>
            </a:lvl1pPr>
          </a:lstStyle>
          <a:p>
            <a:r>
              <a:rPr lang="en-US"/>
              <a:t>Drag n drop section slide</a:t>
            </a:r>
            <a:endParaRPr lang="en-GB"/>
          </a:p>
        </p:txBody>
      </p:sp>
      <p:sp>
        <p:nvSpPr>
          <p:cNvPr id="28" name="Picture Placeholder 7">
            <a:extLst>
              <a:ext uri="{FF2B5EF4-FFF2-40B4-BE49-F238E27FC236}">
                <a16:creationId xmlns:a16="http://schemas.microsoft.com/office/drawing/2014/main" id="{9B0B45CF-B04F-5782-151D-5C624BC8DE25}"/>
              </a:ext>
            </a:extLst>
          </p:cNvPr>
          <p:cNvSpPr>
            <a:spLocks noGrp="1"/>
          </p:cNvSpPr>
          <p:nvPr>
            <p:ph type="pic" sz="quarter" idx="24" hasCustomPrompt="1"/>
          </p:nvPr>
        </p:nvSpPr>
        <p:spPr>
          <a:xfrm>
            <a:off x="6210282" y="2825867"/>
            <a:ext cx="2664000" cy="1332000"/>
          </a:xfrm>
        </p:spPr>
        <p:txBody>
          <a:bodyPr/>
          <a:lstStyle>
            <a:lvl1pPr algn="ctr">
              <a:defRPr b="0"/>
            </a:lvl1pPr>
          </a:lstStyle>
          <a:p>
            <a:r>
              <a:rPr lang="en-US"/>
              <a:t>Drag n drop section slide</a:t>
            </a:r>
            <a:endParaRPr lang="en-GB"/>
          </a:p>
        </p:txBody>
      </p:sp>
      <p:sp>
        <p:nvSpPr>
          <p:cNvPr id="32" name="Picture Placeholder 7">
            <a:extLst>
              <a:ext uri="{FF2B5EF4-FFF2-40B4-BE49-F238E27FC236}">
                <a16:creationId xmlns:a16="http://schemas.microsoft.com/office/drawing/2014/main" id="{8955687C-FFCF-35EE-5F13-0C8DA77714D8}"/>
              </a:ext>
            </a:extLst>
          </p:cNvPr>
          <p:cNvSpPr>
            <a:spLocks noGrp="1"/>
          </p:cNvSpPr>
          <p:nvPr>
            <p:ph type="pic" sz="quarter" idx="25" hasCustomPrompt="1"/>
          </p:nvPr>
        </p:nvSpPr>
        <p:spPr>
          <a:xfrm>
            <a:off x="9107552" y="2825867"/>
            <a:ext cx="2664000" cy="1332000"/>
          </a:xfrm>
        </p:spPr>
        <p:txBody>
          <a:bodyPr/>
          <a:lstStyle>
            <a:lvl1pPr algn="ctr">
              <a:defRPr b="0"/>
            </a:lvl1pPr>
          </a:lstStyle>
          <a:p>
            <a:r>
              <a:rPr lang="en-US"/>
              <a:t>Drag n drop section slide</a:t>
            </a:r>
            <a:endParaRPr lang="en-GB"/>
          </a:p>
        </p:txBody>
      </p:sp>
      <p:sp>
        <p:nvSpPr>
          <p:cNvPr id="33" name="Picture Placeholder 5">
            <a:extLst>
              <a:ext uri="{FF2B5EF4-FFF2-40B4-BE49-F238E27FC236}">
                <a16:creationId xmlns:a16="http://schemas.microsoft.com/office/drawing/2014/main" id="{336A6E27-CC12-5545-1302-DAF0981100AF}"/>
              </a:ext>
            </a:extLst>
          </p:cNvPr>
          <p:cNvSpPr>
            <a:spLocks noGrp="1"/>
          </p:cNvSpPr>
          <p:nvPr>
            <p:ph type="pic" sz="quarter" idx="26" hasCustomPrompt="1"/>
          </p:nvPr>
        </p:nvSpPr>
        <p:spPr>
          <a:xfrm>
            <a:off x="415742" y="4242328"/>
            <a:ext cx="2664000" cy="1332000"/>
          </a:xfrm>
        </p:spPr>
        <p:txBody>
          <a:bodyPr/>
          <a:lstStyle>
            <a:lvl1pPr algn="ctr">
              <a:defRPr b="0"/>
            </a:lvl1pPr>
          </a:lstStyle>
          <a:p>
            <a:r>
              <a:rPr lang="en-US"/>
              <a:t>Drag n drop section slide</a:t>
            </a:r>
            <a:endParaRPr lang="en-GB"/>
          </a:p>
        </p:txBody>
      </p:sp>
      <p:sp>
        <p:nvSpPr>
          <p:cNvPr id="34" name="Picture Placeholder 7">
            <a:extLst>
              <a:ext uri="{FF2B5EF4-FFF2-40B4-BE49-F238E27FC236}">
                <a16:creationId xmlns:a16="http://schemas.microsoft.com/office/drawing/2014/main" id="{289D7A3D-EBBF-86CA-A83E-F7D20BC15E1A}"/>
              </a:ext>
            </a:extLst>
          </p:cNvPr>
          <p:cNvSpPr>
            <a:spLocks noGrp="1"/>
          </p:cNvSpPr>
          <p:nvPr>
            <p:ph type="pic" sz="quarter" idx="27" hasCustomPrompt="1"/>
          </p:nvPr>
        </p:nvSpPr>
        <p:spPr>
          <a:xfrm>
            <a:off x="3313012" y="4242328"/>
            <a:ext cx="2664000" cy="1332000"/>
          </a:xfrm>
        </p:spPr>
        <p:txBody>
          <a:bodyPr/>
          <a:lstStyle>
            <a:lvl1pPr algn="ctr">
              <a:defRPr b="0"/>
            </a:lvl1pPr>
          </a:lstStyle>
          <a:p>
            <a:r>
              <a:rPr lang="en-US"/>
              <a:t>Drag n drop section slide</a:t>
            </a:r>
            <a:endParaRPr lang="en-GB"/>
          </a:p>
        </p:txBody>
      </p:sp>
      <p:sp>
        <p:nvSpPr>
          <p:cNvPr id="35" name="Picture Placeholder 7">
            <a:extLst>
              <a:ext uri="{FF2B5EF4-FFF2-40B4-BE49-F238E27FC236}">
                <a16:creationId xmlns:a16="http://schemas.microsoft.com/office/drawing/2014/main" id="{237BB9AF-632C-1E35-C372-78C00A0FE4B2}"/>
              </a:ext>
            </a:extLst>
          </p:cNvPr>
          <p:cNvSpPr>
            <a:spLocks noGrp="1"/>
          </p:cNvSpPr>
          <p:nvPr>
            <p:ph type="pic" sz="quarter" idx="28" hasCustomPrompt="1"/>
          </p:nvPr>
        </p:nvSpPr>
        <p:spPr>
          <a:xfrm>
            <a:off x="6210282" y="4242328"/>
            <a:ext cx="2664000" cy="1332000"/>
          </a:xfrm>
        </p:spPr>
        <p:txBody>
          <a:bodyPr/>
          <a:lstStyle>
            <a:lvl1pPr algn="ctr">
              <a:defRPr b="0"/>
            </a:lvl1pPr>
          </a:lstStyle>
          <a:p>
            <a:r>
              <a:rPr lang="en-US"/>
              <a:t>Drag n drop section slide</a:t>
            </a:r>
            <a:endParaRPr lang="en-GB"/>
          </a:p>
        </p:txBody>
      </p:sp>
      <p:sp>
        <p:nvSpPr>
          <p:cNvPr id="36" name="Picture Placeholder 7">
            <a:extLst>
              <a:ext uri="{FF2B5EF4-FFF2-40B4-BE49-F238E27FC236}">
                <a16:creationId xmlns:a16="http://schemas.microsoft.com/office/drawing/2014/main" id="{2A1DC1E7-CB31-2650-4D5B-929E83980826}"/>
              </a:ext>
            </a:extLst>
          </p:cNvPr>
          <p:cNvSpPr>
            <a:spLocks noGrp="1"/>
          </p:cNvSpPr>
          <p:nvPr>
            <p:ph type="pic" sz="quarter" idx="29" hasCustomPrompt="1"/>
          </p:nvPr>
        </p:nvSpPr>
        <p:spPr>
          <a:xfrm>
            <a:off x="9107552" y="4242328"/>
            <a:ext cx="2664000" cy="1332000"/>
          </a:xfrm>
        </p:spPr>
        <p:txBody>
          <a:bodyPr/>
          <a:lstStyle>
            <a:lvl1pPr algn="ctr">
              <a:defRPr b="0"/>
            </a:lvl1pPr>
          </a:lstStyle>
          <a:p>
            <a:r>
              <a:rPr lang="en-US"/>
              <a:t>Drag n drop section slide</a:t>
            </a:r>
            <a:endParaRPr lang="en-GB"/>
          </a:p>
        </p:txBody>
      </p:sp>
    </p:spTree>
    <p:extLst>
      <p:ext uri="{BB962C8B-B14F-4D97-AF65-F5344CB8AC3E}">
        <p14:creationId xmlns:p14="http://schemas.microsoft.com/office/powerpoint/2010/main" val="737933321"/>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 Content + Text Summ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399" y="324000"/>
            <a:ext cx="10714547"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2750" y="1260000"/>
            <a:ext cx="5683250" cy="288000"/>
          </a:xfrm>
          <a:noFill/>
        </p:spPr>
        <p:txBody>
          <a:bodyPr lIns="0">
            <a:noAutofit/>
          </a:bodyPr>
          <a:lstStyle>
            <a:lvl1pPr>
              <a:defRPr sz="1300">
                <a:solidFill>
                  <a:schemeClr val="accent6"/>
                </a:solidFill>
              </a:defRPr>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2750" y="1586092"/>
            <a:ext cx="5683250" cy="4284000"/>
          </a:xfrm>
          <a:noFill/>
        </p:spPr>
        <p:txBody>
          <a:bodyPr/>
          <a:lstStyle>
            <a:lvl1pPr algn="ctr">
              <a:defRPr b="0"/>
            </a:lvl1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p:nvPr>
        </p:nvSpPr>
        <p:spPr>
          <a:xfrm>
            <a:off x="6223000" y="1258504"/>
            <a:ext cx="5555461" cy="4927600"/>
          </a:xfrm>
          <a:noFill/>
        </p:spPr>
        <p:txBody>
          <a:bodyPr lIns="252000" tIns="252000" rIns="252000" bIns="252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5943500"/>
            <a:ext cx="5683250" cy="215999"/>
          </a:xfrm>
          <a:noFill/>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cxnSp>
        <p:nvCxnSpPr>
          <p:cNvPr id="11" name="Straight Connector 10">
            <a:extLst>
              <a:ext uri="{FF2B5EF4-FFF2-40B4-BE49-F238E27FC236}">
                <a16:creationId xmlns:a16="http://schemas.microsoft.com/office/drawing/2014/main" id="{05A80A11-7034-B3AB-4DCA-27CBDAF30940}"/>
              </a:ext>
            </a:extLst>
          </p:cNvPr>
          <p:cNvCxnSpPr>
            <a:cxnSpLocks/>
          </p:cNvCxnSpPr>
          <p:nvPr userDrawn="1"/>
        </p:nvCxnSpPr>
        <p:spPr>
          <a:xfrm>
            <a:off x="2702950"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95CA4A96-CFDA-5D66-C69B-EE8190D9A034}"/>
              </a:ext>
            </a:extLst>
          </p:cNvPr>
          <p:cNvCxnSpPr>
            <a:cxnSpLocks/>
          </p:cNvCxnSpPr>
          <p:nvPr userDrawn="1"/>
        </p:nvCxnSpPr>
        <p:spPr>
          <a:xfrm>
            <a:off x="5488473"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9E3EF94E-D0F5-7974-DA6E-ECD131F21FFF}"/>
              </a:ext>
            </a:extLst>
          </p:cNvPr>
          <p:cNvCxnSpPr>
            <a:cxnSpLocks/>
          </p:cNvCxnSpPr>
          <p:nvPr userDrawn="1"/>
        </p:nvCxnSpPr>
        <p:spPr>
          <a:xfrm>
            <a:off x="7411982"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sp>
        <p:nvSpPr>
          <p:cNvPr id="4" name="Footer Placeholder 4">
            <a:extLst>
              <a:ext uri="{FF2B5EF4-FFF2-40B4-BE49-F238E27FC236}">
                <a16:creationId xmlns:a16="http://schemas.microsoft.com/office/drawing/2014/main" id="{48D111CE-EA91-1DCE-358D-0AB8E17F14A3}"/>
              </a:ext>
            </a:extLst>
          </p:cNvPr>
          <p:cNvSpPr>
            <a:spLocks noGrp="1"/>
          </p:cNvSpPr>
          <p:nvPr>
            <p:ph type="ftr" sz="quarter" idx="3"/>
          </p:nvPr>
        </p:nvSpPr>
        <p:spPr>
          <a:xfrm>
            <a:off x="7350369" y="6408000"/>
            <a:ext cx="3176758" cy="309600"/>
          </a:xfrm>
          <a:prstGeom prst="rect">
            <a:avLst/>
          </a:prstGeom>
          <a:ln>
            <a:noFill/>
          </a:ln>
        </p:spPr>
        <p:txBody>
          <a:bodyPr vert="horz" lIns="91440" tIns="45720" rIns="91440" bIns="45720" rtlCol="0" anchor="ctr"/>
          <a:lstStyle>
            <a:lvl1pPr algn="l">
              <a:defRPr sz="1000" b="0" i="0">
                <a:solidFill>
                  <a:schemeClr val="tx1"/>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Tree>
    <p:extLst>
      <p:ext uri="{BB962C8B-B14F-4D97-AF65-F5344CB8AC3E}">
        <p14:creationId xmlns:p14="http://schemas.microsoft.com/office/powerpoint/2010/main" val="1606345747"/>
      </p:ext>
    </p:extLst>
  </p:cSld>
  <p:clrMapOvr>
    <a:masterClrMapping/>
  </p:clrMapOvr>
  <p:extLst>
    <p:ext uri="{DCECCB84-F9BA-43D5-87BE-67443E8EF086}">
      <p15:sldGuideLst xmlns:p15="http://schemas.microsoft.com/office/powerpoint/2012/main">
        <p15:guide id="1" orient="horz" pos="1344" userDrawn="1">
          <p15:clr>
            <a:srgbClr val="5ACBF0"/>
          </p15:clr>
        </p15:guide>
        <p15:guide id="2" orient="horz" pos="3249" userDrawn="1">
          <p15:clr>
            <a:srgbClr val="5ACBF0"/>
          </p15:clr>
        </p15:guide>
        <p15:guide id="3" pos="3613" userDrawn="1">
          <p15:clr>
            <a:srgbClr val="5ACBF0"/>
          </p15:clr>
        </p15:guide>
        <p15:guide id="4" pos="710" userDrawn="1">
          <p15:clr>
            <a:srgbClr val="5ACBF0"/>
          </p15:clr>
        </p15:guide>
        <p15:guide id="5" orient="horz" pos="913" userDrawn="1">
          <p15:clr>
            <a:srgbClr val="F26B43"/>
          </p15:clr>
        </p15:guide>
        <p15:guide id="6" orient="horz" pos="3702" userDrawn="1">
          <p15:clr>
            <a:srgbClr val="F26B43"/>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 Content + Text Summ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702516"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3538" y="1258504"/>
            <a:ext cx="5683250" cy="288000"/>
          </a:xfrm>
          <a:noFill/>
        </p:spPr>
        <p:txBody>
          <a:bodyPr lIns="0">
            <a:noAutofit/>
          </a:bodyPr>
          <a:lstStyle>
            <a:lvl1pPr>
              <a:defRPr sz="1300">
                <a:solidFill>
                  <a:schemeClr val="accent6"/>
                </a:solidFill>
              </a:defRPr>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2749" y="1605156"/>
            <a:ext cx="5683250" cy="1980000"/>
          </a:xfrm>
          <a:noFill/>
        </p:spPr>
        <p:txBody>
          <a:bodyPr/>
          <a:lstStyle>
            <a:lvl1pPr algn="ctr">
              <a:defRPr b="0"/>
            </a:lvl1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p:nvPr>
        </p:nvSpPr>
        <p:spPr>
          <a:xfrm>
            <a:off x="6223000" y="1258504"/>
            <a:ext cx="5555461" cy="4928400"/>
          </a:xfrm>
          <a:noFill/>
          <a:effectLst/>
        </p:spPr>
        <p:txBody>
          <a:bodyPr vert="horz" lIns="252000" tIns="252000" rIns="252000" bIns="252000" rtlCol="0" anchor="ctr" anchorCtr="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5969000"/>
            <a:ext cx="5683250" cy="215999"/>
          </a:xfrm>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5" name="Text Placeholder 5">
            <a:extLst>
              <a:ext uri="{FF2B5EF4-FFF2-40B4-BE49-F238E27FC236}">
                <a16:creationId xmlns:a16="http://schemas.microsoft.com/office/drawing/2014/main" id="{6F3DB6FA-17D2-4D4B-9C68-7E57F40924D2}"/>
              </a:ext>
            </a:extLst>
          </p:cNvPr>
          <p:cNvSpPr>
            <a:spLocks noGrp="1"/>
          </p:cNvSpPr>
          <p:nvPr>
            <p:ph type="body" sz="quarter" idx="16" hasCustomPrompt="1"/>
          </p:nvPr>
        </p:nvSpPr>
        <p:spPr>
          <a:xfrm>
            <a:off x="412749" y="3645967"/>
            <a:ext cx="5683250" cy="288000"/>
          </a:xfrm>
          <a:noFill/>
        </p:spPr>
        <p:txBody>
          <a:bodyPr lIns="0">
            <a:noAutofit/>
          </a:bodyPr>
          <a:lstStyle>
            <a:lvl1pPr>
              <a:defRPr sz="1300">
                <a:solidFill>
                  <a:schemeClr val="accent6"/>
                </a:solidFill>
              </a:defRPr>
            </a:lvl1pPr>
          </a:lstStyle>
          <a:p>
            <a:pPr lvl="0"/>
            <a:r>
              <a:rPr lang="en-US"/>
              <a:t>Chart headline</a:t>
            </a:r>
          </a:p>
        </p:txBody>
      </p:sp>
      <p:sp>
        <p:nvSpPr>
          <p:cNvPr id="7" name="Content Placeholder 7">
            <a:extLst>
              <a:ext uri="{FF2B5EF4-FFF2-40B4-BE49-F238E27FC236}">
                <a16:creationId xmlns:a16="http://schemas.microsoft.com/office/drawing/2014/main" id="{C08AD70F-27D9-726E-A182-BA90022F5C6A}"/>
              </a:ext>
            </a:extLst>
          </p:cNvPr>
          <p:cNvSpPr>
            <a:spLocks noGrp="1"/>
          </p:cNvSpPr>
          <p:nvPr>
            <p:ph sz="quarter" idx="17" hasCustomPrompt="1"/>
          </p:nvPr>
        </p:nvSpPr>
        <p:spPr>
          <a:xfrm>
            <a:off x="412749" y="3977822"/>
            <a:ext cx="5683250" cy="1980000"/>
          </a:xfrm>
          <a:noFill/>
        </p:spPr>
        <p:txBody>
          <a:bodyPr/>
          <a:lstStyle>
            <a:lvl1pPr algn="ctr">
              <a:defRPr b="0"/>
            </a:lvl1pPr>
          </a:lstStyle>
          <a:p>
            <a:pPr lvl="0"/>
            <a:r>
              <a:rPr lang="en-US"/>
              <a:t>Insert Chart</a:t>
            </a:r>
            <a:endParaRPr lang="en-GB"/>
          </a:p>
        </p:txBody>
      </p:sp>
      <p:cxnSp>
        <p:nvCxnSpPr>
          <p:cNvPr id="14" name="Straight Connector 13">
            <a:extLst>
              <a:ext uri="{FF2B5EF4-FFF2-40B4-BE49-F238E27FC236}">
                <a16:creationId xmlns:a16="http://schemas.microsoft.com/office/drawing/2014/main" id="{99F03CBC-84CD-B420-8B01-8709221EF2D7}"/>
              </a:ext>
            </a:extLst>
          </p:cNvPr>
          <p:cNvCxnSpPr>
            <a:cxnSpLocks/>
          </p:cNvCxnSpPr>
          <p:nvPr userDrawn="1"/>
        </p:nvCxnSpPr>
        <p:spPr>
          <a:xfrm>
            <a:off x="2702950" y="6356350"/>
            <a:ext cx="1274379" cy="0"/>
          </a:xfrm>
          <a:prstGeom prst="line">
            <a:avLst/>
          </a:prstGeom>
          <a:ln w="6350">
            <a:no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F1FF571E-5F0D-6DE5-BAFA-37F40C5DB574}"/>
              </a:ext>
            </a:extLst>
          </p:cNvPr>
          <p:cNvCxnSpPr>
            <a:cxnSpLocks/>
          </p:cNvCxnSpPr>
          <p:nvPr userDrawn="1"/>
        </p:nvCxnSpPr>
        <p:spPr>
          <a:xfrm>
            <a:off x="5488473" y="6356350"/>
            <a:ext cx="1274379" cy="0"/>
          </a:xfrm>
          <a:prstGeom prst="line">
            <a:avLst/>
          </a:prstGeom>
          <a:ln w="6350">
            <a:no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6B2BEF9B-0C61-8243-085B-A71234DBE5AB}"/>
              </a:ext>
            </a:extLst>
          </p:cNvPr>
          <p:cNvCxnSpPr>
            <a:cxnSpLocks/>
          </p:cNvCxnSpPr>
          <p:nvPr userDrawn="1"/>
        </p:nvCxnSpPr>
        <p:spPr>
          <a:xfrm>
            <a:off x="7411982" y="6356350"/>
            <a:ext cx="1274379" cy="0"/>
          </a:xfrm>
          <a:prstGeom prst="line">
            <a:avLst/>
          </a:prstGeom>
          <a:ln w="6350">
            <a:noFill/>
          </a:ln>
        </p:spPr>
        <p:style>
          <a:lnRef idx="2">
            <a:schemeClr val="accent1"/>
          </a:lnRef>
          <a:fillRef idx="0">
            <a:schemeClr val="accent1"/>
          </a:fillRef>
          <a:effectRef idx="1">
            <a:schemeClr val="accent1"/>
          </a:effectRef>
          <a:fontRef idx="minor">
            <a:schemeClr val="tx1"/>
          </a:fontRef>
        </p:style>
      </p:cxnSp>
      <p:sp>
        <p:nvSpPr>
          <p:cNvPr id="4" name="Footer Placeholder 4">
            <a:extLst>
              <a:ext uri="{FF2B5EF4-FFF2-40B4-BE49-F238E27FC236}">
                <a16:creationId xmlns:a16="http://schemas.microsoft.com/office/drawing/2014/main" id="{DBA62D6A-7EB7-3195-BEDF-6E1697B052F2}"/>
              </a:ext>
            </a:extLst>
          </p:cNvPr>
          <p:cNvSpPr>
            <a:spLocks noGrp="1"/>
          </p:cNvSpPr>
          <p:nvPr>
            <p:ph type="ftr" sz="quarter" idx="3"/>
          </p:nvPr>
        </p:nvSpPr>
        <p:spPr>
          <a:xfrm>
            <a:off x="7350369" y="6408000"/>
            <a:ext cx="3176758" cy="309600"/>
          </a:xfrm>
          <a:prstGeom prst="rect">
            <a:avLst/>
          </a:prstGeom>
          <a:ln>
            <a:noFill/>
          </a:ln>
        </p:spPr>
        <p:txBody>
          <a:bodyPr vert="horz" lIns="91440" tIns="45720" rIns="91440" bIns="45720" rtlCol="0" anchor="ctr"/>
          <a:lstStyle>
            <a:lvl1pPr algn="l">
              <a:defRPr sz="1000" b="0" i="0">
                <a:solidFill>
                  <a:schemeClr val="tx1"/>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Tree>
    <p:extLst>
      <p:ext uri="{BB962C8B-B14F-4D97-AF65-F5344CB8AC3E}">
        <p14:creationId xmlns:p14="http://schemas.microsoft.com/office/powerpoint/2010/main" val="2834939251"/>
      </p:ext>
    </p:extLst>
  </p:cSld>
  <p:clrMapOvr>
    <a:masterClrMapping/>
  </p:clrMapOvr>
  <p:extLst>
    <p:ext uri="{DCECCB84-F9BA-43D5-87BE-67443E8EF086}">
      <p15:sldGuideLst xmlns:p15="http://schemas.microsoft.com/office/powerpoint/2012/main">
        <p15:guide id="1" pos="665" userDrawn="1">
          <p15:clr>
            <a:srgbClr val="5ACBF0"/>
          </p15:clr>
        </p15:guide>
        <p15:guide id="2" pos="3613" userDrawn="1">
          <p15:clr>
            <a:srgbClr val="5ACBF0"/>
          </p15:clr>
        </p15:guide>
        <p15:guide id="3" orient="horz" pos="1094" userDrawn="1">
          <p15:clr>
            <a:srgbClr val="5ACBF0"/>
          </p15:clr>
        </p15:guide>
        <p15:guide id="4" orient="horz" pos="1933" userDrawn="1">
          <p15:clr>
            <a:srgbClr val="5ACBF0"/>
          </p15:clr>
        </p15:guide>
        <p15:guide id="5" orient="horz" pos="3543" userDrawn="1">
          <p15:clr>
            <a:srgbClr val="5ACBF0"/>
          </p15:clr>
        </p15:guide>
        <p15:guide id="6" orient="horz" pos="2659" userDrawn="1">
          <p15:clr>
            <a:srgbClr val="5ACBF0"/>
          </p15:clr>
        </p15:guide>
        <p15:guide id="7" orient="horz" pos="799" userDrawn="1">
          <p15:clr>
            <a:srgbClr val="F26B43"/>
          </p15:clr>
        </p15:guide>
        <p15:guide id="8" orient="horz" pos="2387" userDrawn="1">
          <p15:clr>
            <a:srgbClr val="F26B43"/>
          </p15:clr>
        </p15:guide>
        <p15:guide id="9" orient="horz" pos="3770" userDrawn="1">
          <p15:clr>
            <a:srgbClr val="F26B43"/>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ummary Storybo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399" y="324000"/>
            <a:ext cx="10726579"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3537" y="1258504"/>
            <a:ext cx="3312000" cy="288000"/>
          </a:xfrm>
          <a:noFill/>
        </p:spPr>
        <p:txBody>
          <a:bodyPr lIns="0">
            <a:noAutofit/>
          </a:bodyPr>
          <a:lstStyle>
            <a:lvl1pPr>
              <a:defRPr sz="1300">
                <a:solidFill>
                  <a:schemeClr val="accent6"/>
                </a:solidFill>
              </a:defRPr>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4000" y="1625704"/>
            <a:ext cx="3780000" cy="2124000"/>
          </a:xfrm>
          <a:noFill/>
        </p:spPr>
        <p:txBody>
          <a:bodyPr/>
          <a:lstStyle>
            <a:lvl1pPr algn="ctr">
              <a:defRPr b="0"/>
            </a:lvl1pPr>
            <a:lvl5pPr>
              <a:defRPr/>
            </a:lvl5pPr>
          </a:lstStyle>
          <a:p>
            <a:pPr lvl="0"/>
            <a:r>
              <a:rPr lang="en-US"/>
              <a:t>Insert Char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11365200" cy="215999"/>
          </a:xfrm>
          <a:noFill/>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5" name="Text Placeholder 5">
            <a:extLst>
              <a:ext uri="{FF2B5EF4-FFF2-40B4-BE49-F238E27FC236}">
                <a16:creationId xmlns:a16="http://schemas.microsoft.com/office/drawing/2014/main" id="{D7616806-7E32-D88B-F740-18B7BC6A1ECE}"/>
              </a:ext>
            </a:extLst>
          </p:cNvPr>
          <p:cNvSpPr>
            <a:spLocks noGrp="1"/>
          </p:cNvSpPr>
          <p:nvPr>
            <p:ph type="body" sz="quarter" idx="16"/>
          </p:nvPr>
        </p:nvSpPr>
        <p:spPr>
          <a:xfrm>
            <a:off x="414000" y="3813276"/>
            <a:ext cx="3780000" cy="2124000"/>
          </a:xfrm>
          <a:noFill/>
          <a:effectLst/>
        </p:spPr>
        <p:txBody>
          <a:bodyPr vert="horz" lIns="72000" tIns="72000" rIns="72000" bIns="108000" rtlCol="0" anchor="t" anchorCtr="0">
            <a:noAutofit/>
          </a:bodyPr>
          <a:lstStyle>
            <a:lvl1pPr>
              <a:defRPr lang="en-US" sz="1300"/>
            </a:lvl1pPr>
            <a:lvl2pPr>
              <a:defRPr lang="en-US" sz="1100"/>
            </a:lvl2pPr>
            <a:lvl3pPr>
              <a:defRPr lang="en-US" sz="1100"/>
            </a:lvl3pPr>
            <a:lvl4pPr>
              <a:defRPr lang="en-US" sz="900"/>
            </a:lvl4pPr>
            <a:lvl5pPr>
              <a:defRPr lang="en-US"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41A38980-B6C7-2C12-669B-DF4E926D0985}"/>
              </a:ext>
            </a:extLst>
          </p:cNvPr>
          <p:cNvSpPr>
            <a:spLocks noGrp="1"/>
          </p:cNvSpPr>
          <p:nvPr>
            <p:ph type="body" sz="quarter" idx="18"/>
          </p:nvPr>
        </p:nvSpPr>
        <p:spPr>
          <a:xfrm>
            <a:off x="4212000" y="3813276"/>
            <a:ext cx="3780000" cy="2124000"/>
          </a:xfrm>
          <a:noFill/>
          <a:effectLst/>
        </p:spPr>
        <p:txBody>
          <a:bodyPr vert="horz" lIns="72000" tIns="72000" rIns="72000" bIns="108000" rtlCol="0" anchor="t" anchorCtr="0">
            <a:noAutofit/>
          </a:bodyPr>
          <a:lstStyle>
            <a:lvl1pPr>
              <a:defRPr lang="en-US" sz="1300"/>
            </a:lvl1pPr>
            <a:lvl2pPr>
              <a:defRPr lang="en-US" sz="1100"/>
            </a:lvl2pPr>
            <a:lvl3pPr>
              <a:defRPr lang="en-US" sz="1100"/>
            </a:lvl3pPr>
            <a:lvl4pPr>
              <a:defRPr lang="en-US" sz="900"/>
            </a:lvl4pPr>
            <a:lvl5pPr>
              <a:defRPr lang="en-US"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0F05E3CC-77D8-00D4-3892-43359D3D440D}"/>
              </a:ext>
            </a:extLst>
          </p:cNvPr>
          <p:cNvSpPr>
            <a:spLocks noGrp="1"/>
          </p:cNvSpPr>
          <p:nvPr>
            <p:ph type="body" sz="quarter" idx="20" hasCustomPrompt="1"/>
          </p:nvPr>
        </p:nvSpPr>
        <p:spPr>
          <a:xfrm>
            <a:off x="4212000" y="1258504"/>
            <a:ext cx="3312000" cy="288000"/>
          </a:xfrm>
          <a:noFill/>
        </p:spPr>
        <p:txBody>
          <a:bodyPr lIns="108000">
            <a:noAutofit/>
          </a:bodyPr>
          <a:lstStyle>
            <a:lvl1pPr>
              <a:defRPr sz="1300">
                <a:solidFill>
                  <a:schemeClr val="accent6"/>
                </a:solidFill>
              </a:defRPr>
            </a:lvl1pPr>
          </a:lstStyle>
          <a:p>
            <a:pPr lvl="0"/>
            <a:r>
              <a:rPr lang="en-US"/>
              <a:t>Chart headline</a:t>
            </a:r>
          </a:p>
        </p:txBody>
      </p:sp>
      <p:sp>
        <p:nvSpPr>
          <p:cNvPr id="14" name="Content Placeholder 7">
            <a:extLst>
              <a:ext uri="{FF2B5EF4-FFF2-40B4-BE49-F238E27FC236}">
                <a16:creationId xmlns:a16="http://schemas.microsoft.com/office/drawing/2014/main" id="{CB8F5FCB-FB91-1CC1-0B13-4616C17F6F8D}"/>
              </a:ext>
            </a:extLst>
          </p:cNvPr>
          <p:cNvSpPr>
            <a:spLocks noGrp="1"/>
          </p:cNvSpPr>
          <p:nvPr>
            <p:ph sz="quarter" idx="21" hasCustomPrompt="1"/>
          </p:nvPr>
        </p:nvSpPr>
        <p:spPr>
          <a:xfrm>
            <a:off x="4212000" y="1625704"/>
            <a:ext cx="3780000" cy="2124000"/>
          </a:xfrm>
          <a:noFill/>
        </p:spPr>
        <p:txBody>
          <a:bodyPr/>
          <a:lstStyle>
            <a:lvl1pPr algn="ctr">
              <a:defRPr b="0"/>
            </a:lvl1pPr>
            <a:lvl5pPr>
              <a:defRPr/>
            </a:lvl5pPr>
          </a:lstStyle>
          <a:p>
            <a:pPr lvl="0"/>
            <a:r>
              <a:rPr lang="en-US"/>
              <a:t>Insert Chart</a:t>
            </a:r>
            <a:endParaRPr lang="en-GB"/>
          </a:p>
        </p:txBody>
      </p:sp>
      <p:sp>
        <p:nvSpPr>
          <p:cNvPr id="15" name="Text Placeholder 5">
            <a:extLst>
              <a:ext uri="{FF2B5EF4-FFF2-40B4-BE49-F238E27FC236}">
                <a16:creationId xmlns:a16="http://schemas.microsoft.com/office/drawing/2014/main" id="{AC5DE7FF-9635-D689-F58B-811576F0D013}"/>
              </a:ext>
            </a:extLst>
          </p:cNvPr>
          <p:cNvSpPr>
            <a:spLocks noGrp="1"/>
          </p:cNvSpPr>
          <p:nvPr>
            <p:ph type="body" sz="quarter" idx="22"/>
          </p:nvPr>
        </p:nvSpPr>
        <p:spPr>
          <a:xfrm>
            <a:off x="8010000" y="3813276"/>
            <a:ext cx="3780000" cy="2124000"/>
          </a:xfrm>
          <a:noFill/>
          <a:effectLst/>
        </p:spPr>
        <p:txBody>
          <a:bodyPr vert="horz" lIns="72000" tIns="72000" rIns="72000" bIns="108000" rtlCol="0" anchor="t" anchorCtr="0">
            <a:noAutofit/>
          </a:bodyPr>
          <a:lstStyle>
            <a:lvl1pPr>
              <a:defRPr lang="en-US" sz="1300"/>
            </a:lvl1pPr>
            <a:lvl2pPr>
              <a:defRPr lang="en-US" sz="1100"/>
            </a:lvl2pPr>
            <a:lvl3pPr>
              <a:defRPr lang="en-US" sz="1100"/>
            </a:lvl3pPr>
            <a:lvl4pPr>
              <a:defRPr lang="en-US" sz="900"/>
            </a:lvl4pPr>
            <a:lvl5pPr>
              <a:defRPr lang="en-US"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5">
            <a:extLst>
              <a:ext uri="{FF2B5EF4-FFF2-40B4-BE49-F238E27FC236}">
                <a16:creationId xmlns:a16="http://schemas.microsoft.com/office/drawing/2014/main" id="{82725930-D425-C749-FEC9-D1707FF63950}"/>
              </a:ext>
            </a:extLst>
          </p:cNvPr>
          <p:cNvSpPr>
            <a:spLocks noGrp="1"/>
          </p:cNvSpPr>
          <p:nvPr>
            <p:ph type="body" sz="quarter" idx="24" hasCustomPrompt="1"/>
          </p:nvPr>
        </p:nvSpPr>
        <p:spPr>
          <a:xfrm>
            <a:off x="8010000" y="1258504"/>
            <a:ext cx="3312000" cy="288000"/>
          </a:xfrm>
          <a:noFill/>
        </p:spPr>
        <p:txBody>
          <a:bodyPr lIns="108000">
            <a:noAutofit/>
          </a:bodyPr>
          <a:lstStyle>
            <a:lvl1pPr>
              <a:defRPr sz="1300">
                <a:solidFill>
                  <a:schemeClr val="accent6"/>
                </a:solidFill>
              </a:defRPr>
            </a:lvl1pPr>
          </a:lstStyle>
          <a:p>
            <a:pPr lvl="0"/>
            <a:r>
              <a:rPr lang="en-US"/>
              <a:t>Chart headline</a:t>
            </a:r>
          </a:p>
        </p:txBody>
      </p:sp>
      <p:sp>
        <p:nvSpPr>
          <p:cNvPr id="18" name="Content Placeholder 7">
            <a:extLst>
              <a:ext uri="{FF2B5EF4-FFF2-40B4-BE49-F238E27FC236}">
                <a16:creationId xmlns:a16="http://schemas.microsoft.com/office/drawing/2014/main" id="{ECAB1B5D-539C-8387-B045-BAF0C5698A72}"/>
              </a:ext>
            </a:extLst>
          </p:cNvPr>
          <p:cNvSpPr>
            <a:spLocks noGrp="1"/>
          </p:cNvSpPr>
          <p:nvPr>
            <p:ph sz="quarter" idx="25" hasCustomPrompt="1"/>
          </p:nvPr>
        </p:nvSpPr>
        <p:spPr>
          <a:xfrm>
            <a:off x="8010000" y="1625704"/>
            <a:ext cx="3780000" cy="2124000"/>
          </a:xfrm>
          <a:noFill/>
        </p:spPr>
        <p:txBody>
          <a:bodyPr/>
          <a:lstStyle>
            <a:lvl1pPr algn="ctr">
              <a:defRPr b="0"/>
            </a:lvl1pPr>
            <a:lvl5pPr>
              <a:defRPr/>
            </a:lvl5pPr>
          </a:lstStyle>
          <a:p>
            <a:pPr lvl="0"/>
            <a:r>
              <a:rPr lang="en-US"/>
              <a:t>Insert Chart</a:t>
            </a:r>
            <a:endParaRPr lang="en-GB"/>
          </a:p>
        </p:txBody>
      </p:sp>
      <p:sp>
        <p:nvSpPr>
          <p:cNvPr id="22" name="Rectangle 21">
            <a:extLst>
              <a:ext uri="{FF2B5EF4-FFF2-40B4-BE49-F238E27FC236}">
                <a16:creationId xmlns:a16="http://schemas.microsoft.com/office/drawing/2014/main" id="{45563B50-D90E-1882-F8FA-7DC74D658E94}"/>
              </a:ext>
            </a:extLst>
          </p:cNvPr>
          <p:cNvSpPr/>
          <p:nvPr userDrawn="1"/>
        </p:nvSpPr>
        <p:spPr>
          <a:xfrm>
            <a:off x="88900" y="-1219200"/>
            <a:ext cx="12103100" cy="1117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F3931C8E-0E03-F172-6826-5C40A4AA1778}"/>
              </a:ext>
            </a:extLst>
          </p:cNvPr>
          <p:cNvSpPr txBox="1"/>
          <p:nvPr userDrawn="1"/>
        </p:nvSpPr>
        <p:spPr>
          <a:xfrm>
            <a:off x="6810500" y="-1066047"/>
            <a:ext cx="2283961" cy="738664"/>
          </a:xfrm>
          <a:prstGeom prst="rect">
            <a:avLst/>
          </a:prstGeom>
          <a:noFill/>
        </p:spPr>
        <p:txBody>
          <a:bodyPr wrap="square" rtlCol="0">
            <a:spAutoFit/>
          </a:bodyPr>
          <a:lstStyle/>
          <a:p>
            <a:r>
              <a:rPr lang="en-GB" sz="1050">
                <a:solidFill>
                  <a:schemeClr val="tx1">
                    <a:lumMod val="50000"/>
                  </a:schemeClr>
                </a:solidFill>
                <a:latin typeface="Arial" panose="020B0604020202020204" pitchFamily="34" charset="0"/>
                <a:cs typeface="Arial" panose="020B0604020202020204" pitchFamily="34" charset="0"/>
              </a:rPr>
              <a:t>Indicator of affect on price </a:t>
            </a:r>
          </a:p>
          <a:p>
            <a:r>
              <a:rPr lang="en-GB" sz="1050">
                <a:solidFill>
                  <a:schemeClr val="tx1">
                    <a:lumMod val="50000"/>
                  </a:schemeClr>
                </a:solidFill>
                <a:latin typeface="Arial" panose="020B0604020202020204" pitchFamily="34" charset="0"/>
                <a:cs typeface="Arial" panose="020B0604020202020204" pitchFamily="34" charset="0"/>
              </a:rPr>
              <a:t>Bull = upwards price pressure</a:t>
            </a:r>
          </a:p>
          <a:p>
            <a:r>
              <a:rPr lang="en-GB" sz="1050">
                <a:solidFill>
                  <a:schemeClr val="tx1">
                    <a:lumMod val="50000"/>
                  </a:schemeClr>
                </a:solidFill>
                <a:latin typeface="Arial" panose="020B0604020202020204" pitchFamily="34" charset="0"/>
                <a:cs typeface="Arial" panose="020B0604020202020204" pitchFamily="34" charset="0"/>
              </a:rPr>
              <a:t>Bear = downwards price pressure</a:t>
            </a:r>
          </a:p>
          <a:p>
            <a:r>
              <a:rPr lang="en-GB" sz="1050">
                <a:solidFill>
                  <a:schemeClr val="tx1">
                    <a:lumMod val="50000"/>
                  </a:schemeClr>
                </a:solidFill>
                <a:latin typeface="Arial" panose="020B0604020202020204" pitchFamily="34" charset="0"/>
                <a:cs typeface="Arial" panose="020B0604020202020204" pitchFamily="34" charset="0"/>
              </a:rPr>
              <a:t>Neutral = no impact</a:t>
            </a:r>
          </a:p>
        </p:txBody>
      </p:sp>
      <p:sp>
        <p:nvSpPr>
          <p:cNvPr id="24" name="TextBox 23">
            <a:extLst>
              <a:ext uri="{FF2B5EF4-FFF2-40B4-BE49-F238E27FC236}">
                <a16:creationId xmlns:a16="http://schemas.microsoft.com/office/drawing/2014/main" id="{AEA4DC3E-B20E-9C10-189C-BC076F996C84}"/>
              </a:ext>
            </a:extLst>
          </p:cNvPr>
          <p:cNvSpPr txBox="1"/>
          <p:nvPr userDrawn="1"/>
        </p:nvSpPr>
        <p:spPr>
          <a:xfrm>
            <a:off x="266700" y="-973225"/>
            <a:ext cx="6794500" cy="353943"/>
          </a:xfrm>
          <a:prstGeom prst="rect">
            <a:avLst/>
          </a:prstGeom>
          <a:noFill/>
        </p:spPr>
        <p:txBody>
          <a:bodyPr wrap="square" rtlCol="0">
            <a:spAutoFit/>
          </a:bodyPr>
          <a:lstStyle/>
          <a:p>
            <a:r>
              <a:rPr lang="en-GB">
                <a:solidFill>
                  <a:schemeClr val="accent3">
                    <a:lumMod val="50000"/>
                  </a:schemeClr>
                </a:solidFill>
                <a:latin typeface="Arial" panose="020B0604020202020204" pitchFamily="34" charset="0"/>
                <a:cs typeface="Arial" panose="020B0604020202020204" pitchFamily="34" charset="0"/>
              </a:rPr>
              <a:t>Storyboard Layout</a:t>
            </a:r>
          </a:p>
        </p:txBody>
      </p:sp>
      <p:sp>
        <p:nvSpPr>
          <p:cNvPr id="38" name="TextBox 37">
            <a:extLst>
              <a:ext uri="{FF2B5EF4-FFF2-40B4-BE49-F238E27FC236}">
                <a16:creationId xmlns:a16="http://schemas.microsoft.com/office/drawing/2014/main" id="{87E90881-766D-DD44-2F07-687FEE2958DB}"/>
              </a:ext>
            </a:extLst>
          </p:cNvPr>
          <p:cNvSpPr txBox="1"/>
          <p:nvPr userDrawn="1"/>
        </p:nvSpPr>
        <p:spPr>
          <a:xfrm>
            <a:off x="2295556" y="-1024164"/>
            <a:ext cx="2283961" cy="577081"/>
          </a:xfrm>
          <a:prstGeom prst="rect">
            <a:avLst/>
          </a:prstGeom>
          <a:noFill/>
        </p:spPr>
        <p:txBody>
          <a:bodyPr wrap="square" rtlCol="0">
            <a:spAutoFit/>
          </a:bodyPr>
          <a:lstStyle/>
          <a:p>
            <a:r>
              <a:rPr lang="en-GB" sz="1050">
                <a:solidFill>
                  <a:schemeClr val="tx1">
                    <a:lumMod val="50000"/>
                  </a:schemeClr>
                </a:solidFill>
                <a:latin typeface="Arial" panose="020B0604020202020204" pitchFamily="34" charset="0"/>
                <a:cs typeface="Arial" panose="020B0604020202020204" pitchFamily="34" charset="0"/>
              </a:rPr>
              <a:t>Every market outlook needs a storyboard containing a minimum of 7 charts and accompanying text</a:t>
            </a:r>
          </a:p>
        </p:txBody>
      </p:sp>
      <p:sp>
        <p:nvSpPr>
          <p:cNvPr id="39" name="TextBox 38">
            <a:extLst>
              <a:ext uri="{FF2B5EF4-FFF2-40B4-BE49-F238E27FC236}">
                <a16:creationId xmlns:a16="http://schemas.microsoft.com/office/drawing/2014/main" id="{DC3003EA-CCC7-CF54-8D1E-915B6001C670}"/>
              </a:ext>
            </a:extLst>
          </p:cNvPr>
          <p:cNvSpPr txBox="1"/>
          <p:nvPr userDrawn="1"/>
        </p:nvSpPr>
        <p:spPr>
          <a:xfrm>
            <a:off x="4492822" y="-1024164"/>
            <a:ext cx="2283961" cy="738664"/>
          </a:xfrm>
          <a:prstGeom prst="rect">
            <a:avLst/>
          </a:prstGeom>
          <a:noFill/>
        </p:spPr>
        <p:txBody>
          <a:bodyPr wrap="square" rtlCol="0">
            <a:spAutoFit/>
          </a:bodyPr>
          <a:lstStyle/>
          <a:p>
            <a:r>
              <a:rPr lang="en-GB" sz="1050">
                <a:solidFill>
                  <a:schemeClr val="tx1">
                    <a:lumMod val="50000"/>
                  </a:schemeClr>
                </a:solidFill>
                <a:latin typeface="Arial" panose="020B0604020202020204" pitchFamily="34" charset="0"/>
                <a:cs typeface="Arial" panose="020B0604020202020204" pitchFamily="34" charset="0"/>
              </a:rPr>
              <a:t>Place the icons in the box to indicate whether the story element is positive, negative or neutral for commodity prices </a:t>
            </a:r>
          </a:p>
        </p:txBody>
      </p:sp>
      <p:cxnSp>
        <p:nvCxnSpPr>
          <p:cNvPr id="7" name="Straight Connector 6">
            <a:extLst>
              <a:ext uri="{FF2B5EF4-FFF2-40B4-BE49-F238E27FC236}">
                <a16:creationId xmlns:a16="http://schemas.microsoft.com/office/drawing/2014/main" id="{975CDD6E-035F-9465-32D7-99297026358F}"/>
              </a:ext>
            </a:extLst>
          </p:cNvPr>
          <p:cNvCxnSpPr>
            <a:cxnSpLocks/>
          </p:cNvCxnSpPr>
          <p:nvPr userDrawn="1"/>
        </p:nvCxnSpPr>
        <p:spPr>
          <a:xfrm>
            <a:off x="4194000" y="4001234"/>
            <a:ext cx="7937" cy="183600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0" name="Straight Connector 9">
            <a:extLst>
              <a:ext uri="{FF2B5EF4-FFF2-40B4-BE49-F238E27FC236}">
                <a16:creationId xmlns:a16="http://schemas.microsoft.com/office/drawing/2014/main" id="{2A904D48-4B83-5BF3-D639-51D8FAB1FCCD}"/>
              </a:ext>
            </a:extLst>
          </p:cNvPr>
          <p:cNvCxnSpPr>
            <a:cxnSpLocks/>
          </p:cNvCxnSpPr>
          <p:nvPr userDrawn="1"/>
        </p:nvCxnSpPr>
        <p:spPr>
          <a:xfrm>
            <a:off x="7995444" y="4001234"/>
            <a:ext cx="7937" cy="183600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1" name="Straight Connector 10">
            <a:extLst>
              <a:ext uri="{FF2B5EF4-FFF2-40B4-BE49-F238E27FC236}">
                <a16:creationId xmlns:a16="http://schemas.microsoft.com/office/drawing/2014/main" id="{03F1CA78-3547-5512-F36A-2F1EEF65A0E0}"/>
              </a:ext>
            </a:extLst>
          </p:cNvPr>
          <p:cNvCxnSpPr>
            <a:cxnSpLocks/>
          </p:cNvCxnSpPr>
          <p:nvPr userDrawn="1"/>
        </p:nvCxnSpPr>
        <p:spPr>
          <a:xfrm>
            <a:off x="4194000" y="1822040"/>
            <a:ext cx="7937" cy="183600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6" name="Straight Connector 15">
            <a:extLst>
              <a:ext uri="{FF2B5EF4-FFF2-40B4-BE49-F238E27FC236}">
                <a16:creationId xmlns:a16="http://schemas.microsoft.com/office/drawing/2014/main" id="{7561E445-AB46-12BB-71E4-C5DB6124E6E7}"/>
              </a:ext>
            </a:extLst>
          </p:cNvPr>
          <p:cNvCxnSpPr>
            <a:cxnSpLocks/>
          </p:cNvCxnSpPr>
          <p:nvPr userDrawn="1"/>
        </p:nvCxnSpPr>
        <p:spPr>
          <a:xfrm>
            <a:off x="7995444" y="1822040"/>
            <a:ext cx="7937" cy="183600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40" name="Straight Connector 39">
            <a:extLst>
              <a:ext uri="{FF2B5EF4-FFF2-40B4-BE49-F238E27FC236}">
                <a16:creationId xmlns:a16="http://schemas.microsoft.com/office/drawing/2014/main" id="{278D58A8-BE28-DE7D-6C5A-A9A83475BCC9}"/>
              </a:ext>
            </a:extLst>
          </p:cNvPr>
          <p:cNvCxnSpPr>
            <a:cxnSpLocks/>
          </p:cNvCxnSpPr>
          <p:nvPr userDrawn="1"/>
        </p:nvCxnSpPr>
        <p:spPr>
          <a:xfrm>
            <a:off x="684000" y="3792781"/>
            <a:ext cx="3251413" cy="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41" name="Straight Connector 40">
            <a:extLst>
              <a:ext uri="{FF2B5EF4-FFF2-40B4-BE49-F238E27FC236}">
                <a16:creationId xmlns:a16="http://schemas.microsoft.com/office/drawing/2014/main" id="{5B27A369-CAEB-07CB-E8C4-BB5EE7BE8F47}"/>
              </a:ext>
            </a:extLst>
          </p:cNvPr>
          <p:cNvCxnSpPr>
            <a:cxnSpLocks/>
          </p:cNvCxnSpPr>
          <p:nvPr userDrawn="1"/>
        </p:nvCxnSpPr>
        <p:spPr>
          <a:xfrm>
            <a:off x="4464843" y="3792781"/>
            <a:ext cx="3251413" cy="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42" name="Straight Connector 41">
            <a:extLst>
              <a:ext uri="{FF2B5EF4-FFF2-40B4-BE49-F238E27FC236}">
                <a16:creationId xmlns:a16="http://schemas.microsoft.com/office/drawing/2014/main" id="{6F2B0CF4-4040-2F53-E5C0-3C48211F50AF}"/>
              </a:ext>
            </a:extLst>
          </p:cNvPr>
          <p:cNvCxnSpPr>
            <a:cxnSpLocks/>
          </p:cNvCxnSpPr>
          <p:nvPr userDrawn="1"/>
        </p:nvCxnSpPr>
        <p:spPr>
          <a:xfrm>
            <a:off x="8245262" y="3792781"/>
            <a:ext cx="3251413" cy="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46" name="Straight Connector 45">
            <a:extLst>
              <a:ext uri="{FF2B5EF4-FFF2-40B4-BE49-F238E27FC236}">
                <a16:creationId xmlns:a16="http://schemas.microsoft.com/office/drawing/2014/main" id="{86BE2CB1-ACC1-29D7-1E21-81D1358BDC72}"/>
              </a:ext>
            </a:extLst>
          </p:cNvPr>
          <p:cNvCxnSpPr>
            <a:cxnSpLocks/>
          </p:cNvCxnSpPr>
          <p:nvPr userDrawn="1"/>
        </p:nvCxnSpPr>
        <p:spPr>
          <a:xfrm>
            <a:off x="2702950"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9691CF81-DEE7-4FF4-31AB-1B87D93FFB7C}"/>
              </a:ext>
            </a:extLst>
          </p:cNvPr>
          <p:cNvCxnSpPr>
            <a:cxnSpLocks/>
          </p:cNvCxnSpPr>
          <p:nvPr userDrawn="1"/>
        </p:nvCxnSpPr>
        <p:spPr>
          <a:xfrm>
            <a:off x="5488473"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48" name="Straight Connector 47">
            <a:extLst>
              <a:ext uri="{FF2B5EF4-FFF2-40B4-BE49-F238E27FC236}">
                <a16:creationId xmlns:a16="http://schemas.microsoft.com/office/drawing/2014/main" id="{BE8DE93D-3EED-86AC-3B30-2C3FA47EEF91}"/>
              </a:ext>
            </a:extLst>
          </p:cNvPr>
          <p:cNvCxnSpPr>
            <a:cxnSpLocks/>
          </p:cNvCxnSpPr>
          <p:nvPr userDrawn="1"/>
        </p:nvCxnSpPr>
        <p:spPr>
          <a:xfrm>
            <a:off x="7411982"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grpSp>
        <p:nvGrpSpPr>
          <p:cNvPr id="3" name="Group 2">
            <a:extLst>
              <a:ext uri="{FF2B5EF4-FFF2-40B4-BE49-F238E27FC236}">
                <a16:creationId xmlns:a16="http://schemas.microsoft.com/office/drawing/2014/main" id="{D85ED702-2E01-0292-0257-7EB238295F44}"/>
              </a:ext>
            </a:extLst>
          </p:cNvPr>
          <p:cNvGrpSpPr/>
          <p:nvPr userDrawn="1"/>
        </p:nvGrpSpPr>
        <p:grpSpPr>
          <a:xfrm>
            <a:off x="8562465" y="-591805"/>
            <a:ext cx="476662" cy="396518"/>
            <a:chOff x="3669046" y="963053"/>
            <a:chExt cx="476662" cy="396518"/>
          </a:xfrm>
        </p:grpSpPr>
        <p:pic>
          <p:nvPicPr>
            <p:cNvPr id="4" name="Content Placeholder 38" descr="Bull with solid fill">
              <a:extLst>
                <a:ext uri="{FF2B5EF4-FFF2-40B4-BE49-F238E27FC236}">
                  <a16:creationId xmlns:a16="http://schemas.microsoft.com/office/drawing/2014/main" id="{C8A0E015-C714-B8F8-C589-37F6A36219C7}"/>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a:stretch/>
          </p:blipFill>
          <p:spPr>
            <a:xfrm>
              <a:off x="3832454" y="963053"/>
              <a:ext cx="313253" cy="313253"/>
            </a:xfrm>
            <a:prstGeom prst="rect">
              <a:avLst/>
            </a:prstGeom>
          </p:spPr>
        </p:pic>
        <p:sp>
          <p:nvSpPr>
            <p:cNvPr id="25" name="TextBox 24">
              <a:extLst>
                <a:ext uri="{FF2B5EF4-FFF2-40B4-BE49-F238E27FC236}">
                  <a16:creationId xmlns:a16="http://schemas.microsoft.com/office/drawing/2014/main" id="{921C8E5E-4E3A-14C6-0DE7-D0EB4251B05E}"/>
                </a:ext>
              </a:extLst>
            </p:cNvPr>
            <p:cNvSpPr txBox="1"/>
            <p:nvPr/>
          </p:nvSpPr>
          <p:spPr>
            <a:xfrm>
              <a:off x="3746560" y="1197988"/>
              <a:ext cx="399148" cy="161583"/>
            </a:xfrm>
            <a:prstGeom prst="rect">
              <a:avLst/>
            </a:prstGeom>
            <a:noFill/>
          </p:spPr>
          <p:txBody>
            <a:bodyPr wrap="none" lIns="0" tIns="0" rIns="0" bIns="0" rtlCol="0">
              <a:spAutoFit/>
            </a:bodyPr>
            <a:lstStyle/>
            <a:p>
              <a:pPr algn="r"/>
              <a:r>
                <a:rPr lang="en-GB" sz="1050">
                  <a:solidFill>
                    <a:schemeClr val="accent3">
                      <a:lumMod val="50000"/>
                    </a:schemeClr>
                  </a:solidFill>
                  <a:latin typeface="Arial" panose="020B0604020202020204" pitchFamily="34" charset="0"/>
                  <a:cs typeface="Arial" panose="020B0604020202020204" pitchFamily="34" charset="0"/>
                </a:rPr>
                <a:t>Bullish</a:t>
              </a:r>
            </a:p>
          </p:txBody>
        </p:sp>
        <p:pic>
          <p:nvPicPr>
            <p:cNvPr id="26" name="Content Placeholder 38" descr="Arrow Up with solid fill">
              <a:extLst>
                <a:ext uri="{FF2B5EF4-FFF2-40B4-BE49-F238E27FC236}">
                  <a16:creationId xmlns:a16="http://schemas.microsoft.com/office/drawing/2014/main" id="{F58400BE-4DED-E57D-062E-33D0741F5083}"/>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rcRect/>
            <a:stretch/>
          </p:blipFill>
          <p:spPr>
            <a:xfrm>
              <a:off x="3669046" y="1013013"/>
              <a:ext cx="216000" cy="184975"/>
            </a:xfrm>
            <a:prstGeom prst="rect">
              <a:avLst/>
            </a:prstGeom>
          </p:spPr>
        </p:pic>
      </p:grpSp>
      <p:grpSp>
        <p:nvGrpSpPr>
          <p:cNvPr id="27" name="Group 26">
            <a:extLst>
              <a:ext uri="{FF2B5EF4-FFF2-40B4-BE49-F238E27FC236}">
                <a16:creationId xmlns:a16="http://schemas.microsoft.com/office/drawing/2014/main" id="{6F1650D9-5286-575F-B4F1-8057E980F2DC}"/>
              </a:ext>
            </a:extLst>
          </p:cNvPr>
          <p:cNvGrpSpPr/>
          <p:nvPr userDrawn="1"/>
        </p:nvGrpSpPr>
        <p:grpSpPr>
          <a:xfrm>
            <a:off x="9408606" y="-591805"/>
            <a:ext cx="491542" cy="419533"/>
            <a:chOff x="7440115" y="940038"/>
            <a:chExt cx="491542" cy="419533"/>
          </a:xfrm>
        </p:grpSpPr>
        <p:sp>
          <p:nvSpPr>
            <p:cNvPr id="28" name="TextBox 27">
              <a:extLst>
                <a:ext uri="{FF2B5EF4-FFF2-40B4-BE49-F238E27FC236}">
                  <a16:creationId xmlns:a16="http://schemas.microsoft.com/office/drawing/2014/main" id="{C52A125A-97AC-7979-A1BD-D3C7314EFF2B}"/>
                </a:ext>
              </a:extLst>
            </p:cNvPr>
            <p:cNvSpPr txBox="1"/>
            <p:nvPr/>
          </p:nvSpPr>
          <p:spPr>
            <a:xfrm>
              <a:off x="7453712" y="1197988"/>
              <a:ext cx="458460" cy="161583"/>
            </a:xfrm>
            <a:prstGeom prst="rect">
              <a:avLst/>
            </a:prstGeom>
            <a:noFill/>
          </p:spPr>
          <p:txBody>
            <a:bodyPr wrap="none" lIns="0" tIns="0" rIns="0" bIns="0" rtlCol="0">
              <a:spAutoFit/>
            </a:bodyPr>
            <a:lstStyle/>
            <a:p>
              <a:pPr algn="r"/>
              <a:r>
                <a:rPr lang="en-GB" sz="1050">
                  <a:solidFill>
                    <a:schemeClr val="accent3">
                      <a:lumMod val="50000"/>
                    </a:schemeClr>
                  </a:solidFill>
                  <a:latin typeface="Arial" panose="020B0604020202020204" pitchFamily="34" charset="0"/>
                  <a:cs typeface="Arial" panose="020B0604020202020204" pitchFamily="34" charset="0"/>
                </a:rPr>
                <a:t>Bearish</a:t>
              </a:r>
            </a:p>
          </p:txBody>
        </p:sp>
        <p:pic>
          <p:nvPicPr>
            <p:cNvPr id="29" name="Content Placeholder 38" descr="Bear with solid fill">
              <a:extLst>
                <a:ext uri="{FF2B5EF4-FFF2-40B4-BE49-F238E27FC236}">
                  <a16:creationId xmlns:a16="http://schemas.microsoft.com/office/drawing/2014/main" id="{0EABBDE0-EB37-F885-8358-06A13F1782E5}"/>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rcRect/>
            <a:stretch/>
          </p:blipFill>
          <p:spPr>
            <a:xfrm>
              <a:off x="7440115" y="940038"/>
              <a:ext cx="313253" cy="313253"/>
            </a:xfrm>
            <a:prstGeom prst="rect">
              <a:avLst/>
            </a:prstGeom>
          </p:spPr>
        </p:pic>
        <p:pic>
          <p:nvPicPr>
            <p:cNvPr id="30" name="Content Placeholder 38" descr="Arrow Up with solid fill">
              <a:extLst>
                <a:ext uri="{FF2B5EF4-FFF2-40B4-BE49-F238E27FC236}">
                  <a16:creationId xmlns:a16="http://schemas.microsoft.com/office/drawing/2014/main" id="{E7912A7D-82DD-A2B6-6FF9-65D37818D9B9}"/>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rcRect/>
            <a:stretch/>
          </p:blipFill>
          <p:spPr>
            <a:xfrm flipV="1">
              <a:off x="7715657" y="1023855"/>
              <a:ext cx="216000" cy="189806"/>
            </a:xfrm>
            <a:prstGeom prst="rect">
              <a:avLst/>
            </a:prstGeom>
          </p:spPr>
        </p:pic>
      </p:grpSp>
      <p:grpSp>
        <p:nvGrpSpPr>
          <p:cNvPr id="31" name="Group 30">
            <a:extLst>
              <a:ext uri="{FF2B5EF4-FFF2-40B4-BE49-F238E27FC236}">
                <a16:creationId xmlns:a16="http://schemas.microsoft.com/office/drawing/2014/main" id="{21CDC61F-7AE9-0C7C-14DC-F17BDBEB15CE}"/>
              </a:ext>
            </a:extLst>
          </p:cNvPr>
          <p:cNvGrpSpPr/>
          <p:nvPr userDrawn="1"/>
        </p:nvGrpSpPr>
        <p:grpSpPr>
          <a:xfrm>
            <a:off x="10269627" y="-591805"/>
            <a:ext cx="436017" cy="392882"/>
            <a:chOff x="11020076" y="979202"/>
            <a:chExt cx="436017" cy="392882"/>
          </a:xfrm>
        </p:grpSpPr>
        <p:sp>
          <p:nvSpPr>
            <p:cNvPr id="32" name="TextBox 31">
              <a:extLst>
                <a:ext uri="{FF2B5EF4-FFF2-40B4-BE49-F238E27FC236}">
                  <a16:creationId xmlns:a16="http://schemas.microsoft.com/office/drawing/2014/main" id="{61C11229-B5CB-A6E9-193F-950E21BC54E9}"/>
                </a:ext>
              </a:extLst>
            </p:cNvPr>
            <p:cNvSpPr txBox="1"/>
            <p:nvPr/>
          </p:nvSpPr>
          <p:spPr>
            <a:xfrm>
              <a:off x="11020076" y="1210501"/>
              <a:ext cx="436017" cy="161583"/>
            </a:xfrm>
            <a:prstGeom prst="rect">
              <a:avLst/>
            </a:prstGeom>
            <a:noFill/>
          </p:spPr>
          <p:txBody>
            <a:bodyPr wrap="none" lIns="0" tIns="0" rIns="0" bIns="0" rtlCol="0">
              <a:spAutoFit/>
            </a:bodyPr>
            <a:lstStyle/>
            <a:p>
              <a:pPr algn="r"/>
              <a:r>
                <a:rPr lang="en-GB" sz="1050">
                  <a:solidFill>
                    <a:schemeClr val="accent3">
                      <a:lumMod val="50000"/>
                    </a:schemeClr>
                  </a:solidFill>
                  <a:latin typeface="Arial" panose="020B0604020202020204" pitchFamily="34" charset="0"/>
                  <a:cs typeface="Arial" panose="020B0604020202020204" pitchFamily="34" charset="0"/>
                </a:rPr>
                <a:t>Neutral</a:t>
              </a:r>
            </a:p>
          </p:txBody>
        </p:sp>
        <p:grpSp>
          <p:nvGrpSpPr>
            <p:cNvPr id="33" name="Group 32">
              <a:extLst>
                <a:ext uri="{FF2B5EF4-FFF2-40B4-BE49-F238E27FC236}">
                  <a16:creationId xmlns:a16="http://schemas.microsoft.com/office/drawing/2014/main" id="{AF0E90F9-CDF7-CD38-2D1E-8FD10336347F}"/>
                </a:ext>
              </a:extLst>
            </p:cNvPr>
            <p:cNvGrpSpPr>
              <a:grpSpLocks noChangeAspect="1"/>
            </p:cNvGrpSpPr>
            <p:nvPr/>
          </p:nvGrpSpPr>
          <p:grpSpPr>
            <a:xfrm>
              <a:off x="11069401" y="979202"/>
              <a:ext cx="342268" cy="313200"/>
              <a:chOff x="11075627" y="402317"/>
              <a:chExt cx="525527" cy="480895"/>
            </a:xfrm>
          </p:grpSpPr>
          <p:pic>
            <p:nvPicPr>
              <p:cNvPr id="34" name="Graphic 33" descr="Arrow: Straight with solid fill">
                <a:extLst>
                  <a:ext uri="{FF2B5EF4-FFF2-40B4-BE49-F238E27FC236}">
                    <a16:creationId xmlns:a16="http://schemas.microsoft.com/office/drawing/2014/main" id="{4C1244AE-797B-5568-4F9E-5B7E06AA1C67}"/>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rot="10800000">
                <a:off x="11183549" y="402317"/>
                <a:ext cx="417605" cy="410138"/>
              </a:xfrm>
              <a:prstGeom prst="rect">
                <a:avLst/>
              </a:prstGeom>
            </p:spPr>
          </p:pic>
          <p:pic>
            <p:nvPicPr>
              <p:cNvPr id="35" name="Graphic 34" descr="Arrow: Straight with solid fill">
                <a:extLst>
                  <a:ext uri="{FF2B5EF4-FFF2-40B4-BE49-F238E27FC236}">
                    <a16:creationId xmlns:a16="http://schemas.microsoft.com/office/drawing/2014/main" id="{0F45D3BF-B50C-8122-7E35-B1267DF1D2B2}"/>
                  </a:ext>
                </a:extLst>
              </p:cNvPr>
              <p:cNvPicPr>
                <a:picLocks noChangeAspect="1"/>
              </p:cNvPicPr>
              <p:nvPr userDrawn="1"/>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11075627" y="473074"/>
                <a:ext cx="417605" cy="410138"/>
              </a:xfrm>
              <a:prstGeom prst="rect">
                <a:avLst/>
              </a:prstGeom>
            </p:spPr>
          </p:pic>
        </p:grpSp>
      </p:grpSp>
      <p:sp>
        <p:nvSpPr>
          <p:cNvPr id="37" name="Footer Placeholder 4">
            <a:extLst>
              <a:ext uri="{FF2B5EF4-FFF2-40B4-BE49-F238E27FC236}">
                <a16:creationId xmlns:a16="http://schemas.microsoft.com/office/drawing/2014/main" id="{26242663-08A4-0B0A-22CE-7E2391C8905C}"/>
              </a:ext>
            </a:extLst>
          </p:cNvPr>
          <p:cNvSpPr>
            <a:spLocks noGrp="1"/>
          </p:cNvSpPr>
          <p:nvPr>
            <p:ph type="ftr" sz="quarter" idx="3"/>
          </p:nvPr>
        </p:nvSpPr>
        <p:spPr>
          <a:xfrm>
            <a:off x="7350369" y="6408000"/>
            <a:ext cx="3176758" cy="309600"/>
          </a:xfrm>
          <a:prstGeom prst="rect">
            <a:avLst/>
          </a:prstGeom>
          <a:ln>
            <a:noFill/>
          </a:ln>
        </p:spPr>
        <p:txBody>
          <a:bodyPr vert="horz" lIns="91440" tIns="45720" rIns="91440" bIns="45720" rtlCol="0" anchor="ctr"/>
          <a:lstStyle>
            <a:lvl1pPr algn="l">
              <a:defRPr sz="1000" b="0" i="0">
                <a:solidFill>
                  <a:schemeClr val="tx1"/>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Tree>
    <p:extLst>
      <p:ext uri="{BB962C8B-B14F-4D97-AF65-F5344CB8AC3E}">
        <p14:creationId xmlns:p14="http://schemas.microsoft.com/office/powerpoint/2010/main" val="1944532651"/>
      </p:ext>
    </p:extLst>
  </p:cSld>
  <p:clrMapOvr>
    <a:masterClrMapping/>
  </p:clrMapOvr>
  <p:extLst>
    <p:ext uri="{DCECCB84-F9BA-43D5-87BE-67443E8EF086}">
      <p15:sldGuideLst xmlns:p15="http://schemas.microsoft.com/office/powerpoint/2012/main">
        <p15:guide id="1" pos="551" userDrawn="1">
          <p15:clr>
            <a:srgbClr val="5ACBF0"/>
          </p15:clr>
        </p15:guide>
        <p15:guide id="2" pos="2479" userDrawn="1">
          <p15:clr>
            <a:srgbClr val="5ACBF0"/>
          </p15:clr>
        </p15:guide>
        <p15:guide id="3" pos="2955" userDrawn="1">
          <p15:clr>
            <a:srgbClr val="5ACBF0"/>
          </p15:clr>
        </p15:guide>
        <p15:guide id="4" pos="4861" userDrawn="1">
          <p15:clr>
            <a:srgbClr val="5ACBF0"/>
          </p15:clr>
        </p15:guide>
        <p15:guide id="5" pos="7242" userDrawn="1">
          <p15:clr>
            <a:srgbClr val="5ACBF0"/>
          </p15:clr>
        </p15:guide>
        <p15:guide id="6" pos="5337" userDrawn="1">
          <p15:clr>
            <a:srgbClr val="5ACBF0"/>
          </p15:clr>
        </p15:guide>
        <p15:guide id="7" orient="horz" pos="1094" userDrawn="1">
          <p15:clr>
            <a:srgbClr val="5ACBF0"/>
          </p15:clr>
        </p15:guide>
        <p15:guide id="8" orient="horz" pos="1933" userDrawn="1">
          <p15:clr>
            <a:srgbClr val="5ACBF0"/>
          </p15:clr>
        </p15:guide>
        <p15:guide id="9" orient="horz" pos="799" userDrawn="1">
          <p15:clr>
            <a:srgbClr val="F26B43"/>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Key Data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11430000" cy="215999"/>
          </a:xfrm>
          <a:noFill/>
        </p:spPr>
        <p:txBody>
          <a:bodyPr lIns="0">
            <a:noAutofit/>
          </a:bodyPr>
          <a:lstStyle>
            <a:lvl1pPr>
              <a:defRPr sz="1000" b="0">
                <a:solidFill>
                  <a:schemeClr val="bg2">
                    <a:lumMod val="10000"/>
                  </a:schemeClr>
                </a:solidFill>
              </a:defRPr>
            </a:lvl1pPr>
            <a:lvl5pPr>
              <a:defRPr sz="700">
                <a:solidFill>
                  <a:schemeClr val="tx1"/>
                </a:solidFill>
              </a:defRPr>
            </a:lvl5pPr>
          </a:lstStyle>
          <a:p>
            <a:pPr lvl="0"/>
            <a:r>
              <a:rPr lang="en-US"/>
              <a:t>Add your DATA source here</a:t>
            </a:r>
            <a:endParaRPr lang="en-GB"/>
          </a:p>
        </p:txBody>
      </p:sp>
      <p:sp>
        <p:nvSpPr>
          <p:cNvPr id="6" name="Table Placeholder 5">
            <a:extLst>
              <a:ext uri="{FF2B5EF4-FFF2-40B4-BE49-F238E27FC236}">
                <a16:creationId xmlns:a16="http://schemas.microsoft.com/office/drawing/2014/main" id="{846E78D3-677C-7EEB-5DCC-838E09C1BFD1}"/>
              </a:ext>
            </a:extLst>
          </p:cNvPr>
          <p:cNvSpPr>
            <a:spLocks noGrp="1"/>
          </p:cNvSpPr>
          <p:nvPr>
            <p:ph type="tbl" sz="quarter" idx="16"/>
          </p:nvPr>
        </p:nvSpPr>
        <p:spPr>
          <a:xfrm>
            <a:off x="413548" y="1299600"/>
            <a:ext cx="11364913" cy="4613838"/>
          </a:xfrm>
          <a:noFill/>
        </p:spPr>
        <p:txBody>
          <a:bodyPr/>
          <a:lstStyle>
            <a:lvl1pPr algn="ctr">
              <a:defRPr b="0"/>
            </a:lvl1pPr>
          </a:lstStyle>
          <a:p>
            <a:endParaRPr lang="en-GB"/>
          </a:p>
        </p:txBody>
      </p:sp>
      <p:cxnSp>
        <p:nvCxnSpPr>
          <p:cNvPr id="9" name="Straight Connector 8">
            <a:extLst>
              <a:ext uri="{FF2B5EF4-FFF2-40B4-BE49-F238E27FC236}">
                <a16:creationId xmlns:a16="http://schemas.microsoft.com/office/drawing/2014/main" id="{526D3976-2A22-AC99-38B1-334077FBFE3C}"/>
              </a:ext>
            </a:extLst>
          </p:cNvPr>
          <p:cNvCxnSpPr>
            <a:cxnSpLocks/>
          </p:cNvCxnSpPr>
          <p:nvPr userDrawn="1"/>
        </p:nvCxnSpPr>
        <p:spPr>
          <a:xfrm>
            <a:off x="2702950"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4D655DF8-9B8B-AE2D-32DF-8FC07F7AFF62}"/>
              </a:ext>
            </a:extLst>
          </p:cNvPr>
          <p:cNvCxnSpPr>
            <a:cxnSpLocks/>
          </p:cNvCxnSpPr>
          <p:nvPr userDrawn="1"/>
        </p:nvCxnSpPr>
        <p:spPr>
          <a:xfrm>
            <a:off x="5488473"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BBCD3406-520C-A141-9DA1-97DD0BA0E6D9}"/>
              </a:ext>
            </a:extLst>
          </p:cNvPr>
          <p:cNvCxnSpPr>
            <a:cxnSpLocks/>
          </p:cNvCxnSpPr>
          <p:nvPr userDrawn="1"/>
        </p:nvCxnSpPr>
        <p:spPr>
          <a:xfrm>
            <a:off x="7411982"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sp>
        <p:nvSpPr>
          <p:cNvPr id="4" name="Footer Placeholder 4">
            <a:extLst>
              <a:ext uri="{FF2B5EF4-FFF2-40B4-BE49-F238E27FC236}">
                <a16:creationId xmlns:a16="http://schemas.microsoft.com/office/drawing/2014/main" id="{C284DBBD-D039-B67E-351C-CDC8187F252A}"/>
              </a:ext>
            </a:extLst>
          </p:cNvPr>
          <p:cNvSpPr>
            <a:spLocks noGrp="1"/>
          </p:cNvSpPr>
          <p:nvPr>
            <p:ph type="ftr" sz="quarter" idx="3"/>
          </p:nvPr>
        </p:nvSpPr>
        <p:spPr>
          <a:xfrm>
            <a:off x="7350369" y="6408000"/>
            <a:ext cx="3176758" cy="309600"/>
          </a:xfrm>
          <a:prstGeom prst="rect">
            <a:avLst/>
          </a:prstGeom>
          <a:ln>
            <a:noFill/>
          </a:ln>
        </p:spPr>
        <p:txBody>
          <a:bodyPr vert="horz" lIns="91440" tIns="45720" rIns="91440" bIns="45720" rtlCol="0" anchor="ctr"/>
          <a:lstStyle>
            <a:lvl1pPr algn="l">
              <a:defRPr sz="1000" b="0" i="0">
                <a:solidFill>
                  <a:schemeClr val="tx1"/>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Tree>
    <p:extLst>
      <p:ext uri="{BB962C8B-B14F-4D97-AF65-F5344CB8AC3E}">
        <p14:creationId xmlns:p14="http://schemas.microsoft.com/office/powerpoint/2010/main" val="3372478377"/>
      </p:ext>
    </p:extLst>
  </p:cSld>
  <p:clrMapOvr>
    <a:masterClrMapping/>
  </p:clrMapOvr>
  <p:extLst>
    <p:ext uri="{DCECCB84-F9BA-43D5-87BE-67443E8EF086}">
      <p15:sldGuideLst xmlns:p15="http://schemas.microsoft.com/office/powerpoint/2012/main">
        <p15:guide id="1" orient="horz" pos="618" userDrawn="1">
          <p15:clr>
            <a:srgbClr val="F26B43"/>
          </p15:clr>
        </p15:guide>
        <p15:guide id="2" orient="horz" pos="3725" userDrawn="1">
          <p15:clr>
            <a:srgbClr val="F26B43"/>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 Content + Text -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3537" y="1188000"/>
            <a:ext cx="7560000" cy="288000"/>
          </a:xfrm>
          <a:noFill/>
        </p:spPr>
        <p:txBody>
          <a:bodyPr lIns="0">
            <a:noAutofit/>
          </a:bodyPr>
          <a:lstStyle>
            <a:lvl1pPr>
              <a:defRPr sz="1300">
                <a:solidFill>
                  <a:schemeClr val="accent6"/>
                </a:solidFill>
              </a:defRPr>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2749" y="1524000"/>
            <a:ext cx="7560000" cy="4356000"/>
          </a:xfrm>
          <a:noFill/>
        </p:spPr>
        <p:txBody>
          <a:bodyPr/>
          <a:lstStyle>
            <a:lvl1pPr algn="ctr">
              <a:defRPr b="0"/>
            </a:lvl1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hasCustomPrompt="1"/>
          </p:nvPr>
        </p:nvSpPr>
        <p:spPr>
          <a:xfrm>
            <a:off x="7998461" y="1187972"/>
            <a:ext cx="3780000" cy="4928400"/>
          </a:xfrm>
          <a:noFill/>
          <a:effectLst/>
        </p:spPr>
        <p:txBody>
          <a:bodyPr vert="horz" lIns="252000" tIns="252000" rIns="252000" bIns="252000" rtlCol="0" anchor="ctr" anchorCtr="0">
            <a:noAutofit/>
          </a:bodyPr>
          <a:lstStyle>
            <a:lvl1pPr>
              <a:defRPr lang="en-US"/>
            </a:lvl1pPr>
            <a:lvl2pPr>
              <a:defRPr lang="en-US"/>
            </a:lvl2pPr>
            <a:lvl3pPr>
              <a:defRPr lang="en-US"/>
            </a:lvl3pPr>
            <a:lvl4pPr>
              <a:defRPr lang="en-US"/>
            </a:lvl4pPr>
            <a:lvl5pPr>
              <a:defRPr lang="en-GB"/>
            </a:lvl5pPr>
          </a:lstStyle>
          <a:p>
            <a:pPr lvl="0"/>
            <a:r>
              <a:rPr lang="en-US"/>
              <a:t>Active Headline</a:t>
            </a:r>
          </a:p>
          <a:p>
            <a:pPr lvl="1"/>
            <a:r>
              <a:rPr lang="en-US"/>
              <a:t>Body text</a:t>
            </a:r>
          </a:p>
          <a:p>
            <a:pPr lvl="2"/>
            <a:r>
              <a:rPr lang="en-US"/>
              <a:t>Bullets</a:t>
            </a:r>
          </a:p>
          <a:p>
            <a:pPr lvl="3"/>
            <a:r>
              <a:rPr lang="en-US"/>
              <a:t>2nd level bullets</a:t>
            </a:r>
          </a:p>
          <a:p>
            <a:pPr lvl="4"/>
            <a:r>
              <a:rPr lang="en-US"/>
              <a:t>Notes tex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5940000"/>
            <a:ext cx="7585200" cy="198000"/>
          </a:xfrm>
          <a:noFill/>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cxnSp>
        <p:nvCxnSpPr>
          <p:cNvPr id="11" name="Straight Connector 10">
            <a:extLst>
              <a:ext uri="{FF2B5EF4-FFF2-40B4-BE49-F238E27FC236}">
                <a16:creationId xmlns:a16="http://schemas.microsoft.com/office/drawing/2014/main" id="{15E3EA81-6445-7608-4633-F6F8504B0A9F}"/>
              </a:ext>
            </a:extLst>
          </p:cNvPr>
          <p:cNvCxnSpPr>
            <a:cxnSpLocks/>
          </p:cNvCxnSpPr>
          <p:nvPr userDrawn="1"/>
        </p:nvCxnSpPr>
        <p:spPr>
          <a:xfrm>
            <a:off x="2702950"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804DA853-A694-FFF6-1CFB-15D6743F89DD}"/>
              </a:ext>
            </a:extLst>
          </p:cNvPr>
          <p:cNvCxnSpPr>
            <a:cxnSpLocks/>
          </p:cNvCxnSpPr>
          <p:nvPr userDrawn="1"/>
        </p:nvCxnSpPr>
        <p:spPr>
          <a:xfrm>
            <a:off x="5488473"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9236F744-A735-4131-18BB-25EFE09079B2}"/>
              </a:ext>
            </a:extLst>
          </p:cNvPr>
          <p:cNvCxnSpPr>
            <a:cxnSpLocks/>
          </p:cNvCxnSpPr>
          <p:nvPr userDrawn="1"/>
        </p:nvCxnSpPr>
        <p:spPr>
          <a:xfrm>
            <a:off x="7411982"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sp>
        <p:nvSpPr>
          <p:cNvPr id="4" name="Footer Placeholder 4">
            <a:extLst>
              <a:ext uri="{FF2B5EF4-FFF2-40B4-BE49-F238E27FC236}">
                <a16:creationId xmlns:a16="http://schemas.microsoft.com/office/drawing/2014/main" id="{3BDAF384-0F02-877B-BAF0-BBD07680335D}"/>
              </a:ext>
            </a:extLst>
          </p:cNvPr>
          <p:cNvSpPr>
            <a:spLocks noGrp="1"/>
          </p:cNvSpPr>
          <p:nvPr>
            <p:ph type="ftr" sz="quarter" idx="3"/>
          </p:nvPr>
        </p:nvSpPr>
        <p:spPr>
          <a:xfrm>
            <a:off x="7350369" y="6408000"/>
            <a:ext cx="3176758" cy="309600"/>
          </a:xfrm>
          <a:prstGeom prst="rect">
            <a:avLst/>
          </a:prstGeom>
          <a:ln>
            <a:noFill/>
          </a:ln>
        </p:spPr>
        <p:txBody>
          <a:bodyPr vert="horz" lIns="91440" tIns="45720" rIns="91440" bIns="45720" rtlCol="0" anchor="ctr"/>
          <a:lstStyle>
            <a:lvl1pPr algn="l">
              <a:defRPr sz="1000" b="0" i="0">
                <a:solidFill>
                  <a:schemeClr val="tx1"/>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Tree>
    <p:extLst>
      <p:ext uri="{BB962C8B-B14F-4D97-AF65-F5344CB8AC3E}">
        <p14:creationId xmlns:p14="http://schemas.microsoft.com/office/powerpoint/2010/main" val="864113344"/>
      </p:ext>
    </p:extLst>
  </p:cSld>
  <p:clrMapOvr>
    <a:masterClrMapping/>
  </p:clrMapOvr>
  <p:extLst>
    <p:ext uri="{DCECCB84-F9BA-43D5-87BE-67443E8EF086}">
      <p15:sldGuideLst xmlns:p15="http://schemas.microsoft.com/office/powerpoint/2012/main">
        <p15:guide id="1" pos="665" userDrawn="1">
          <p15:clr>
            <a:srgbClr val="5ACBF0"/>
          </p15:clr>
        </p15:guide>
        <p15:guide id="2" pos="4747" userDrawn="1">
          <p15:clr>
            <a:srgbClr val="5ACBF0"/>
          </p15:clr>
        </p15:guide>
        <p15:guide id="3" orient="horz" pos="1457" userDrawn="1">
          <p15:clr>
            <a:srgbClr val="5ACBF0"/>
          </p15:clr>
        </p15:guide>
        <p15:guide id="4" orient="horz" pos="3294" userDrawn="1">
          <p15:clr>
            <a:srgbClr val="5ACBF0"/>
          </p15:clr>
        </p15:guide>
        <p15:guide id="5" orient="horz" pos="913" userDrawn="1">
          <p15:clr>
            <a:srgbClr val="F26B43"/>
          </p15:clr>
        </p15:guide>
        <p15:guide id="6" orient="horz" pos="3702" userDrawn="1">
          <p15:clr>
            <a:srgbClr val="F26B43"/>
          </p15:clr>
        </p15:guide>
        <p15:guide id="7" pos="5042" userDrawn="1">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41_Divider 4">
    <p:spTree>
      <p:nvGrpSpPr>
        <p:cNvPr id="1" name=""/>
        <p:cNvGrpSpPr/>
        <p:nvPr/>
      </p:nvGrpSpPr>
      <p:grpSpPr>
        <a:xfrm>
          <a:off x="0" y="0"/>
          <a:ext cx="0" cy="0"/>
          <a:chOff x="0" y="0"/>
          <a:chExt cx="0" cy="0"/>
        </a:xfrm>
      </p:grpSpPr>
      <p:pic>
        <p:nvPicPr>
          <p:cNvPr id="3" name="Picture 2" descr="A large truck on a dirt road&#10;&#10;Description automatically generated">
            <a:extLst>
              <a:ext uri="{FF2B5EF4-FFF2-40B4-BE49-F238E27FC236}">
                <a16:creationId xmlns:a16="http://schemas.microsoft.com/office/drawing/2014/main" id="{F01FEFAD-00EB-2991-9BFD-F1C09C45FFD4}"/>
              </a:ext>
            </a:extLst>
          </p:cNvPr>
          <p:cNvPicPr>
            <a:picLocks noChangeAspect="1"/>
          </p:cNvPicPr>
          <p:nvPr userDrawn="1"/>
        </p:nvPicPr>
        <p:blipFill>
          <a:blip r:embed="rId2"/>
          <a:stretch>
            <a:fillRect/>
          </a:stretch>
        </p:blipFill>
        <p:spPr>
          <a:xfrm>
            <a:off x="7121" y="-4970"/>
            <a:ext cx="12200836" cy="6862970"/>
          </a:xfrm>
          <a:prstGeom prst="rect">
            <a:avLst/>
          </a:prstGeom>
        </p:spPr>
      </p:pic>
      <p:sp>
        <p:nvSpPr>
          <p:cNvPr id="12" name="Rectangle 11">
            <a:extLst>
              <a:ext uri="{FF2B5EF4-FFF2-40B4-BE49-F238E27FC236}">
                <a16:creationId xmlns:a16="http://schemas.microsoft.com/office/drawing/2014/main" id="{34BA1656-A1F4-C928-82D9-3E90CABC9B58}"/>
              </a:ext>
            </a:extLst>
          </p:cNvPr>
          <p:cNvSpPr/>
          <p:nvPr userDrawn="1"/>
        </p:nvSpPr>
        <p:spPr>
          <a:xfrm>
            <a:off x="0" y="0"/>
            <a:ext cx="12207957" cy="6858000"/>
          </a:xfrm>
          <a:prstGeom prst="rect">
            <a:avLst/>
          </a:prstGeom>
          <a:gradFill flip="none" rotWithShape="1">
            <a:gsLst>
              <a:gs pos="0">
                <a:srgbClr val="040010"/>
              </a:gs>
              <a:gs pos="99000">
                <a:srgbClr val="E1E6EB">
                  <a:alpha val="0"/>
                </a:srgb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F5470F66-68CB-5759-B6F7-6E9BCAB6C367}"/>
              </a:ext>
            </a:extLst>
          </p:cNvPr>
          <p:cNvSpPr>
            <a:spLocks noGrp="1"/>
          </p:cNvSpPr>
          <p:nvPr>
            <p:ph type="body" sz="quarter" idx="13"/>
          </p:nvPr>
        </p:nvSpPr>
        <p:spPr>
          <a:xfrm>
            <a:off x="1419617" y="1974233"/>
            <a:ext cx="8074025" cy="2971800"/>
          </a:xfrm>
          <a:prstGeom prst="rect">
            <a:avLst/>
          </a:prstGeom>
        </p:spPr>
        <p:txBody>
          <a:bodyPr>
            <a:noAutofit/>
          </a:bodyPr>
          <a:lstStyle>
            <a:lvl1pPr>
              <a:defRPr sz="3200"/>
            </a:lvl1pPr>
            <a:lvl2pPr>
              <a:defRPr sz="2800"/>
            </a:lvl2pPr>
            <a:lvl3pPr>
              <a:defRPr sz="2400"/>
            </a:lvl3pPr>
            <a:lvl4pPr>
              <a:defRPr sz="2000"/>
            </a:lvl4pPr>
            <a:lvl5pP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8" name="Straight Connector 17">
            <a:extLst>
              <a:ext uri="{FF2B5EF4-FFF2-40B4-BE49-F238E27FC236}">
                <a16:creationId xmlns:a16="http://schemas.microsoft.com/office/drawing/2014/main" id="{2281AFFB-9450-87C4-EC5E-9F3098E21E8B}"/>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D344B035-4975-BB69-BA44-C6C8A458112E}"/>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0E56A41D-9230-93EC-4D25-1DE55291070C}"/>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4" name="Picture 3" descr="A black background with white text&#10;&#10;Description automatically generated">
            <a:extLst>
              <a:ext uri="{FF2B5EF4-FFF2-40B4-BE49-F238E27FC236}">
                <a16:creationId xmlns:a16="http://schemas.microsoft.com/office/drawing/2014/main" id="{4190344E-E22A-7EC7-41B8-07D79E987D24}"/>
              </a:ext>
            </a:extLst>
          </p:cNvPr>
          <p:cNvPicPr>
            <a:picLocks noChangeAspect="1"/>
          </p:cNvPicPr>
          <p:nvPr userDrawn="1"/>
        </p:nvPicPr>
        <p:blipFill rotWithShape="1">
          <a:blip r:embed="rId3"/>
          <a:srcRect l="15089" t="30009" r="30562" b="32708"/>
          <a:stretch/>
        </p:blipFill>
        <p:spPr>
          <a:xfrm>
            <a:off x="258416" y="241982"/>
            <a:ext cx="2405271" cy="928152"/>
          </a:xfrm>
          <a:prstGeom prst="rect">
            <a:avLst/>
          </a:prstGeom>
        </p:spPr>
      </p:pic>
      <p:sp>
        <p:nvSpPr>
          <p:cNvPr id="2" name="Footer Placeholder 4">
            <a:extLst>
              <a:ext uri="{FF2B5EF4-FFF2-40B4-BE49-F238E27FC236}">
                <a16:creationId xmlns:a16="http://schemas.microsoft.com/office/drawing/2014/main" id="{C6872C57-0BA0-D50C-6A37-77E69991A6E8}"/>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bg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Stainless Steel &amp; Raw Materials in an Era of Uncertainty</a:t>
            </a:r>
          </a:p>
        </p:txBody>
      </p:sp>
      <p:sp>
        <p:nvSpPr>
          <p:cNvPr id="6" name="TextBox 5">
            <a:extLst>
              <a:ext uri="{FF2B5EF4-FFF2-40B4-BE49-F238E27FC236}">
                <a16:creationId xmlns:a16="http://schemas.microsoft.com/office/drawing/2014/main" id="{9AD5C546-CD82-DF8A-560C-48F99DD1E21B}"/>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bg1"/>
                </a:solidFill>
                <a:latin typeface="Garamond" panose="02020404030301010803" pitchFamily="18" charset="0"/>
                <a:ea typeface="Helvetica Neue UltraLight" panose="02000206000000020004" pitchFamily="2" charset="0"/>
              </a:rPr>
              <a:t>expert</a:t>
            </a:r>
            <a:r>
              <a:rPr lang="en-GB" sz="1000" b="0" i="0">
                <a:solidFill>
                  <a:schemeClr val="bg1"/>
                </a:solidFill>
                <a:latin typeface="Helvetica Neue UltraLight" panose="02000206000000020004" pitchFamily="2" charset="0"/>
                <a:ea typeface="Helvetica Neue UltraLight" panose="02000206000000020004" pitchFamily="2" charset="0"/>
              </a:rPr>
              <a:t> </a:t>
            </a:r>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8" name="Slide Number Placeholder 5">
            <a:extLst>
              <a:ext uri="{FF2B5EF4-FFF2-40B4-BE49-F238E27FC236}">
                <a16:creationId xmlns:a16="http://schemas.microsoft.com/office/drawing/2014/main" id="{744636C7-C749-1C83-1882-0FBA0643F94C}"/>
              </a:ext>
            </a:extLst>
          </p:cNvPr>
          <p:cNvSpPr>
            <a:spLocks noGrp="1"/>
          </p:cNvSpPr>
          <p:nvPr>
            <p:ph type="sldNum" sz="quarter" idx="4"/>
          </p:nvPr>
        </p:nvSpPr>
        <p:spPr>
          <a:xfrm>
            <a:off x="10913166" y="6193231"/>
            <a:ext cx="1133060" cy="544512"/>
          </a:xfrm>
          <a:prstGeom prst="rect">
            <a:avLst/>
          </a:prstGeom>
          <a:ln>
            <a:noFill/>
          </a:ln>
        </p:spPr>
        <p:txBody>
          <a:bodyPr vert="horz" lIns="91440" tIns="45720" rIns="91440" bIns="45720" rtlCol="0" anchor="ctr"/>
          <a:lstStyle>
            <a:lvl1pPr algn="r">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562BA7E0-5F5E-EE41-AE8D-BD30ED9E17AD}" type="slidenum">
              <a:rPr lang="en-GB" smtClean="0"/>
              <a:pPr/>
              <a:t>‹#›</a:t>
            </a:fld>
            <a:endParaRPr lang="en-GB"/>
          </a:p>
        </p:txBody>
      </p:sp>
      <p:sp>
        <p:nvSpPr>
          <p:cNvPr id="5" name="Date Placeholder 3">
            <a:extLst>
              <a:ext uri="{FF2B5EF4-FFF2-40B4-BE49-F238E27FC236}">
                <a16:creationId xmlns:a16="http://schemas.microsoft.com/office/drawing/2014/main" id="{766DEF34-4D5D-D248-65F5-EA400F623842}"/>
              </a:ext>
            </a:extLst>
          </p:cNvPr>
          <p:cNvSpPr>
            <a:spLocks noGrp="1"/>
          </p:cNvSpPr>
          <p:nvPr>
            <p:ph type="dt" sz="half" idx="2"/>
          </p:nvPr>
        </p:nvSpPr>
        <p:spPr>
          <a:xfrm>
            <a:off x="5406889" y="6429965"/>
            <a:ext cx="1706400" cy="307778"/>
          </a:xfrm>
          <a:prstGeom prst="rect">
            <a:avLst/>
          </a:prstGeom>
          <a:ln>
            <a:noFill/>
          </a:ln>
        </p:spPr>
        <p:txBody>
          <a:bodyPr vert="horz" lIns="91440" tIns="45720" rIns="91440" bIns="45720" rtlCol="0" anchor="ctr"/>
          <a:lstStyle>
            <a:lvl1pPr algn="l">
              <a:defRPr sz="1200" b="0" i="1">
                <a:solidFill>
                  <a:schemeClr val="bg1"/>
                </a:solidFill>
                <a:latin typeface="Garamond" panose="02020404030301010803" pitchFamily="18" charset="0"/>
                <a:ea typeface="Helvetica Neue" panose="02000503000000020004" pitchFamily="2" charset="0"/>
                <a:cs typeface="Helvetica Neue" panose="02000503000000020004" pitchFamily="2" charset="0"/>
              </a:defRPr>
            </a:lvl1pPr>
          </a:lstStyle>
          <a:p>
            <a:r>
              <a:rPr lang="en-US"/>
              <a:t>October 2025</a:t>
            </a:r>
            <a:endParaRPr lang="en-GB"/>
          </a:p>
        </p:txBody>
      </p:sp>
    </p:spTree>
    <p:extLst>
      <p:ext uri="{BB962C8B-B14F-4D97-AF65-F5344CB8AC3E}">
        <p14:creationId xmlns:p14="http://schemas.microsoft.com/office/powerpoint/2010/main" val="1712092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Content + Text -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3536" y="1188000"/>
            <a:ext cx="7585200" cy="288000"/>
          </a:xfrm>
          <a:noFill/>
        </p:spPr>
        <p:txBody>
          <a:bodyPr lIns="0">
            <a:noAutofit/>
          </a:bodyPr>
          <a:lstStyle>
            <a:lvl1pPr>
              <a:defRPr sz="1300">
                <a:solidFill>
                  <a:schemeClr val="accent6"/>
                </a:solidFill>
              </a:defRPr>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3999" y="1528116"/>
            <a:ext cx="7585200" cy="2016000"/>
          </a:xfrm>
          <a:noFill/>
        </p:spPr>
        <p:txBody>
          <a:bodyPr/>
          <a:lstStyle>
            <a:lvl1pPr algn="ctr">
              <a:defRPr b="0"/>
            </a:lvl1pPr>
            <a:lvl5pPr>
              <a:defRPr/>
            </a:lvl5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hasCustomPrompt="1"/>
          </p:nvPr>
        </p:nvSpPr>
        <p:spPr>
          <a:xfrm>
            <a:off x="7998461" y="1187972"/>
            <a:ext cx="3780000" cy="4928400"/>
          </a:xfrm>
          <a:noFill/>
          <a:effectLst/>
        </p:spPr>
        <p:txBody>
          <a:bodyPr vert="horz" lIns="252000" tIns="252000" rIns="252000" bIns="252000" rtlCol="0" anchor="ctr" anchorCtr="0">
            <a:noAutofit/>
          </a:bodyPr>
          <a:lstStyle>
            <a:lvl1pPr>
              <a:defRPr lang="en-US"/>
            </a:lvl1pPr>
            <a:lvl2pPr>
              <a:defRPr lang="en-US"/>
            </a:lvl2pPr>
            <a:lvl3pPr>
              <a:defRPr lang="en-US"/>
            </a:lvl3pPr>
            <a:lvl4pPr>
              <a:defRPr lang="en-US"/>
            </a:lvl4pPr>
            <a:lvl5pPr>
              <a:defRPr lang="en-GB"/>
            </a:lvl5pPr>
          </a:lstStyle>
          <a:p>
            <a:pPr lvl="0"/>
            <a:r>
              <a:rPr lang="en-US"/>
              <a:t>Active Headline</a:t>
            </a:r>
          </a:p>
          <a:p>
            <a:pPr lvl="1"/>
            <a:r>
              <a:rPr lang="en-US"/>
              <a:t>Body text</a:t>
            </a:r>
          </a:p>
          <a:p>
            <a:pPr lvl="2"/>
            <a:r>
              <a:rPr lang="en-US"/>
              <a:t>Bullets</a:t>
            </a:r>
          </a:p>
          <a:p>
            <a:pPr lvl="3"/>
            <a:r>
              <a:rPr lang="en-US"/>
              <a:t>2nd level bullets</a:t>
            </a:r>
          </a:p>
          <a:p>
            <a:pPr lvl="4"/>
            <a:r>
              <a:rPr lang="en-US"/>
              <a:t>Notes tex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5956200"/>
            <a:ext cx="7585200" cy="215999"/>
          </a:xfrm>
          <a:noFill/>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9" name="Text Placeholder 5">
            <a:extLst>
              <a:ext uri="{FF2B5EF4-FFF2-40B4-BE49-F238E27FC236}">
                <a16:creationId xmlns:a16="http://schemas.microsoft.com/office/drawing/2014/main" id="{D49A370F-20C1-AE2C-2D28-B67039D93F62}"/>
              </a:ext>
            </a:extLst>
          </p:cNvPr>
          <p:cNvSpPr>
            <a:spLocks noGrp="1"/>
          </p:cNvSpPr>
          <p:nvPr>
            <p:ph type="body" sz="quarter" idx="16" hasCustomPrompt="1"/>
          </p:nvPr>
        </p:nvSpPr>
        <p:spPr>
          <a:xfrm>
            <a:off x="414000" y="3586099"/>
            <a:ext cx="7585200" cy="288000"/>
          </a:xfrm>
          <a:noFill/>
        </p:spPr>
        <p:txBody>
          <a:bodyPr lIns="0">
            <a:noAutofit/>
          </a:bodyPr>
          <a:lstStyle>
            <a:lvl1pPr>
              <a:defRPr sz="1300">
                <a:solidFill>
                  <a:schemeClr val="accent6"/>
                </a:solidFill>
              </a:defRPr>
            </a:lvl1pPr>
          </a:lstStyle>
          <a:p>
            <a:pPr lvl="0"/>
            <a:r>
              <a:rPr lang="en-US"/>
              <a:t>Chart headline</a:t>
            </a:r>
          </a:p>
        </p:txBody>
      </p:sp>
      <p:sp>
        <p:nvSpPr>
          <p:cNvPr id="11" name="Content Placeholder 7">
            <a:extLst>
              <a:ext uri="{FF2B5EF4-FFF2-40B4-BE49-F238E27FC236}">
                <a16:creationId xmlns:a16="http://schemas.microsoft.com/office/drawing/2014/main" id="{9AE049FE-3B8F-256A-D7E8-577C76D40781}"/>
              </a:ext>
            </a:extLst>
          </p:cNvPr>
          <p:cNvSpPr>
            <a:spLocks noGrp="1"/>
          </p:cNvSpPr>
          <p:nvPr>
            <p:ph sz="quarter" idx="17" hasCustomPrompt="1"/>
          </p:nvPr>
        </p:nvSpPr>
        <p:spPr>
          <a:xfrm>
            <a:off x="413027" y="3915738"/>
            <a:ext cx="7585200" cy="2016000"/>
          </a:xfrm>
          <a:noFill/>
        </p:spPr>
        <p:txBody>
          <a:bodyPr/>
          <a:lstStyle>
            <a:lvl1pPr algn="ctr">
              <a:defRPr b="0"/>
            </a:lvl1pPr>
            <a:lvl5pPr>
              <a:defRPr/>
            </a:lvl5pPr>
          </a:lstStyle>
          <a:p>
            <a:pPr lvl="0"/>
            <a:r>
              <a:rPr lang="en-US"/>
              <a:t>Insert Chart</a:t>
            </a:r>
            <a:endParaRPr lang="en-GB"/>
          </a:p>
        </p:txBody>
      </p:sp>
      <p:cxnSp>
        <p:nvCxnSpPr>
          <p:cNvPr id="14" name="Straight Connector 13">
            <a:extLst>
              <a:ext uri="{FF2B5EF4-FFF2-40B4-BE49-F238E27FC236}">
                <a16:creationId xmlns:a16="http://schemas.microsoft.com/office/drawing/2014/main" id="{912155C2-5ADD-9949-E506-C145D26AE36E}"/>
              </a:ext>
            </a:extLst>
          </p:cNvPr>
          <p:cNvCxnSpPr>
            <a:cxnSpLocks/>
          </p:cNvCxnSpPr>
          <p:nvPr userDrawn="1"/>
        </p:nvCxnSpPr>
        <p:spPr>
          <a:xfrm>
            <a:off x="2702950"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7172C2ED-D924-BFC9-F84C-E663241F6E36}"/>
              </a:ext>
            </a:extLst>
          </p:cNvPr>
          <p:cNvCxnSpPr>
            <a:cxnSpLocks/>
          </p:cNvCxnSpPr>
          <p:nvPr userDrawn="1"/>
        </p:nvCxnSpPr>
        <p:spPr>
          <a:xfrm>
            <a:off x="5488473"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0B0806BC-24B0-1806-59B1-F562EB9E727B}"/>
              </a:ext>
            </a:extLst>
          </p:cNvPr>
          <p:cNvCxnSpPr>
            <a:cxnSpLocks/>
          </p:cNvCxnSpPr>
          <p:nvPr userDrawn="1"/>
        </p:nvCxnSpPr>
        <p:spPr>
          <a:xfrm>
            <a:off x="7411982"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sp>
        <p:nvSpPr>
          <p:cNvPr id="4" name="Footer Placeholder 4">
            <a:extLst>
              <a:ext uri="{FF2B5EF4-FFF2-40B4-BE49-F238E27FC236}">
                <a16:creationId xmlns:a16="http://schemas.microsoft.com/office/drawing/2014/main" id="{FDF13604-F708-3CB0-DDA4-21EC544005E8}"/>
              </a:ext>
            </a:extLst>
          </p:cNvPr>
          <p:cNvSpPr>
            <a:spLocks noGrp="1"/>
          </p:cNvSpPr>
          <p:nvPr>
            <p:ph type="ftr" sz="quarter" idx="3"/>
          </p:nvPr>
        </p:nvSpPr>
        <p:spPr>
          <a:xfrm>
            <a:off x="7350369" y="6408000"/>
            <a:ext cx="3176758" cy="309600"/>
          </a:xfrm>
          <a:prstGeom prst="rect">
            <a:avLst/>
          </a:prstGeom>
          <a:ln>
            <a:noFill/>
          </a:ln>
        </p:spPr>
        <p:txBody>
          <a:bodyPr vert="horz" lIns="91440" tIns="45720" rIns="91440" bIns="45720" rtlCol="0" anchor="ctr"/>
          <a:lstStyle>
            <a:lvl1pPr algn="l">
              <a:defRPr sz="1000" b="0" i="0">
                <a:solidFill>
                  <a:schemeClr val="tx1"/>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Tree>
    <p:extLst>
      <p:ext uri="{BB962C8B-B14F-4D97-AF65-F5344CB8AC3E}">
        <p14:creationId xmlns:p14="http://schemas.microsoft.com/office/powerpoint/2010/main" val="1560689738"/>
      </p:ext>
    </p:extLst>
  </p:cSld>
  <p:clrMapOvr>
    <a:masterClrMapping/>
  </p:clrMapOvr>
  <p:extLst>
    <p:ext uri="{DCECCB84-F9BA-43D5-87BE-67443E8EF086}">
      <p15:sldGuideLst xmlns:p15="http://schemas.microsoft.com/office/powerpoint/2012/main">
        <p15:guide id="1" pos="665" userDrawn="1">
          <p15:clr>
            <a:srgbClr val="5ACBF0"/>
          </p15:clr>
        </p15:guide>
        <p15:guide id="4" pos="4747" userDrawn="1">
          <p15:clr>
            <a:srgbClr val="5ACBF0"/>
          </p15:clr>
        </p15:guide>
        <p15:guide id="5" orient="horz" pos="1071" userDrawn="1">
          <p15:clr>
            <a:srgbClr val="5ACBF0"/>
          </p15:clr>
        </p15:guide>
        <p15:guide id="6" orient="horz" pos="1911" userDrawn="1">
          <p15:clr>
            <a:srgbClr val="5ACBF0"/>
          </p15:clr>
        </p15:guide>
        <p15:guide id="7" orient="horz" pos="3521" userDrawn="1">
          <p15:clr>
            <a:srgbClr val="5ACBF0"/>
          </p15:clr>
        </p15:guide>
        <p15:guide id="8" orient="horz" pos="2636" userDrawn="1">
          <p15:clr>
            <a:srgbClr val="5ACBF0"/>
          </p15:clr>
        </p15:guide>
        <p15:guide id="9" orient="horz" pos="822" userDrawn="1">
          <p15:clr>
            <a:srgbClr val="F26B43"/>
          </p15:clr>
        </p15:guide>
        <p15:guide id="10" orient="horz" pos="2364" userDrawn="1">
          <p15:clr>
            <a:srgbClr val="F26B43"/>
          </p15:clr>
        </p15:guide>
        <p15:guide id="11" orient="horz" pos="3725" userDrawn="1">
          <p15:clr>
            <a:srgbClr val="F26B43"/>
          </p15:clr>
        </p15:guide>
        <p15:guide id="12" pos="5042" userDrawn="1">
          <p15:clr>
            <a:srgbClr val="F26B43"/>
          </p15:clr>
        </p15:guide>
        <p15:guide id="13" pos="2638" userDrawn="1">
          <p15:clr>
            <a:srgbClr val="F26B43"/>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4 Content + Text -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p:nvPr>
        </p:nvSpPr>
        <p:spPr>
          <a:xfrm>
            <a:off x="413537" y="1188000"/>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4000" y="1529772"/>
            <a:ext cx="3780000" cy="4284000"/>
          </a:xfrm>
          <a:noFill/>
        </p:spPr>
        <p:txBody>
          <a:bodyPr/>
          <a:lstStyle>
            <a:lvl1pPr algn="ctr">
              <a:defRPr b="0"/>
            </a:lvl1pPr>
            <a:lvl5pPr>
              <a:defRPr/>
            </a:lvl5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hasCustomPrompt="1"/>
          </p:nvPr>
        </p:nvSpPr>
        <p:spPr>
          <a:xfrm>
            <a:off x="7998461" y="1187972"/>
            <a:ext cx="3780000" cy="4936100"/>
          </a:xfrm>
          <a:noFill/>
          <a:effectLst/>
        </p:spPr>
        <p:txBody>
          <a:bodyPr vert="horz" lIns="252000" tIns="252000" rIns="252000" bIns="252000" rtlCol="0" anchor="ctr" anchorCtr="0">
            <a:noAutofit/>
          </a:bodyPr>
          <a:lstStyle>
            <a:lvl1pPr>
              <a:defRPr lang="en-US"/>
            </a:lvl1pPr>
            <a:lvl2pPr>
              <a:defRPr lang="en-US"/>
            </a:lvl2pPr>
            <a:lvl3pPr>
              <a:defRPr lang="en-US"/>
            </a:lvl3pPr>
            <a:lvl4pPr>
              <a:defRPr lang="en-US"/>
            </a:lvl4pPr>
            <a:lvl5pPr>
              <a:defRPr lang="en-GB"/>
            </a:lvl5pPr>
          </a:lstStyle>
          <a:p>
            <a:pPr lvl="0"/>
            <a:r>
              <a:rPr lang="en-US"/>
              <a:t>Active Headline</a:t>
            </a:r>
          </a:p>
          <a:p>
            <a:pPr lvl="1"/>
            <a:r>
              <a:rPr lang="en-US"/>
              <a:t>Body text</a:t>
            </a:r>
          </a:p>
          <a:p>
            <a:pPr lvl="2"/>
            <a:r>
              <a:rPr lang="en-US"/>
              <a:t>Bullets</a:t>
            </a:r>
          </a:p>
          <a:p>
            <a:pPr lvl="3"/>
            <a:r>
              <a:rPr lang="en-US"/>
              <a:t>2nd level bullets</a:t>
            </a:r>
          </a:p>
          <a:p>
            <a:pPr lvl="4"/>
            <a:r>
              <a:rPr lang="en-US"/>
              <a:t>Notes tex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5918100"/>
            <a:ext cx="7560000" cy="215999"/>
          </a:xfrm>
          <a:noFill/>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13" name="Text Placeholder 5">
            <a:extLst>
              <a:ext uri="{FF2B5EF4-FFF2-40B4-BE49-F238E27FC236}">
                <a16:creationId xmlns:a16="http://schemas.microsoft.com/office/drawing/2014/main" id="{0F05E3CC-77D8-00D4-3892-43359D3D440D}"/>
              </a:ext>
            </a:extLst>
          </p:cNvPr>
          <p:cNvSpPr>
            <a:spLocks noGrp="1"/>
          </p:cNvSpPr>
          <p:nvPr>
            <p:ph type="body" sz="quarter" idx="20"/>
          </p:nvPr>
        </p:nvSpPr>
        <p:spPr>
          <a:xfrm>
            <a:off x="4212000" y="1188000"/>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14" name="Content Placeholder 7">
            <a:extLst>
              <a:ext uri="{FF2B5EF4-FFF2-40B4-BE49-F238E27FC236}">
                <a16:creationId xmlns:a16="http://schemas.microsoft.com/office/drawing/2014/main" id="{CB8F5FCB-FB91-1CC1-0B13-4616C17F6F8D}"/>
              </a:ext>
            </a:extLst>
          </p:cNvPr>
          <p:cNvSpPr>
            <a:spLocks noGrp="1"/>
          </p:cNvSpPr>
          <p:nvPr>
            <p:ph sz="quarter" idx="21" hasCustomPrompt="1"/>
          </p:nvPr>
        </p:nvSpPr>
        <p:spPr>
          <a:xfrm>
            <a:off x="4211999" y="1529772"/>
            <a:ext cx="3780000" cy="4284000"/>
          </a:xfrm>
          <a:noFill/>
        </p:spPr>
        <p:txBody>
          <a:bodyPr/>
          <a:lstStyle>
            <a:lvl1pPr algn="ctr">
              <a:defRPr b="0"/>
            </a:lvl1pPr>
            <a:lvl5pPr>
              <a:defRPr/>
            </a:lvl5pPr>
          </a:lstStyle>
          <a:p>
            <a:pPr lvl="0"/>
            <a:r>
              <a:rPr lang="en-US"/>
              <a:t>Insert Chart</a:t>
            </a:r>
            <a:endParaRPr lang="en-GB"/>
          </a:p>
        </p:txBody>
      </p:sp>
      <p:cxnSp>
        <p:nvCxnSpPr>
          <p:cNvPr id="11" name="Straight Connector 10">
            <a:extLst>
              <a:ext uri="{FF2B5EF4-FFF2-40B4-BE49-F238E27FC236}">
                <a16:creationId xmlns:a16="http://schemas.microsoft.com/office/drawing/2014/main" id="{F1FAF9C9-A635-824F-4DCB-15691B10BFEC}"/>
              </a:ext>
            </a:extLst>
          </p:cNvPr>
          <p:cNvCxnSpPr>
            <a:cxnSpLocks/>
          </p:cNvCxnSpPr>
          <p:nvPr userDrawn="1"/>
        </p:nvCxnSpPr>
        <p:spPr>
          <a:xfrm>
            <a:off x="2702950"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8306B5E0-74DD-F3C4-BBB4-0551A48ED8DB}"/>
              </a:ext>
            </a:extLst>
          </p:cNvPr>
          <p:cNvCxnSpPr>
            <a:cxnSpLocks/>
          </p:cNvCxnSpPr>
          <p:nvPr userDrawn="1"/>
        </p:nvCxnSpPr>
        <p:spPr>
          <a:xfrm>
            <a:off x="5488473"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75EC4A0B-F5F9-1F7D-E39E-3DD56D274D81}"/>
              </a:ext>
            </a:extLst>
          </p:cNvPr>
          <p:cNvCxnSpPr>
            <a:cxnSpLocks/>
          </p:cNvCxnSpPr>
          <p:nvPr userDrawn="1"/>
        </p:nvCxnSpPr>
        <p:spPr>
          <a:xfrm>
            <a:off x="7411982"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sp>
        <p:nvSpPr>
          <p:cNvPr id="4" name="Footer Placeholder 4">
            <a:extLst>
              <a:ext uri="{FF2B5EF4-FFF2-40B4-BE49-F238E27FC236}">
                <a16:creationId xmlns:a16="http://schemas.microsoft.com/office/drawing/2014/main" id="{9BE5DEEB-B747-E750-6195-450DC727D2BF}"/>
              </a:ext>
            </a:extLst>
          </p:cNvPr>
          <p:cNvSpPr>
            <a:spLocks noGrp="1"/>
          </p:cNvSpPr>
          <p:nvPr>
            <p:ph type="ftr" sz="quarter" idx="3"/>
          </p:nvPr>
        </p:nvSpPr>
        <p:spPr>
          <a:xfrm>
            <a:off x="7350369" y="6408000"/>
            <a:ext cx="3176758" cy="309600"/>
          </a:xfrm>
          <a:prstGeom prst="rect">
            <a:avLst/>
          </a:prstGeom>
          <a:ln>
            <a:noFill/>
          </a:ln>
        </p:spPr>
        <p:txBody>
          <a:bodyPr vert="horz" lIns="91440" tIns="45720" rIns="91440" bIns="45720" rtlCol="0" anchor="ctr"/>
          <a:lstStyle>
            <a:lvl1pPr algn="l">
              <a:defRPr sz="1000" b="0" i="0">
                <a:solidFill>
                  <a:schemeClr val="tx1"/>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Tree>
    <p:extLst>
      <p:ext uri="{BB962C8B-B14F-4D97-AF65-F5344CB8AC3E}">
        <p14:creationId xmlns:p14="http://schemas.microsoft.com/office/powerpoint/2010/main" val="1957856580"/>
      </p:ext>
    </p:extLst>
  </p:cSld>
  <p:clrMapOvr>
    <a:masterClrMapping/>
  </p:clrMapOvr>
  <p:extLst>
    <p:ext uri="{DCECCB84-F9BA-43D5-87BE-67443E8EF086}">
      <p15:sldGuideLst xmlns:p15="http://schemas.microsoft.com/office/powerpoint/2012/main">
        <p15:guide id="1" pos="665" userDrawn="1">
          <p15:clr>
            <a:srgbClr val="5ACBF0"/>
          </p15:clr>
        </p15:guide>
        <p15:guide id="2" pos="2434" userDrawn="1">
          <p15:clr>
            <a:srgbClr val="5ACBF0"/>
          </p15:clr>
        </p15:guide>
        <p15:guide id="3" pos="3069" userDrawn="1">
          <p15:clr>
            <a:srgbClr val="5ACBF0"/>
          </p15:clr>
        </p15:guide>
        <p15:guide id="4" pos="4838" userDrawn="1">
          <p15:clr>
            <a:srgbClr val="5ACBF0"/>
          </p15:clr>
        </p15:guide>
        <p15:guide id="5" orient="horz" pos="1253" userDrawn="1">
          <p15:clr>
            <a:srgbClr val="5ACBF0"/>
          </p15:clr>
        </p15:guide>
        <p15:guide id="7" orient="horz" pos="3271" userDrawn="1">
          <p15:clr>
            <a:srgbClr val="5ACBF0"/>
          </p15:clr>
        </p15:guide>
        <p15:guide id="9" orient="horz" pos="799" userDrawn="1">
          <p15:clr>
            <a:srgbClr val="F26B43"/>
          </p15:clr>
        </p15:guide>
        <p15:guide id="11" orient="horz" pos="3725" userDrawn="1">
          <p15:clr>
            <a:srgbClr val="F26B43"/>
          </p15:clr>
        </p15:guide>
        <p15:guide id="12" pos="5042" userDrawn="1">
          <p15:clr>
            <a:srgbClr val="F26B43"/>
          </p15:clr>
        </p15:guide>
        <p15:guide id="13" pos="2638" userDrawn="1">
          <p15:clr>
            <a:srgbClr val="F26B43"/>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3 Content + Text -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3537" y="1188000"/>
            <a:ext cx="7584923" cy="288000"/>
          </a:xfrm>
          <a:noFill/>
        </p:spPr>
        <p:txBody>
          <a:bodyPr lIns="0">
            <a:noAutofit/>
          </a:bodyPr>
          <a:lstStyle>
            <a:lvl1pPr>
              <a:defRPr sz="1300">
                <a:solidFill>
                  <a:schemeClr val="accent6"/>
                </a:solidFill>
              </a:defRPr>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4000" y="1513113"/>
            <a:ext cx="7584923" cy="2016000"/>
          </a:xfrm>
          <a:noFill/>
        </p:spPr>
        <p:txBody>
          <a:bodyPr/>
          <a:lstStyle>
            <a:lvl1pPr algn="ctr">
              <a:defRPr b="0"/>
            </a:lvl1pPr>
            <a:lvl5pPr>
              <a:defRPr/>
            </a:lvl5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hasCustomPrompt="1"/>
          </p:nvPr>
        </p:nvSpPr>
        <p:spPr>
          <a:xfrm>
            <a:off x="7998461" y="1187972"/>
            <a:ext cx="3780000" cy="4928400"/>
          </a:xfrm>
          <a:noFill/>
          <a:effectLst/>
        </p:spPr>
        <p:txBody>
          <a:bodyPr vert="horz" lIns="252000" tIns="252000" rIns="252000" bIns="252000" rtlCol="0" anchor="ctr" anchorCtr="0">
            <a:noAutofit/>
          </a:bodyPr>
          <a:lstStyle>
            <a:lvl1pPr>
              <a:defRPr lang="en-US"/>
            </a:lvl1pPr>
            <a:lvl2pPr>
              <a:defRPr lang="en-US"/>
            </a:lvl2pPr>
            <a:lvl3pPr>
              <a:defRPr lang="en-US"/>
            </a:lvl3pPr>
            <a:lvl4pPr>
              <a:defRPr lang="en-US"/>
            </a:lvl4pPr>
            <a:lvl5pPr>
              <a:defRPr lang="en-GB"/>
            </a:lvl5pPr>
          </a:lstStyle>
          <a:p>
            <a:pPr lvl="0"/>
            <a:r>
              <a:rPr lang="en-US"/>
              <a:t>Active Headline</a:t>
            </a:r>
          </a:p>
          <a:p>
            <a:pPr lvl="1"/>
            <a:r>
              <a:rPr lang="en-US"/>
              <a:t>Body text</a:t>
            </a:r>
          </a:p>
          <a:p>
            <a:pPr lvl="2"/>
            <a:r>
              <a:rPr lang="en-US"/>
              <a:t>Bullets</a:t>
            </a:r>
          </a:p>
          <a:p>
            <a:pPr lvl="3"/>
            <a:r>
              <a:rPr lang="en-US"/>
              <a:t>2nd level bullets</a:t>
            </a:r>
          </a:p>
          <a:p>
            <a:pPr lvl="4"/>
            <a:r>
              <a:rPr lang="en-US"/>
              <a:t>Notes tex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5943500"/>
            <a:ext cx="7585200" cy="215999"/>
          </a:xfrm>
          <a:noFill/>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9" name="Text Placeholder 5">
            <a:extLst>
              <a:ext uri="{FF2B5EF4-FFF2-40B4-BE49-F238E27FC236}">
                <a16:creationId xmlns:a16="http://schemas.microsoft.com/office/drawing/2014/main" id="{D49A370F-20C1-AE2C-2D28-B67039D93F62}"/>
              </a:ext>
            </a:extLst>
          </p:cNvPr>
          <p:cNvSpPr>
            <a:spLocks noGrp="1"/>
          </p:cNvSpPr>
          <p:nvPr>
            <p:ph type="body" sz="quarter" idx="16" hasCustomPrompt="1"/>
          </p:nvPr>
        </p:nvSpPr>
        <p:spPr>
          <a:xfrm>
            <a:off x="414000" y="3547886"/>
            <a:ext cx="3780000" cy="288000"/>
          </a:xfrm>
          <a:noFill/>
        </p:spPr>
        <p:txBody>
          <a:bodyPr lIns="0">
            <a:noAutofit/>
          </a:bodyPr>
          <a:lstStyle>
            <a:lvl1pPr>
              <a:defRPr sz="1300">
                <a:solidFill>
                  <a:schemeClr val="accent6"/>
                </a:solidFill>
              </a:defRPr>
            </a:lvl1pPr>
          </a:lstStyle>
          <a:p>
            <a:pPr lvl="0"/>
            <a:r>
              <a:rPr lang="en-US"/>
              <a:t>Chart headline</a:t>
            </a:r>
          </a:p>
        </p:txBody>
      </p:sp>
      <p:sp>
        <p:nvSpPr>
          <p:cNvPr id="11" name="Content Placeholder 7">
            <a:extLst>
              <a:ext uri="{FF2B5EF4-FFF2-40B4-BE49-F238E27FC236}">
                <a16:creationId xmlns:a16="http://schemas.microsoft.com/office/drawing/2014/main" id="{9AE049FE-3B8F-256A-D7E8-577C76D40781}"/>
              </a:ext>
            </a:extLst>
          </p:cNvPr>
          <p:cNvSpPr>
            <a:spLocks noGrp="1"/>
          </p:cNvSpPr>
          <p:nvPr>
            <p:ph sz="quarter" idx="17" hasCustomPrompt="1"/>
          </p:nvPr>
        </p:nvSpPr>
        <p:spPr>
          <a:xfrm>
            <a:off x="413027" y="3870137"/>
            <a:ext cx="3780000" cy="2016000"/>
          </a:xfrm>
          <a:noFill/>
        </p:spPr>
        <p:txBody>
          <a:bodyPr/>
          <a:lstStyle>
            <a:lvl1pPr algn="ctr">
              <a:defRPr b="0"/>
            </a:lvl1pPr>
            <a:lvl5pPr>
              <a:defRPr/>
            </a:lvl5pPr>
          </a:lstStyle>
          <a:p>
            <a:pPr lvl="0"/>
            <a:r>
              <a:rPr lang="en-US"/>
              <a:t>Insert Chart</a:t>
            </a:r>
            <a:endParaRPr lang="en-GB"/>
          </a:p>
        </p:txBody>
      </p:sp>
      <p:sp>
        <p:nvSpPr>
          <p:cNvPr id="13" name="Text Placeholder 5">
            <a:extLst>
              <a:ext uri="{FF2B5EF4-FFF2-40B4-BE49-F238E27FC236}">
                <a16:creationId xmlns:a16="http://schemas.microsoft.com/office/drawing/2014/main" id="{4FBC210F-4D18-EBDF-D1C0-974165764030}"/>
              </a:ext>
            </a:extLst>
          </p:cNvPr>
          <p:cNvSpPr>
            <a:spLocks noGrp="1"/>
          </p:cNvSpPr>
          <p:nvPr>
            <p:ph type="body" sz="quarter" idx="18" hasCustomPrompt="1"/>
          </p:nvPr>
        </p:nvSpPr>
        <p:spPr>
          <a:xfrm>
            <a:off x="4212000" y="3547886"/>
            <a:ext cx="3780000" cy="288000"/>
          </a:xfrm>
          <a:noFill/>
        </p:spPr>
        <p:txBody>
          <a:bodyPr lIns="0">
            <a:noAutofit/>
          </a:bodyPr>
          <a:lstStyle>
            <a:lvl1pPr>
              <a:defRPr sz="1300">
                <a:solidFill>
                  <a:schemeClr val="accent6"/>
                </a:solidFill>
              </a:defRPr>
            </a:lvl1pPr>
          </a:lstStyle>
          <a:p>
            <a:pPr lvl="0"/>
            <a:r>
              <a:rPr lang="en-US"/>
              <a:t>Chart headline</a:t>
            </a:r>
          </a:p>
        </p:txBody>
      </p:sp>
      <p:sp>
        <p:nvSpPr>
          <p:cNvPr id="14" name="Content Placeholder 7">
            <a:extLst>
              <a:ext uri="{FF2B5EF4-FFF2-40B4-BE49-F238E27FC236}">
                <a16:creationId xmlns:a16="http://schemas.microsoft.com/office/drawing/2014/main" id="{ACB90CD1-FFAF-0A5C-32B6-F90923321EA4}"/>
              </a:ext>
            </a:extLst>
          </p:cNvPr>
          <p:cNvSpPr>
            <a:spLocks noGrp="1"/>
          </p:cNvSpPr>
          <p:nvPr>
            <p:ph sz="quarter" idx="19" hasCustomPrompt="1"/>
          </p:nvPr>
        </p:nvSpPr>
        <p:spPr>
          <a:xfrm>
            <a:off x="4212000" y="3870137"/>
            <a:ext cx="3780000" cy="2016000"/>
          </a:xfrm>
          <a:noFill/>
        </p:spPr>
        <p:txBody>
          <a:bodyPr/>
          <a:lstStyle>
            <a:lvl1pPr algn="ctr">
              <a:defRPr b="0"/>
            </a:lvl1pPr>
            <a:lvl5pPr>
              <a:defRPr/>
            </a:lvl5pPr>
          </a:lstStyle>
          <a:p>
            <a:pPr lvl="0"/>
            <a:r>
              <a:rPr lang="en-US"/>
              <a:t>Insert Chart</a:t>
            </a:r>
            <a:endParaRPr lang="en-GB"/>
          </a:p>
        </p:txBody>
      </p:sp>
      <p:cxnSp>
        <p:nvCxnSpPr>
          <p:cNvPr id="16" name="Straight Connector 15">
            <a:extLst>
              <a:ext uri="{FF2B5EF4-FFF2-40B4-BE49-F238E27FC236}">
                <a16:creationId xmlns:a16="http://schemas.microsoft.com/office/drawing/2014/main" id="{70EA0B8C-C66A-C886-D993-E9B6842E09B8}"/>
              </a:ext>
            </a:extLst>
          </p:cNvPr>
          <p:cNvCxnSpPr>
            <a:cxnSpLocks/>
          </p:cNvCxnSpPr>
          <p:nvPr userDrawn="1"/>
        </p:nvCxnSpPr>
        <p:spPr>
          <a:xfrm>
            <a:off x="2702950"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2BB70EB7-2D63-BF20-096A-74FCE45CD936}"/>
              </a:ext>
            </a:extLst>
          </p:cNvPr>
          <p:cNvCxnSpPr>
            <a:cxnSpLocks/>
          </p:cNvCxnSpPr>
          <p:nvPr userDrawn="1"/>
        </p:nvCxnSpPr>
        <p:spPr>
          <a:xfrm>
            <a:off x="5488473"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5E9267B-B3F5-9485-9F39-31752BD840C5}"/>
              </a:ext>
            </a:extLst>
          </p:cNvPr>
          <p:cNvCxnSpPr>
            <a:cxnSpLocks/>
          </p:cNvCxnSpPr>
          <p:nvPr userDrawn="1"/>
        </p:nvCxnSpPr>
        <p:spPr>
          <a:xfrm>
            <a:off x="7411982"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sp>
        <p:nvSpPr>
          <p:cNvPr id="4" name="Footer Placeholder 4">
            <a:extLst>
              <a:ext uri="{FF2B5EF4-FFF2-40B4-BE49-F238E27FC236}">
                <a16:creationId xmlns:a16="http://schemas.microsoft.com/office/drawing/2014/main" id="{FCF9334A-C8C5-94E2-CF88-11A936E2226C}"/>
              </a:ext>
            </a:extLst>
          </p:cNvPr>
          <p:cNvSpPr>
            <a:spLocks noGrp="1"/>
          </p:cNvSpPr>
          <p:nvPr>
            <p:ph type="ftr" sz="quarter" idx="3"/>
          </p:nvPr>
        </p:nvSpPr>
        <p:spPr>
          <a:xfrm>
            <a:off x="7350369" y="6408000"/>
            <a:ext cx="3176758" cy="309600"/>
          </a:xfrm>
          <a:prstGeom prst="rect">
            <a:avLst/>
          </a:prstGeom>
          <a:ln>
            <a:noFill/>
          </a:ln>
        </p:spPr>
        <p:txBody>
          <a:bodyPr vert="horz" lIns="91440" tIns="45720" rIns="91440" bIns="45720" rtlCol="0" anchor="ctr"/>
          <a:lstStyle>
            <a:lvl1pPr algn="l">
              <a:defRPr sz="1000" b="0" i="0">
                <a:solidFill>
                  <a:schemeClr val="tx1"/>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Tree>
    <p:extLst>
      <p:ext uri="{BB962C8B-B14F-4D97-AF65-F5344CB8AC3E}">
        <p14:creationId xmlns:p14="http://schemas.microsoft.com/office/powerpoint/2010/main" val="688628399"/>
      </p:ext>
    </p:extLst>
  </p:cSld>
  <p:clrMapOvr>
    <a:masterClrMapping/>
  </p:clrMapOvr>
  <p:extLst>
    <p:ext uri="{DCECCB84-F9BA-43D5-87BE-67443E8EF086}">
      <p15:sldGuideLst xmlns:p15="http://schemas.microsoft.com/office/powerpoint/2012/main">
        <p15:guide id="1" pos="665" userDrawn="1">
          <p15:clr>
            <a:srgbClr val="5ACBF0"/>
          </p15:clr>
        </p15:guide>
        <p15:guide id="2" pos="2434" userDrawn="1">
          <p15:clr>
            <a:srgbClr val="5ACBF0"/>
          </p15:clr>
        </p15:guide>
        <p15:guide id="3" pos="3069" userDrawn="1">
          <p15:clr>
            <a:srgbClr val="5ACBF0"/>
          </p15:clr>
        </p15:guide>
        <p15:guide id="4" pos="4838" userDrawn="1">
          <p15:clr>
            <a:srgbClr val="5ACBF0"/>
          </p15:clr>
        </p15:guide>
        <p15:guide id="5" orient="horz" pos="1071" userDrawn="1">
          <p15:clr>
            <a:srgbClr val="5ACBF0"/>
          </p15:clr>
        </p15:guide>
        <p15:guide id="6" orient="horz" pos="1911" userDrawn="1">
          <p15:clr>
            <a:srgbClr val="5ACBF0"/>
          </p15:clr>
        </p15:guide>
        <p15:guide id="7" orient="horz" pos="3521" userDrawn="1">
          <p15:clr>
            <a:srgbClr val="5ACBF0"/>
          </p15:clr>
        </p15:guide>
        <p15:guide id="8" orient="horz" pos="2636" userDrawn="1">
          <p15:clr>
            <a:srgbClr val="5ACBF0"/>
          </p15:clr>
        </p15:guide>
        <p15:guide id="9" orient="horz" pos="799" userDrawn="1">
          <p15:clr>
            <a:srgbClr val="F26B43"/>
          </p15:clr>
        </p15:guide>
        <p15:guide id="10" orient="horz" pos="2364" userDrawn="1">
          <p15:clr>
            <a:srgbClr val="F26B43"/>
          </p15:clr>
        </p15:guide>
        <p15:guide id="11" orient="horz" pos="3725" userDrawn="1">
          <p15:clr>
            <a:srgbClr val="F26B43"/>
          </p15:clr>
        </p15:guide>
        <p15:guide id="12" pos="5042" userDrawn="1">
          <p15:clr>
            <a:srgbClr val="F26B43"/>
          </p15:clr>
        </p15:guide>
        <p15:guide id="13" pos="2638" userDrawn="1">
          <p15:clr>
            <a:srgbClr val="F26B43"/>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 Content + Text -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p:nvPr>
        </p:nvSpPr>
        <p:spPr>
          <a:xfrm>
            <a:off x="413537" y="1187972"/>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4000" y="1518433"/>
            <a:ext cx="3780000" cy="1980000"/>
          </a:xfrm>
          <a:noFill/>
        </p:spPr>
        <p:txBody>
          <a:bodyPr/>
          <a:lstStyle>
            <a:lvl1pPr algn="ctr">
              <a:defRPr sz="1300" b="0"/>
            </a:lvl1pPr>
            <a:lvl5pPr>
              <a:defRPr/>
            </a:lvl5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hasCustomPrompt="1"/>
          </p:nvPr>
        </p:nvSpPr>
        <p:spPr>
          <a:xfrm>
            <a:off x="7998461" y="1187972"/>
            <a:ext cx="3780000" cy="4936100"/>
          </a:xfrm>
          <a:noFill/>
          <a:effectLst/>
        </p:spPr>
        <p:txBody>
          <a:bodyPr vert="horz" lIns="252000" tIns="252000" rIns="252000" bIns="252000" rtlCol="0" anchor="ctr" anchorCtr="0">
            <a:noAutofit/>
          </a:bodyPr>
          <a:lstStyle>
            <a:lvl1pPr>
              <a:defRPr lang="en-US"/>
            </a:lvl1pPr>
            <a:lvl2pPr>
              <a:defRPr lang="en-US"/>
            </a:lvl2pPr>
            <a:lvl3pPr>
              <a:defRPr lang="en-US"/>
            </a:lvl3pPr>
            <a:lvl4pPr>
              <a:defRPr lang="en-US"/>
            </a:lvl4pPr>
            <a:lvl5pPr>
              <a:defRPr lang="en-GB"/>
            </a:lvl5pPr>
          </a:lstStyle>
          <a:p>
            <a:pPr lvl="0"/>
            <a:r>
              <a:rPr lang="en-US"/>
              <a:t>Active Headline</a:t>
            </a:r>
          </a:p>
          <a:p>
            <a:pPr lvl="1"/>
            <a:r>
              <a:rPr lang="en-US"/>
              <a:t>Body text</a:t>
            </a:r>
          </a:p>
          <a:p>
            <a:pPr lvl="2"/>
            <a:r>
              <a:rPr lang="en-US"/>
              <a:t>Bullets</a:t>
            </a:r>
          </a:p>
          <a:p>
            <a:pPr lvl="3"/>
            <a:r>
              <a:rPr lang="en-US"/>
              <a:t>2nd level bullets</a:t>
            </a:r>
          </a:p>
          <a:p>
            <a:pPr lvl="4"/>
            <a:r>
              <a:rPr lang="en-US"/>
              <a:t>Notes tex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5943500"/>
            <a:ext cx="7585200" cy="215999"/>
          </a:xfrm>
          <a:noFill/>
        </p:spPr>
        <p:txBody>
          <a:bodyPr lIns="0"/>
          <a:lstStyle>
            <a:lvl1pPr>
              <a:defRPr sz="105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5" name="Text Placeholder 5">
            <a:extLst>
              <a:ext uri="{FF2B5EF4-FFF2-40B4-BE49-F238E27FC236}">
                <a16:creationId xmlns:a16="http://schemas.microsoft.com/office/drawing/2014/main" id="{D7616806-7E32-D88B-F740-18B7BC6A1ECE}"/>
              </a:ext>
            </a:extLst>
          </p:cNvPr>
          <p:cNvSpPr>
            <a:spLocks noGrp="1"/>
          </p:cNvSpPr>
          <p:nvPr>
            <p:ph type="body" sz="quarter" idx="16"/>
          </p:nvPr>
        </p:nvSpPr>
        <p:spPr>
          <a:xfrm>
            <a:off x="414000" y="3599350"/>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7" name="Content Placeholder 7">
            <a:extLst>
              <a:ext uri="{FF2B5EF4-FFF2-40B4-BE49-F238E27FC236}">
                <a16:creationId xmlns:a16="http://schemas.microsoft.com/office/drawing/2014/main" id="{301ACA0B-90BD-21BF-F5A6-4461A144284D}"/>
              </a:ext>
            </a:extLst>
          </p:cNvPr>
          <p:cNvSpPr>
            <a:spLocks noGrp="1"/>
          </p:cNvSpPr>
          <p:nvPr>
            <p:ph sz="quarter" idx="17" hasCustomPrompt="1"/>
          </p:nvPr>
        </p:nvSpPr>
        <p:spPr>
          <a:xfrm>
            <a:off x="413027" y="3924694"/>
            <a:ext cx="3780000" cy="1980000"/>
          </a:xfrm>
          <a:noFill/>
        </p:spPr>
        <p:txBody>
          <a:bodyPr/>
          <a:lstStyle>
            <a:lvl1pPr algn="ctr">
              <a:defRPr b="0"/>
            </a:lvl1pPr>
            <a:lvl5pPr>
              <a:defRPr/>
            </a:lvl5pPr>
          </a:lstStyle>
          <a:p>
            <a:pPr lvl="0"/>
            <a:r>
              <a:rPr lang="en-US"/>
              <a:t>Insert Chart</a:t>
            </a:r>
            <a:endParaRPr lang="en-GB"/>
          </a:p>
        </p:txBody>
      </p:sp>
      <p:sp>
        <p:nvSpPr>
          <p:cNvPr id="9" name="Text Placeholder 5">
            <a:extLst>
              <a:ext uri="{FF2B5EF4-FFF2-40B4-BE49-F238E27FC236}">
                <a16:creationId xmlns:a16="http://schemas.microsoft.com/office/drawing/2014/main" id="{41A38980-B6C7-2C12-669B-DF4E926D0985}"/>
              </a:ext>
            </a:extLst>
          </p:cNvPr>
          <p:cNvSpPr>
            <a:spLocks noGrp="1"/>
          </p:cNvSpPr>
          <p:nvPr>
            <p:ph type="body" sz="quarter" idx="18"/>
          </p:nvPr>
        </p:nvSpPr>
        <p:spPr>
          <a:xfrm>
            <a:off x="4212000" y="3599350"/>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11" name="Content Placeholder 7">
            <a:extLst>
              <a:ext uri="{FF2B5EF4-FFF2-40B4-BE49-F238E27FC236}">
                <a16:creationId xmlns:a16="http://schemas.microsoft.com/office/drawing/2014/main" id="{D63835D9-5A9C-436E-DE0E-681C84B793FD}"/>
              </a:ext>
            </a:extLst>
          </p:cNvPr>
          <p:cNvSpPr>
            <a:spLocks noGrp="1"/>
          </p:cNvSpPr>
          <p:nvPr>
            <p:ph sz="quarter" idx="19" hasCustomPrompt="1"/>
          </p:nvPr>
        </p:nvSpPr>
        <p:spPr>
          <a:xfrm>
            <a:off x="4212000" y="3924694"/>
            <a:ext cx="3780000" cy="1980000"/>
          </a:xfrm>
          <a:noFill/>
        </p:spPr>
        <p:txBody>
          <a:bodyPr/>
          <a:lstStyle>
            <a:lvl1pPr algn="ctr">
              <a:defRPr b="0"/>
            </a:lvl1pPr>
            <a:lvl5pPr>
              <a:defRPr/>
            </a:lvl5pPr>
          </a:lstStyle>
          <a:p>
            <a:pPr lvl="0"/>
            <a:r>
              <a:rPr lang="en-US"/>
              <a:t>Insert Chart</a:t>
            </a:r>
            <a:endParaRPr lang="en-GB"/>
          </a:p>
        </p:txBody>
      </p:sp>
      <p:sp>
        <p:nvSpPr>
          <p:cNvPr id="13" name="Text Placeholder 5">
            <a:extLst>
              <a:ext uri="{FF2B5EF4-FFF2-40B4-BE49-F238E27FC236}">
                <a16:creationId xmlns:a16="http://schemas.microsoft.com/office/drawing/2014/main" id="{0F05E3CC-77D8-00D4-3892-43359D3D440D}"/>
              </a:ext>
            </a:extLst>
          </p:cNvPr>
          <p:cNvSpPr>
            <a:spLocks noGrp="1"/>
          </p:cNvSpPr>
          <p:nvPr>
            <p:ph type="body" sz="quarter" idx="20"/>
          </p:nvPr>
        </p:nvSpPr>
        <p:spPr>
          <a:xfrm>
            <a:off x="4212000" y="1187972"/>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14" name="Content Placeholder 7">
            <a:extLst>
              <a:ext uri="{FF2B5EF4-FFF2-40B4-BE49-F238E27FC236}">
                <a16:creationId xmlns:a16="http://schemas.microsoft.com/office/drawing/2014/main" id="{CB8F5FCB-FB91-1CC1-0B13-4616C17F6F8D}"/>
              </a:ext>
            </a:extLst>
          </p:cNvPr>
          <p:cNvSpPr>
            <a:spLocks noGrp="1"/>
          </p:cNvSpPr>
          <p:nvPr>
            <p:ph sz="quarter" idx="21" hasCustomPrompt="1"/>
          </p:nvPr>
        </p:nvSpPr>
        <p:spPr>
          <a:xfrm>
            <a:off x="4211999" y="1518433"/>
            <a:ext cx="3780000" cy="1980000"/>
          </a:xfrm>
          <a:noFill/>
        </p:spPr>
        <p:txBody>
          <a:bodyPr/>
          <a:lstStyle>
            <a:lvl1pPr algn="ctr">
              <a:defRPr b="0"/>
            </a:lvl1pPr>
            <a:lvl5pPr>
              <a:defRPr/>
            </a:lvl5pPr>
          </a:lstStyle>
          <a:p>
            <a:pPr lvl="0"/>
            <a:r>
              <a:rPr lang="en-US"/>
              <a:t>Insert Chart</a:t>
            </a:r>
            <a:endParaRPr lang="en-GB"/>
          </a:p>
        </p:txBody>
      </p:sp>
      <p:cxnSp>
        <p:nvCxnSpPr>
          <p:cNvPr id="18" name="Straight Connector 17">
            <a:extLst>
              <a:ext uri="{FF2B5EF4-FFF2-40B4-BE49-F238E27FC236}">
                <a16:creationId xmlns:a16="http://schemas.microsoft.com/office/drawing/2014/main" id="{7D2A54E4-57FE-51BF-A734-FE56656945EF}"/>
              </a:ext>
            </a:extLst>
          </p:cNvPr>
          <p:cNvCxnSpPr>
            <a:cxnSpLocks/>
          </p:cNvCxnSpPr>
          <p:nvPr userDrawn="1"/>
        </p:nvCxnSpPr>
        <p:spPr>
          <a:xfrm>
            <a:off x="2702950"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DD798548-33A3-740B-44DD-8EA8E9335D30}"/>
              </a:ext>
            </a:extLst>
          </p:cNvPr>
          <p:cNvCxnSpPr>
            <a:cxnSpLocks/>
          </p:cNvCxnSpPr>
          <p:nvPr userDrawn="1"/>
        </p:nvCxnSpPr>
        <p:spPr>
          <a:xfrm>
            <a:off x="5488473"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AA1F6119-548C-CE8A-EA99-5B55DF7D26DA}"/>
              </a:ext>
            </a:extLst>
          </p:cNvPr>
          <p:cNvCxnSpPr>
            <a:cxnSpLocks/>
          </p:cNvCxnSpPr>
          <p:nvPr userDrawn="1"/>
        </p:nvCxnSpPr>
        <p:spPr>
          <a:xfrm>
            <a:off x="7411982"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sp>
        <p:nvSpPr>
          <p:cNvPr id="4" name="Footer Placeholder 4">
            <a:extLst>
              <a:ext uri="{FF2B5EF4-FFF2-40B4-BE49-F238E27FC236}">
                <a16:creationId xmlns:a16="http://schemas.microsoft.com/office/drawing/2014/main" id="{66B1A838-F351-61C5-B535-D5F18D765B4A}"/>
              </a:ext>
            </a:extLst>
          </p:cNvPr>
          <p:cNvSpPr>
            <a:spLocks noGrp="1"/>
          </p:cNvSpPr>
          <p:nvPr>
            <p:ph type="ftr" sz="quarter" idx="3"/>
          </p:nvPr>
        </p:nvSpPr>
        <p:spPr>
          <a:xfrm>
            <a:off x="7350369" y="6408000"/>
            <a:ext cx="3176758" cy="309600"/>
          </a:xfrm>
          <a:prstGeom prst="rect">
            <a:avLst/>
          </a:prstGeom>
          <a:ln>
            <a:noFill/>
          </a:ln>
        </p:spPr>
        <p:txBody>
          <a:bodyPr vert="horz" lIns="91440" tIns="45720" rIns="91440" bIns="45720" rtlCol="0" anchor="ctr"/>
          <a:lstStyle>
            <a:lvl1pPr algn="l">
              <a:defRPr sz="1000" b="0" i="0">
                <a:solidFill>
                  <a:schemeClr val="tx1"/>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Tree>
    <p:extLst>
      <p:ext uri="{BB962C8B-B14F-4D97-AF65-F5344CB8AC3E}">
        <p14:creationId xmlns:p14="http://schemas.microsoft.com/office/powerpoint/2010/main" val="1426339316"/>
      </p:ext>
    </p:extLst>
  </p:cSld>
  <p:clrMapOvr>
    <a:masterClrMapping/>
  </p:clrMapOvr>
  <p:extLst>
    <p:ext uri="{DCECCB84-F9BA-43D5-87BE-67443E8EF086}">
      <p15:sldGuideLst xmlns:p15="http://schemas.microsoft.com/office/powerpoint/2012/main">
        <p15:guide id="1" pos="665" userDrawn="1">
          <p15:clr>
            <a:srgbClr val="5ACBF0"/>
          </p15:clr>
        </p15:guide>
        <p15:guide id="2" pos="2434" userDrawn="1">
          <p15:clr>
            <a:srgbClr val="5ACBF0"/>
          </p15:clr>
        </p15:guide>
        <p15:guide id="3" pos="3069" userDrawn="1">
          <p15:clr>
            <a:srgbClr val="5ACBF0"/>
          </p15:clr>
        </p15:guide>
        <p15:guide id="4" pos="4838" userDrawn="1">
          <p15:clr>
            <a:srgbClr val="5ACBF0"/>
          </p15:clr>
        </p15:guide>
        <p15:guide id="5" orient="horz" pos="1071" userDrawn="1">
          <p15:clr>
            <a:srgbClr val="5ACBF0"/>
          </p15:clr>
        </p15:guide>
        <p15:guide id="6" orient="horz" pos="1911" userDrawn="1">
          <p15:clr>
            <a:srgbClr val="5ACBF0"/>
          </p15:clr>
        </p15:guide>
        <p15:guide id="7" orient="horz" pos="3521" userDrawn="1">
          <p15:clr>
            <a:srgbClr val="5ACBF0"/>
          </p15:clr>
        </p15:guide>
        <p15:guide id="8" orient="horz" pos="2636" userDrawn="1">
          <p15:clr>
            <a:srgbClr val="5ACBF0"/>
          </p15:clr>
        </p15:guide>
        <p15:guide id="9" orient="horz" pos="799" userDrawn="1">
          <p15:clr>
            <a:srgbClr val="F26B43"/>
          </p15:clr>
        </p15:guide>
        <p15:guide id="10" orient="horz" pos="2364" userDrawn="1">
          <p15:clr>
            <a:srgbClr val="F26B43"/>
          </p15:clr>
        </p15:guide>
        <p15:guide id="11" orient="horz" pos="3725" userDrawn="1">
          <p15:clr>
            <a:srgbClr val="F26B43"/>
          </p15:clr>
        </p15:guide>
        <p15:guide id="12" pos="5042" userDrawn="1">
          <p15:clr>
            <a:srgbClr val="F26B43"/>
          </p15:clr>
        </p15:guide>
        <p15:guide id="13" pos="2638" userDrawn="1">
          <p15:clr>
            <a:srgbClr val="F26B43"/>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ull Page Vis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2750" y="1188000"/>
            <a:ext cx="11365200" cy="4641401"/>
          </a:xfrm>
          <a:noFill/>
        </p:spPr>
        <p:txBody>
          <a:bodyPr anchor="t"/>
          <a:lstStyle>
            <a:lvl1pPr algn="ctr">
              <a:defRPr b="0"/>
            </a:lvl1pPr>
            <a:lvl2pPr algn="ctr">
              <a:defRPr/>
            </a:lvl2pPr>
            <a:lvl3pPr algn="ctr">
              <a:defRPr/>
            </a:lvl3pPr>
            <a:lvl4pPr algn="ctr">
              <a:defRPr/>
            </a:lvl4pPr>
            <a:lvl5pPr algn="ctr">
              <a:defRPr/>
            </a:lvl5pPr>
          </a:lstStyle>
          <a:p>
            <a:pPr lvl="0"/>
            <a:r>
              <a:rPr lang="en-US"/>
              <a:t>Insert Chart or Table</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5943500"/>
            <a:ext cx="11430000" cy="215999"/>
          </a:xfrm>
          <a:noFill/>
        </p:spPr>
        <p:txBody>
          <a:bodyPr lIns="0"/>
          <a:lstStyle>
            <a:lvl1pPr>
              <a:defRPr sz="1050" b="0">
                <a:solidFill>
                  <a:schemeClr val="bg2">
                    <a:lumMod val="10000"/>
                  </a:schemeClr>
                </a:solidFill>
              </a:defRPr>
            </a:lvl1pPr>
            <a:lvl5pPr>
              <a:defRPr sz="700">
                <a:solidFill>
                  <a:schemeClr val="tx1"/>
                </a:solidFill>
              </a:defRPr>
            </a:lvl5pPr>
          </a:lstStyle>
          <a:p>
            <a:pPr lvl="0"/>
            <a:r>
              <a:rPr lang="en-US"/>
              <a:t>Add your DATA source here</a:t>
            </a:r>
            <a:endParaRPr lang="en-GB"/>
          </a:p>
        </p:txBody>
      </p:sp>
      <p:cxnSp>
        <p:nvCxnSpPr>
          <p:cNvPr id="9" name="Straight Connector 8">
            <a:extLst>
              <a:ext uri="{FF2B5EF4-FFF2-40B4-BE49-F238E27FC236}">
                <a16:creationId xmlns:a16="http://schemas.microsoft.com/office/drawing/2014/main" id="{B2F74D51-29FE-7E10-65AD-5A05CCA9E9BA}"/>
              </a:ext>
            </a:extLst>
          </p:cNvPr>
          <p:cNvCxnSpPr>
            <a:cxnSpLocks/>
          </p:cNvCxnSpPr>
          <p:nvPr userDrawn="1"/>
        </p:nvCxnSpPr>
        <p:spPr>
          <a:xfrm>
            <a:off x="2702950"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6684559C-5E5D-E7A2-C036-CE057E7B1E72}"/>
              </a:ext>
            </a:extLst>
          </p:cNvPr>
          <p:cNvCxnSpPr>
            <a:cxnSpLocks/>
          </p:cNvCxnSpPr>
          <p:nvPr userDrawn="1"/>
        </p:nvCxnSpPr>
        <p:spPr>
          <a:xfrm>
            <a:off x="5488473"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4312728C-166E-D611-2841-0CA5554B4ABC}"/>
              </a:ext>
            </a:extLst>
          </p:cNvPr>
          <p:cNvCxnSpPr>
            <a:cxnSpLocks/>
          </p:cNvCxnSpPr>
          <p:nvPr userDrawn="1"/>
        </p:nvCxnSpPr>
        <p:spPr>
          <a:xfrm>
            <a:off x="7411982"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sp>
        <p:nvSpPr>
          <p:cNvPr id="4" name="Footer Placeholder 4">
            <a:extLst>
              <a:ext uri="{FF2B5EF4-FFF2-40B4-BE49-F238E27FC236}">
                <a16:creationId xmlns:a16="http://schemas.microsoft.com/office/drawing/2014/main" id="{9C95C7CE-3A92-0B2A-945F-368B2F8BEC26}"/>
              </a:ext>
            </a:extLst>
          </p:cNvPr>
          <p:cNvSpPr>
            <a:spLocks noGrp="1"/>
          </p:cNvSpPr>
          <p:nvPr>
            <p:ph type="ftr" sz="quarter" idx="3"/>
          </p:nvPr>
        </p:nvSpPr>
        <p:spPr>
          <a:xfrm>
            <a:off x="7350369" y="6408000"/>
            <a:ext cx="3176758" cy="309600"/>
          </a:xfrm>
          <a:prstGeom prst="rect">
            <a:avLst/>
          </a:prstGeom>
          <a:ln>
            <a:noFill/>
          </a:ln>
        </p:spPr>
        <p:txBody>
          <a:bodyPr vert="horz" lIns="91440" tIns="45720" rIns="91440" bIns="45720" rtlCol="0" anchor="ctr"/>
          <a:lstStyle>
            <a:lvl1pPr algn="l">
              <a:defRPr sz="1000" b="0" i="0">
                <a:solidFill>
                  <a:schemeClr val="tx1"/>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Tree>
    <p:extLst>
      <p:ext uri="{BB962C8B-B14F-4D97-AF65-F5344CB8AC3E}">
        <p14:creationId xmlns:p14="http://schemas.microsoft.com/office/powerpoint/2010/main" val="4130207236"/>
      </p:ext>
    </p:extLst>
  </p:cSld>
  <p:clrMapOvr>
    <a:masterClrMapping/>
  </p:clrMapOvr>
  <p:extLst>
    <p:ext uri="{DCECCB84-F9BA-43D5-87BE-67443E8EF086}">
      <p15:sldGuideLst xmlns:p15="http://schemas.microsoft.com/office/powerpoint/2012/main">
        <p15:guide id="1" pos="3840" userDrawn="1">
          <p15:clr>
            <a:srgbClr val="F26B43"/>
          </p15:clr>
        </p15:guide>
        <p15:guide id="2" pos="2366" userDrawn="1">
          <p15:clr>
            <a:srgbClr val="5ACBF0"/>
          </p15:clr>
        </p15:guide>
        <p15:guide id="3" pos="5314" userDrawn="1">
          <p15:clr>
            <a:srgbClr val="5ACBF0"/>
          </p15:clr>
        </p15:guide>
        <p15:guide id="4" orient="horz" pos="1253" userDrawn="1">
          <p15:clr>
            <a:srgbClr val="5ACBF0"/>
          </p15:clr>
        </p15:guide>
        <p15:guide id="5" orient="horz" pos="3090" userDrawn="1">
          <p15:clr>
            <a:srgbClr val="5ACBF0"/>
          </p15:clr>
        </p15:guide>
        <p15:guide id="6" orient="horz" pos="3725" userDrawn="1">
          <p15:clr>
            <a:srgbClr val="F26B43"/>
          </p15:clr>
        </p15:guide>
        <p15:guide id="7" orient="horz" pos="618" userDrawn="1">
          <p15:clr>
            <a:srgbClr val="F26B43"/>
          </p15:clr>
        </p15:guide>
        <p15:guide id="8" pos="914" userDrawn="1">
          <p15:clr>
            <a:srgbClr val="5ACBF0"/>
          </p15:clr>
        </p15:guide>
        <p15:guide id="9" pos="7015" userDrawn="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0E1236C-1F6A-C310-B3AD-04FE10631AEA}"/>
              </a:ext>
            </a:extLst>
          </p:cNvPr>
          <p:cNvSpPr/>
          <p:nvPr userDrawn="1"/>
        </p:nvSpPr>
        <p:spPr>
          <a:xfrm>
            <a:off x="-5697"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1" name="Straight Connector 10">
            <a:extLst>
              <a:ext uri="{FF2B5EF4-FFF2-40B4-BE49-F238E27FC236}">
                <a16:creationId xmlns:a16="http://schemas.microsoft.com/office/drawing/2014/main" id="{AB2564B3-A172-D336-E774-6508A518A9A4}"/>
              </a:ext>
            </a:extLst>
          </p:cNvPr>
          <p:cNvCxnSpPr>
            <a:cxnSpLocks/>
          </p:cNvCxnSpPr>
          <p:nvPr userDrawn="1"/>
        </p:nvCxnSpPr>
        <p:spPr>
          <a:xfrm>
            <a:off x="2702950"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1A251F91-00BD-73A5-1690-EA7889C27005}"/>
              </a:ext>
            </a:extLst>
          </p:cNvPr>
          <p:cNvCxnSpPr>
            <a:cxnSpLocks/>
          </p:cNvCxnSpPr>
          <p:nvPr userDrawn="1"/>
        </p:nvCxnSpPr>
        <p:spPr>
          <a:xfrm>
            <a:off x="5488473"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7A48A5AD-122B-445F-8918-5620E751FE74}"/>
              </a:ext>
            </a:extLst>
          </p:cNvPr>
          <p:cNvCxnSpPr>
            <a:cxnSpLocks/>
          </p:cNvCxnSpPr>
          <p:nvPr userDrawn="1"/>
        </p:nvCxnSpPr>
        <p:spPr>
          <a:xfrm>
            <a:off x="7411982"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000DE161-39A1-09A9-5060-B0B52242AFFA}"/>
              </a:ext>
            </a:extLst>
          </p:cNvPr>
          <p:cNvSpPr txBox="1"/>
          <p:nvPr userDrawn="1"/>
        </p:nvSpPr>
        <p:spPr>
          <a:xfrm>
            <a:off x="2623437" y="6408000"/>
            <a:ext cx="2455460" cy="309600"/>
          </a:xfrm>
          <a:prstGeom prst="rect">
            <a:avLst/>
          </a:prstGeom>
          <a:noFill/>
          <a:ln>
            <a:noFill/>
          </a:ln>
        </p:spPr>
        <p:txBody>
          <a:bodyPr wrap="square">
            <a:spAutoFit/>
          </a:bodyPr>
          <a:lstStyle/>
          <a:p>
            <a:r>
              <a:rPr lang="en-GB"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tx1">
                    <a:lumMod val="50000"/>
                  </a:schemeClr>
                </a:solidFill>
                <a:latin typeface="Garamond" panose="02020404030301010803" pitchFamily="18" charset="0"/>
                <a:ea typeface="Helvetica Neue UltraLight" panose="02000206000000020004" pitchFamily="2" charset="0"/>
              </a:rPr>
              <a:t>expert</a:t>
            </a:r>
            <a:r>
              <a:rPr lang="en-GB" sz="1000" b="0" i="0">
                <a:solidFill>
                  <a:schemeClr val="tx1">
                    <a:lumMod val="50000"/>
                  </a:schemeClr>
                </a:solidFill>
                <a:latin typeface="Helvetica Neue UltraLight" panose="02000206000000020004" pitchFamily="2" charset="0"/>
                <a:ea typeface="Helvetica Neue UltraLight" panose="02000206000000020004" pitchFamily="2" charset="0"/>
              </a:rPr>
              <a:t> </a:t>
            </a:r>
            <a:r>
              <a:rPr lang="en-GB"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3" name="TextBox 2">
            <a:extLst>
              <a:ext uri="{FF2B5EF4-FFF2-40B4-BE49-F238E27FC236}">
                <a16:creationId xmlns:a16="http://schemas.microsoft.com/office/drawing/2014/main" id="{FB636495-F7C7-0C00-108D-E654D2A6EE13}"/>
              </a:ext>
            </a:extLst>
          </p:cNvPr>
          <p:cNvSpPr txBox="1"/>
          <p:nvPr userDrawn="1"/>
        </p:nvSpPr>
        <p:spPr>
          <a:xfrm>
            <a:off x="11682742" y="6458310"/>
            <a:ext cx="409669" cy="276999"/>
          </a:xfrm>
          <a:prstGeom prst="rect">
            <a:avLst/>
          </a:prstGeom>
          <a:noFill/>
        </p:spPr>
        <p:txBody>
          <a:bodyPr wrap="square" anchor="ctr">
            <a:spAutoFit/>
          </a:bodyPr>
          <a:lstStyle/>
          <a:p>
            <a:fld id="{562BA7E0-5F5E-EE41-AE8D-BD30ED9E17AD}" type="slidenum">
              <a:rPr lang="en-GB" sz="1200" smtClean="0">
                <a:solidFill>
                  <a:schemeClr val="tx1"/>
                </a:solidFill>
                <a:latin typeface="Arial" panose="020B0604020202020204" pitchFamily="34" charset="0"/>
                <a:cs typeface="Arial" panose="020B0604020202020204" pitchFamily="34" charset="0"/>
              </a:rPr>
              <a:pPr/>
              <a:t>‹#›</a:t>
            </a:fld>
            <a:endParaRPr lang="en-GB" sz="1200">
              <a:solidFill>
                <a:schemeClr val="tx1"/>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B9BD3875-2795-9A10-4257-25C81C008A95}"/>
              </a:ext>
            </a:extLst>
          </p:cNvPr>
          <p:cNvSpPr txBox="1"/>
          <p:nvPr userDrawn="1"/>
        </p:nvSpPr>
        <p:spPr>
          <a:xfrm>
            <a:off x="5411710" y="6424300"/>
            <a:ext cx="1342176" cy="276999"/>
          </a:xfrm>
          <a:prstGeom prst="rect">
            <a:avLst/>
          </a:prstGeom>
          <a:noFill/>
        </p:spPr>
        <p:txBody>
          <a:bodyPr wrap="square" anchor="ctr">
            <a:spAutoFit/>
          </a:bodyPr>
          <a:lstStyle/>
          <a:p>
            <a:pPr algn="ctr"/>
            <a:r>
              <a:rPr lang="en-GB" sz="1200" i="1">
                <a:solidFill>
                  <a:schemeClr val="tx1"/>
                </a:solidFill>
                <a:latin typeface="Garamond" panose="02020404030301010803" pitchFamily="18" charset="0"/>
                <a:cs typeface="Arial" panose="020B0604020202020204" pitchFamily="34" charset="0"/>
              </a:rPr>
              <a:t>October 2025</a:t>
            </a:r>
            <a:endParaRPr lang="en-GB" sz="1000" i="1">
              <a:solidFill>
                <a:schemeClr val="tx1"/>
              </a:solidFill>
              <a:latin typeface="Garamond" panose="02020404030301010803" pitchFamily="18" charset="0"/>
              <a:cs typeface="Arial" panose="020B0604020202020204" pitchFamily="34" charset="0"/>
            </a:endParaRPr>
          </a:p>
        </p:txBody>
      </p:sp>
      <p:pic>
        <p:nvPicPr>
          <p:cNvPr id="10" name="Picture 9" descr="A logo on a black background&#10;&#10;Description automatically generated">
            <a:extLst>
              <a:ext uri="{FF2B5EF4-FFF2-40B4-BE49-F238E27FC236}">
                <a16:creationId xmlns:a16="http://schemas.microsoft.com/office/drawing/2014/main" id="{D7EB369B-70E7-BEF0-4D17-EF15AD03006F}"/>
              </a:ext>
            </a:extLst>
          </p:cNvPr>
          <p:cNvPicPr>
            <a:picLocks noChangeAspect="1"/>
          </p:cNvPicPr>
          <p:nvPr userDrawn="1"/>
        </p:nvPicPr>
        <p:blipFill rotWithShape="1">
          <a:blip r:embed="rId2"/>
          <a:srcRect l="8433" t="34147" r="75111" b="37880"/>
          <a:stretch/>
        </p:blipFill>
        <p:spPr>
          <a:xfrm>
            <a:off x="262800" y="331200"/>
            <a:ext cx="684000" cy="648000"/>
          </a:xfrm>
          <a:prstGeom prst="rect">
            <a:avLst/>
          </a:prstGeom>
        </p:spPr>
      </p:pic>
      <p:sp>
        <p:nvSpPr>
          <p:cNvPr id="15" name="Title 1">
            <a:extLst>
              <a:ext uri="{FF2B5EF4-FFF2-40B4-BE49-F238E27FC236}">
                <a16:creationId xmlns:a16="http://schemas.microsoft.com/office/drawing/2014/main" id="{D69201AF-E5C5-B8AD-DF72-99AAEB161720}"/>
              </a:ext>
            </a:extLst>
          </p:cNvPr>
          <p:cNvSpPr>
            <a:spLocks noGrp="1"/>
          </p:cNvSpPr>
          <p:nvPr>
            <p:ph type="title"/>
          </p:nvPr>
        </p:nvSpPr>
        <p:spPr>
          <a:xfrm>
            <a:off x="1076400" y="324000"/>
            <a:ext cx="10386000" cy="648000"/>
          </a:xfrm>
        </p:spPr>
        <p:txBody>
          <a:bodyPr/>
          <a:lstStyle/>
          <a:p>
            <a:r>
              <a:rPr lang="en-US"/>
              <a:t>Click to edit Master title style</a:t>
            </a:r>
            <a:endParaRPr lang="en-GB"/>
          </a:p>
        </p:txBody>
      </p:sp>
      <p:sp>
        <p:nvSpPr>
          <p:cNvPr id="17" name="Footer Placeholder 4">
            <a:extLst>
              <a:ext uri="{FF2B5EF4-FFF2-40B4-BE49-F238E27FC236}">
                <a16:creationId xmlns:a16="http://schemas.microsoft.com/office/drawing/2014/main" id="{AEA88B36-7672-8AC5-BF94-CADC374A120A}"/>
              </a:ext>
            </a:extLst>
          </p:cNvPr>
          <p:cNvSpPr>
            <a:spLocks noGrp="1"/>
          </p:cNvSpPr>
          <p:nvPr>
            <p:ph type="ftr" sz="quarter" idx="3"/>
          </p:nvPr>
        </p:nvSpPr>
        <p:spPr>
          <a:xfrm>
            <a:off x="7350369" y="6408000"/>
            <a:ext cx="3176758" cy="309600"/>
          </a:xfrm>
          <a:prstGeom prst="rect">
            <a:avLst/>
          </a:prstGeom>
          <a:ln>
            <a:noFill/>
          </a:ln>
        </p:spPr>
        <p:txBody>
          <a:bodyPr vert="horz" lIns="91440" tIns="45720" rIns="91440" bIns="45720" rtlCol="0" anchor="ctr"/>
          <a:lstStyle>
            <a:lvl1pPr algn="l">
              <a:defRPr sz="1000" b="0" i="0">
                <a:solidFill>
                  <a:schemeClr val="tx1"/>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Tree>
    <p:extLst>
      <p:ext uri="{BB962C8B-B14F-4D97-AF65-F5344CB8AC3E}">
        <p14:creationId xmlns:p14="http://schemas.microsoft.com/office/powerpoint/2010/main" val="341892837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amp; Blank_OUTLOOK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54A3B3-09B6-A14C-111C-44FA9910F53A}"/>
              </a:ext>
            </a:extLst>
          </p:cNvPr>
          <p:cNvSpPr>
            <a:spLocks noGrp="1"/>
          </p:cNvSpPr>
          <p:nvPr>
            <p:ph type="title"/>
          </p:nvPr>
        </p:nvSpPr>
        <p:spPr>
          <a:xfrm>
            <a:off x="1076400" y="324000"/>
            <a:ext cx="10718034" cy="648000"/>
          </a:xfrm>
        </p:spPr>
        <p:txBody>
          <a:bodyPr/>
          <a:lstStyle/>
          <a:p>
            <a:r>
              <a:rPr lang="en-US"/>
              <a:t>Click to edit Master title style</a:t>
            </a:r>
            <a:endParaRPr lang="en-GB"/>
          </a:p>
        </p:txBody>
      </p:sp>
      <p:sp>
        <p:nvSpPr>
          <p:cNvPr id="6" name="Content Placeholder 7">
            <a:extLst>
              <a:ext uri="{FF2B5EF4-FFF2-40B4-BE49-F238E27FC236}">
                <a16:creationId xmlns:a16="http://schemas.microsoft.com/office/drawing/2014/main" id="{4C4CE95A-F585-280E-7C05-6A4582FA0F9C}"/>
              </a:ext>
            </a:extLst>
          </p:cNvPr>
          <p:cNvSpPr>
            <a:spLocks noGrp="1"/>
          </p:cNvSpPr>
          <p:nvPr>
            <p:ph sz="quarter" idx="4294967295"/>
          </p:nvPr>
        </p:nvSpPr>
        <p:spPr>
          <a:xfrm>
            <a:off x="414000" y="1188000"/>
            <a:ext cx="11380434" cy="4712301"/>
          </a:xfrm>
        </p:spPr>
        <p:txBody>
          <a:bodyPr>
            <a:normAutofit/>
          </a:bodyPr>
          <a:lstStyle>
            <a:lvl1pPr>
              <a:lnSpc>
                <a:spcPct val="100000"/>
              </a:lnSpc>
              <a:spcBef>
                <a:spcPts val="600"/>
              </a:spcBef>
              <a:defRPr/>
            </a:lvl1pPr>
          </a:lstStyle>
          <a:p>
            <a:pPr marL="0" lvl="0" indent="0">
              <a:lnSpc>
                <a:spcPct val="120000"/>
              </a:lnSpc>
              <a:buFont typeface="Arial" panose="020B0604020202020204" pitchFamily="34" charset="0"/>
              <a:buNone/>
            </a:pPr>
            <a:r>
              <a:rPr lang="en-US" sz="1600"/>
              <a:t>Click to edit Master text styles</a:t>
            </a:r>
          </a:p>
          <a:p>
            <a:pPr marL="0" lvl="1" indent="0">
              <a:lnSpc>
                <a:spcPct val="120000"/>
              </a:lnSpc>
              <a:buFont typeface="Arial" panose="020B0604020202020204" pitchFamily="34" charset="0"/>
              <a:buNone/>
            </a:pPr>
            <a:r>
              <a:rPr lang="en-US" sz="1600"/>
              <a:t>Second level</a:t>
            </a:r>
          </a:p>
        </p:txBody>
      </p:sp>
      <p:sp>
        <p:nvSpPr>
          <p:cNvPr id="5" name="Footer Placeholder 4">
            <a:extLst>
              <a:ext uri="{FF2B5EF4-FFF2-40B4-BE49-F238E27FC236}">
                <a16:creationId xmlns:a16="http://schemas.microsoft.com/office/drawing/2014/main" id="{9D5D6732-BE99-C318-02DA-1F4E8AFC7DBA}"/>
              </a:ext>
            </a:extLst>
          </p:cNvPr>
          <p:cNvSpPr>
            <a:spLocks noGrp="1"/>
          </p:cNvSpPr>
          <p:nvPr>
            <p:ph type="ftr" sz="quarter" idx="3"/>
          </p:nvPr>
        </p:nvSpPr>
        <p:spPr>
          <a:xfrm>
            <a:off x="7350369" y="6408000"/>
            <a:ext cx="3176758" cy="309600"/>
          </a:xfrm>
          <a:prstGeom prst="rect">
            <a:avLst/>
          </a:prstGeom>
          <a:ln>
            <a:noFill/>
          </a:ln>
        </p:spPr>
        <p:txBody>
          <a:bodyPr vert="horz" lIns="91440" tIns="45720" rIns="91440" bIns="45720" rtlCol="0" anchor="ctr"/>
          <a:lstStyle>
            <a:lvl1pPr algn="l">
              <a:defRPr sz="1000" b="0" i="0">
                <a:solidFill>
                  <a:schemeClr val="tx1"/>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Tree>
    <p:extLst>
      <p:ext uri="{BB962C8B-B14F-4D97-AF65-F5344CB8AC3E}">
        <p14:creationId xmlns:p14="http://schemas.microsoft.com/office/powerpoint/2010/main" val="99344270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7D93C41F-81C1-1AC0-D0F4-F72507C60C56}"/>
              </a:ext>
            </a:extLst>
          </p:cNvPr>
          <p:cNvSpPr>
            <a:spLocks noGrp="1"/>
          </p:cNvSpPr>
          <p:nvPr>
            <p:ph type="ftr" sz="quarter" idx="11"/>
          </p:nvPr>
        </p:nvSpPr>
        <p:spPr/>
        <p:txBody>
          <a:bodyPr/>
          <a:lstStyle>
            <a:lvl1pPr>
              <a:defRPr/>
            </a:lvl1pPr>
          </a:lstStyle>
          <a:p>
            <a:r>
              <a:rPr lang="en-US"/>
              <a:t>Co &amp; Li supply: stopgap or structural shift</a:t>
            </a:r>
            <a:endParaRPr lang="en-GB"/>
          </a:p>
        </p:txBody>
      </p:sp>
      <p:sp>
        <p:nvSpPr>
          <p:cNvPr id="8" name="Content Placeholder 6">
            <a:extLst>
              <a:ext uri="{FF2B5EF4-FFF2-40B4-BE49-F238E27FC236}">
                <a16:creationId xmlns:a16="http://schemas.microsoft.com/office/drawing/2014/main" id="{24DEDFF0-0973-2840-F3E9-DBEA8FD25CD3}"/>
              </a:ext>
            </a:extLst>
          </p:cNvPr>
          <p:cNvSpPr>
            <a:spLocks noGrp="1"/>
          </p:cNvSpPr>
          <p:nvPr>
            <p:ph sz="quarter" idx="13" hasCustomPrompt="1"/>
          </p:nvPr>
        </p:nvSpPr>
        <p:spPr>
          <a:xfrm>
            <a:off x="1216417" y="3361764"/>
            <a:ext cx="9293087" cy="2097158"/>
          </a:xfrm>
        </p:spPr>
        <p:txBody>
          <a:bodyPr numCol="1" anchor="t">
            <a:noAutofit/>
          </a:bodyPr>
          <a:lstStyle>
            <a:lvl1pPr algn="l">
              <a:defRPr sz="2800"/>
            </a:lvl1pPr>
            <a:lvl2pPr algn="ctr">
              <a:defRPr/>
            </a:lvl2pPr>
            <a:lvl3pPr algn="ctr">
              <a:defRPr/>
            </a:lvl3pPr>
            <a:lvl4pPr algn="ctr">
              <a:defRPr/>
            </a:lvl4pPr>
            <a:lvl5pPr algn="ctr">
              <a:defRPr/>
            </a:lvl5pPr>
          </a:lstStyle>
          <a:p>
            <a:pPr lvl="0"/>
            <a:r>
              <a:rPr lang="en-US"/>
              <a:t>“Add your section teaser text here”</a:t>
            </a:r>
          </a:p>
        </p:txBody>
      </p:sp>
      <p:sp>
        <p:nvSpPr>
          <p:cNvPr id="2" name="Content Placeholder 6">
            <a:extLst>
              <a:ext uri="{FF2B5EF4-FFF2-40B4-BE49-F238E27FC236}">
                <a16:creationId xmlns:a16="http://schemas.microsoft.com/office/drawing/2014/main" id="{025DED29-018A-C121-E3C5-FD06C659750A}"/>
              </a:ext>
            </a:extLst>
          </p:cNvPr>
          <p:cNvSpPr>
            <a:spLocks noGrp="1"/>
          </p:cNvSpPr>
          <p:nvPr>
            <p:ph sz="quarter" idx="14" hasCustomPrompt="1"/>
          </p:nvPr>
        </p:nvSpPr>
        <p:spPr>
          <a:xfrm>
            <a:off x="1216417" y="2064735"/>
            <a:ext cx="9293087" cy="1021968"/>
          </a:xfrm>
        </p:spPr>
        <p:txBody>
          <a:bodyPr numCol="1" anchor="ctr">
            <a:noAutofit/>
          </a:bodyPr>
          <a:lstStyle>
            <a:lvl1pPr algn="l">
              <a:defRPr sz="3200" b="1"/>
            </a:lvl1pPr>
            <a:lvl2pPr algn="ctr">
              <a:defRPr/>
            </a:lvl2pPr>
            <a:lvl3pPr algn="ctr">
              <a:defRPr/>
            </a:lvl3pPr>
            <a:lvl4pPr algn="ctr">
              <a:defRPr/>
            </a:lvl4pPr>
            <a:lvl5pPr algn="ctr">
              <a:defRPr/>
            </a:lvl5pPr>
          </a:lstStyle>
          <a:p>
            <a:pPr lvl="0"/>
            <a:r>
              <a:rPr lang="en-US"/>
              <a:t>“Add your section title here”</a:t>
            </a:r>
          </a:p>
        </p:txBody>
      </p:sp>
      <p:sp>
        <p:nvSpPr>
          <p:cNvPr id="6" name="Content Placeholder 6">
            <a:extLst>
              <a:ext uri="{FF2B5EF4-FFF2-40B4-BE49-F238E27FC236}">
                <a16:creationId xmlns:a16="http://schemas.microsoft.com/office/drawing/2014/main" id="{6404F8F2-7E6A-926E-5CDA-D62B629E400B}"/>
              </a:ext>
            </a:extLst>
          </p:cNvPr>
          <p:cNvSpPr>
            <a:spLocks noGrp="1"/>
          </p:cNvSpPr>
          <p:nvPr>
            <p:ph sz="quarter" idx="15" hasCustomPrompt="1"/>
          </p:nvPr>
        </p:nvSpPr>
        <p:spPr>
          <a:xfrm>
            <a:off x="1216417" y="1393963"/>
            <a:ext cx="9293087" cy="395710"/>
          </a:xfrm>
        </p:spPr>
        <p:txBody>
          <a:bodyPr numCol="1" anchor="ctr">
            <a:noAutofit/>
          </a:bodyPr>
          <a:lstStyle>
            <a:lvl1pPr algn="l">
              <a:defRPr sz="2000" b="1" cap="all" baseline="0">
                <a:solidFill>
                  <a:schemeClr val="accent3">
                    <a:lumMod val="20000"/>
                    <a:lumOff val="80000"/>
                  </a:schemeClr>
                </a:solidFill>
              </a:defRPr>
            </a:lvl1pPr>
            <a:lvl2pPr algn="ctr">
              <a:defRPr/>
            </a:lvl2pPr>
            <a:lvl3pPr algn="ctr">
              <a:defRPr/>
            </a:lvl3pPr>
            <a:lvl4pPr algn="ctr">
              <a:defRPr/>
            </a:lvl4pPr>
            <a:lvl5pPr algn="ctr">
              <a:defRPr/>
            </a:lvl5pPr>
          </a:lstStyle>
          <a:p>
            <a:pPr lvl="0"/>
            <a:r>
              <a:rPr lang="en-US"/>
              <a:t>ADD YOUR SECTION HERE”</a:t>
            </a:r>
          </a:p>
        </p:txBody>
      </p:sp>
      <p:sp>
        <p:nvSpPr>
          <p:cNvPr id="11" name="TextBox 10">
            <a:hlinkClick r:id="" action="ppaction://noaction"/>
            <a:extLst>
              <a:ext uri="{FF2B5EF4-FFF2-40B4-BE49-F238E27FC236}">
                <a16:creationId xmlns:a16="http://schemas.microsoft.com/office/drawing/2014/main" id="{A81E518D-6CFF-E7B8-B6A9-6B3ED1B6312D}"/>
              </a:ext>
            </a:extLst>
          </p:cNvPr>
          <p:cNvSpPr txBox="1"/>
          <p:nvPr userDrawn="1"/>
        </p:nvSpPr>
        <p:spPr bwMode="white">
          <a:xfrm>
            <a:off x="350874" y="6485861"/>
            <a:ext cx="1626782" cy="230832"/>
          </a:xfrm>
          <a:prstGeom prst="rect">
            <a:avLst/>
          </a:prstGeom>
          <a:noFill/>
        </p:spPr>
        <p:txBody>
          <a:bodyPr wrap="square" rtlCol="0">
            <a:spAutoFit/>
          </a:bodyPr>
          <a:lstStyle/>
          <a:p>
            <a:pPr marL="171450" indent="-171450">
              <a:buClr>
                <a:schemeClr val="accent3">
                  <a:lumMod val="20000"/>
                  <a:lumOff val="80000"/>
                </a:schemeClr>
              </a:buClr>
              <a:buFont typeface="Arial" panose="020B0604020202020204" pitchFamily="34" charset="0"/>
              <a:buChar char="◄"/>
            </a:pPr>
            <a:r>
              <a:rPr lang="en-GB" sz="900">
                <a:solidFill>
                  <a:schemeClr val="bg1"/>
                </a:solidFill>
                <a:latin typeface="Arial" panose="020B0604020202020204" pitchFamily="34" charset="0"/>
                <a:cs typeface="Arial" panose="020B0604020202020204" pitchFamily="34" charset="0"/>
              </a:rPr>
              <a:t>Return to Contents</a:t>
            </a:r>
          </a:p>
        </p:txBody>
      </p:sp>
    </p:spTree>
    <p:extLst>
      <p:ext uri="{BB962C8B-B14F-4D97-AF65-F5344CB8AC3E}">
        <p14:creationId xmlns:p14="http://schemas.microsoft.com/office/powerpoint/2010/main" val="414917433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2 Column Dat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FABB3B-4008-C1B4-A19A-475B4093C14D}"/>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F166D3F1-7D4D-9ECF-48BF-ECC934055CF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92372FC6-4E1E-892E-25BA-97FEC2A7CE30}"/>
              </a:ext>
            </a:extLst>
          </p:cNvPr>
          <p:cNvSpPr>
            <a:spLocks noGrp="1"/>
          </p:cNvSpPr>
          <p:nvPr>
            <p:ph type="ftr" sz="quarter" idx="11"/>
          </p:nvPr>
        </p:nvSpPr>
        <p:spPr/>
        <p:txBody>
          <a:bodyPr/>
          <a:lstStyle/>
          <a:p>
            <a:r>
              <a:rPr lang="en-US"/>
              <a:t>Co &amp; Li supply: stopgap or structural shift</a:t>
            </a:r>
            <a:endParaRPr lang="en-GB"/>
          </a:p>
        </p:txBody>
      </p:sp>
      <p:sp>
        <p:nvSpPr>
          <p:cNvPr id="5" name="Slide Number Placeholder 4">
            <a:extLst>
              <a:ext uri="{FF2B5EF4-FFF2-40B4-BE49-F238E27FC236}">
                <a16:creationId xmlns:a16="http://schemas.microsoft.com/office/drawing/2014/main" id="{1A7BEB0D-A513-E10C-B419-7299F0A4769D}"/>
              </a:ext>
            </a:extLst>
          </p:cNvPr>
          <p:cNvSpPr>
            <a:spLocks noGrp="1"/>
          </p:cNvSpPr>
          <p:nvPr>
            <p:ph type="sldNum" sz="quarter" idx="12"/>
          </p:nvPr>
        </p:nvSpPr>
        <p:spPr/>
        <p:txBody>
          <a:bodyPr/>
          <a:lstStyle/>
          <a:p>
            <a:fld id="{562BA7E0-5F5E-EE41-AE8D-BD30ED9E17AD}" type="slidenum">
              <a:rPr lang="en-GB" smtClean="0"/>
              <a:pPr/>
              <a:t>‹#›</a:t>
            </a:fld>
            <a:endParaRPr lang="en-GB"/>
          </a:p>
        </p:txBody>
      </p:sp>
      <p:sp>
        <p:nvSpPr>
          <p:cNvPr id="7" name="Content Placeholder 6">
            <a:extLst>
              <a:ext uri="{FF2B5EF4-FFF2-40B4-BE49-F238E27FC236}">
                <a16:creationId xmlns:a16="http://schemas.microsoft.com/office/drawing/2014/main" id="{3D82AC04-9ACE-84F2-B397-3BD79D609C97}"/>
              </a:ext>
            </a:extLst>
          </p:cNvPr>
          <p:cNvSpPr>
            <a:spLocks noGrp="1"/>
          </p:cNvSpPr>
          <p:nvPr>
            <p:ph sz="quarter" idx="13"/>
          </p:nvPr>
        </p:nvSpPr>
        <p:spPr>
          <a:xfrm>
            <a:off x="366889" y="1480931"/>
            <a:ext cx="5220000" cy="4618211"/>
          </a:xfrm>
        </p:spPr>
        <p:txBody>
          <a:bodyPr numCol="1"/>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Content Placeholder 6">
            <a:extLst>
              <a:ext uri="{FF2B5EF4-FFF2-40B4-BE49-F238E27FC236}">
                <a16:creationId xmlns:a16="http://schemas.microsoft.com/office/drawing/2014/main" id="{8C6A408C-03FE-3FB9-AFDD-AF80EEACA644}"/>
              </a:ext>
            </a:extLst>
          </p:cNvPr>
          <p:cNvSpPr>
            <a:spLocks noGrp="1"/>
          </p:cNvSpPr>
          <p:nvPr>
            <p:ph sz="quarter" idx="14"/>
          </p:nvPr>
        </p:nvSpPr>
        <p:spPr>
          <a:xfrm>
            <a:off x="6239818" y="1480931"/>
            <a:ext cx="5220000" cy="4618211"/>
          </a:xfrm>
        </p:spPr>
        <p:txBody>
          <a:bodyPr numCol="1"/>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05611969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eam P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581E154-12C6-B32E-8C4E-90F758005B0D}"/>
              </a:ext>
            </a:extLst>
          </p:cNvPr>
          <p:cNvGraphicFramePr>
            <a:graphicFrameLocks noChangeAspect="1"/>
          </p:cNvGraphicFramePr>
          <p:nvPr userDrawn="1">
            <p:custDataLst>
              <p:tags r:id="rId2"/>
            </p:custDataLst>
            <p:extLst>
              <p:ext uri="{D42A27DB-BD31-4B8C-83A1-F6EECF244321}">
                <p14:modId xmlns:p14="http://schemas.microsoft.com/office/powerpoint/2010/main" val="620071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4" imgW="351" imgH="351" progId="TCLayout.ActiveDocument.1">
                  <p:embed/>
                </p:oleObj>
              </mc:Choice>
              <mc:Fallback>
                <p:oleObj name="think-cell Slide" r:id="rId4" imgW="351" imgH="351" progId="TCLayout.ActiveDocument.1">
                  <p:embed/>
                  <p:pic>
                    <p:nvPicPr>
                      <p:cNvPr id="5" name="Object 4" hidden="1">
                        <a:extLst>
                          <a:ext uri="{FF2B5EF4-FFF2-40B4-BE49-F238E27FC236}">
                            <a16:creationId xmlns:a16="http://schemas.microsoft.com/office/drawing/2014/main" id="{E581E154-12C6-B32E-8C4E-90F758005B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Rounded Corners 9">
            <a:extLst>
              <a:ext uri="{FF2B5EF4-FFF2-40B4-BE49-F238E27FC236}">
                <a16:creationId xmlns:a16="http://schemas.microsoft.com/office/drawing/2014/main" id="{FAE624B0-5547-F5EA-E417-94D7B3A020E3}"/>
              </a:ext>
            </a:extLst>
          </p:cNvPr>
          <p:cNvSpPr/>
          <p:nvPr userDrawn="1"/>
        </p:nvSpPr>
        <p:spPr>
          <a:xfrm>
            <a:off x="536240" y="1324723"/>
            <a:ext cx="3200873" cy="1488767"/>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Picture Placeholder 35">
            <a:extLst>
              <a:ext uri="{FF2B5EF4-FFF2-40B4-BE49-F238E27FC236}">
                <a16:creationId xmlns:a16="http://schemas.microsoft.com/office/drawing/2014/main" id="{316DD513-D78D-1467-2CE4-9E3E97407AC1}"/>
              </a:ext>
            </a:extLst>
          </p:cNvPr>
          <p:cNvSpPr>
            <a:spLocks noGrp="1"/>
          </p:cNvSpPr>
          <p:nvPr>
            <p:ph type="pic" sz="quarter" idx="22" hasCustomPrompt="1"/>
          </p:nvPr>
        </p:nvSpPr>
        <p:spPr>
          <a:xfrm>
            <a:off x="646043" y="1405826"/>
            <a:ext cx="617260" cy="631696"/>
          </a:xfrm>
          <a:prstGeom prst="roundRect">
            <a:avLst>
              <a:gd name="adj" fmla="val 0"/>
            </a:avLst>
          </a:prstGeom>
        </p:spPr>
        <p:txBody>
          <a:bodyPr>
            <a:normAutofit/>
          </a:bodyPr>
          <a:lstStyle>
            <a:lvl1pPr algn="ctr">
              <a:defRPr sz="900"/>
            </a:lvl1pPr>
          </a:lstStyle>
          <a:p>
            <a:r>
              <a:rPr lang="en-US"/>
              <a:t>Add photo</a:t>
            </a:r>
            <a:endParaRPr lang="en-GB"/>
          </a:p>
        </p:txBody>
      </p:sp>
      <p:sp>
        <p:nvSpPr>
          <p:cNvPr id="34" name="Content Placeholder 16">
            <a:extLst>
              <a:ext uri="{FF2B5EF4-FFF2-40B4-BE49-F238E27FC236}">
                <a16:creationId xmlns:a16="http://schemas.microsoft.com/office/drawing/2014/main" id="{C68F7F20-C153-6BBF-D4F1-1B5EFF3660D3}"/>
              </a:ext>
            </a:extLst>
          </p:cNvPr>
          <p:cNvSpPr>
            <a:spLocks noGrp="1"/>
          </p:cNvSpPr>
          <p:nvPr>
            <p:ph sz="quarter" idx="36" hasCustomPrompt="1"/>
          </p:nvPr>
        </p:nvSpPr>
        <p:spPr>
          <a:xfrm>
            <a:off x="655982" y="2067340"/>
            <a:ext cx="2971800" cy="694304"/>
          </a:xfrm>
        </p:spPr>
        <p:txBody>
          <a:bodyPr>
            <a:noAutofit/>
          </a:bodyPr>
          <a:lstStyle>
            <a:lvl1pPr>
              <a:lnSpc>
                <a:spcPct val="100000"/>
              </a:lnSpc>
              <a:spcBef>
                <a:spcPts val="0"/>
              </a:spcBef>
              <a:defRPr sz="900" b="0">
                <a:solidFill>
                  <a:schemeClr val="tx1"/>
                </a:solidFill>
              </a:defRPr>
            </a:lvl1pPr>
            <a:lvl2pPr>
              <a:defRPr/>
            </a:lvl2pPr>
          </a:lstStyle>
          <a:p>
            <a:pPr>
              <a:spcAft>
                <a:spcPts val="0"/>
              </a:spcAft>
            </a:pPr>
            <a:r>
              <a:rPr lang="en-GB" sz="1050"/>
              <a:t>Title</a:t>
            </a:r>
          </a:p>
          <a:p>
            <a:pPr>
              <a:spcAft>
                <a:spcPts val="0"/>
              </a:spcAft>
            </a:pPr>
            <a:r>
              <a:rPr lang="en-GB" sz="1050"/>
              <a:t>+44 20 7903 ####</a:t>
            </a:r>
            <a:br>
              <a:rPr lang="en-GB" sz="1050"/>
            </a:br>
            <a:r>
              <a:rPr lang="en-GB" sz="1050">
                <a:hlinkClick r:id="rId6">
                  <a:extLst>
                    <a:ext uri="{A12FA001-AC4F-418D-AE19-62706E023703}">
                      <ahyp:hlinkClr xmlns:ahyp="http://schemas.microsoft.com/office/drawing/2018/hyperlinkcolor" xmlns="" val="tx"/>
                    </a:ext>
                  </a:extLst>
                </a:hlinkClick>
              </a:rPr>
              <a:t>forename.surname@crugroup.com</a:t>
            </a:r>
            <a:endParaRPr lang="en-GB" sz="1050"/>
          </a:p>
        </p:txBody>
      </p:sp>
      <p:sp>
        <p:nvSpPr>
          <p:cNvPr id="35" name="Title 1">
            <a:extLst>
              <a:ext uri="{FF2B5EF4-FFF2-40B4-BE49-F238E27FC236}">
                <a16:creationId xmlns:a16="http://schemas.microsoft.com/office/drawing/2014/main" id="{820141C6-811C-1496-E441-5E0335BD5F2B}"/>
              </a:ext>
            </a:extLst>
          </p:cNvPr>
          <p:cNvSpPr>
            <a:spLocks noGrp="1"/>
          </p:cNvSpPr>
          <p:nvPr>
            <p:ph type="ctrTitle" hasCustomPrompt="1"/>
          </p:nvPr>
        </p:nvSpPr>
        <p:spPr>
          <a:xfrm>
            <a:off x="1076400" y="329400"/>
            <a:ext cx="10386000" cy="648000"/>
          </a:xfrm>
          <a:prstGeom prst="rect">
            <a:avLst/>
          </a:prstGeom>
        </p:spPr>
        <p:txBody>
          <a:bodyPr vert="horz" lIns="36000" anchor="ctr" anchorCtr="0">
            <a:normAutofit/>
          </a:bodyPr>
          <a:lstStyle>
            <a:lvl1pPr algn="l">
              <a:defRPr sz="2400" b="0">
                <a:solidFill>
                  <a:schemeClr val="accent6"/>
                </a:solidFill>
              </a:defRPr>
            </a:lvl1pPr>
          </a:lstStyle>
          <a:p>
            <a:r>
              <a:rPr lang="en-GB"/>
              <a:t>Team</a:t>
            </a:r>
          </a:p>
        </p:txBody>
      </p:sp>
      <p:sp>
        <p:nvSpPr>
          <p:cNvPr id="6" name="Content Placeholder 16">
            <a:extLst>
              <a:ext uri="{FF2B5EF4-FFF2-40B4-BE49-F238E27FC236}">
                <a16:creationId xmlns:a16="http://schemas.microsoft.com/office/drawing/2014/main" id="{A66053A2-6C75-499D-D45E-B5863D4524A5}"/>
              </a:ext>
            </a:extLst>
          </p:cNvPr>
          <p:cNvSpPr>
            <a:spLocks noGrp="1"/>
          </p:cNvSpPr>
          <p:nvPr>
            <p:ph sz="quarter" idx="39" hasCustomPrompt="1"/>
          </p:nvPr>
        </p:nvSpPr>
        <p:spPr>
          <a:xfrm>
            <a:off x="1315278" y="1404731"/>
            <a:ext cx="2302565" cy="624731"/>
          </a:xfrm>
        </p:spPr>
        <p:txBody>
          <a:bodyPr anchor="ctr">
            <a:noAutofit/>
          </a:bodyPr>
          <a:lstStyle>
            <a:lvl1pPr>
              <a:defRPr sz="1600">
                <a:solidFill>
                  <a:schemeClr val="tx1"/>
                </a:solidFill>
              </a:defRPr>
            </a:lvl1pPr>
            <a:lvl2pPr>
              <a:defRPr/>
            </a:lvl2pPr>
          </a:lstStyle>
          <a:p>
            <a:r>
              <a:rPr lang="en-GB" b="1"/>
              <a:t>Forename Surname</a:t>
            </a:r>
          </a:p>
        </p:txBody>
      </p:sp>
      <p:cxnSp>
        <p:nvCxnSpPr>
          <p:cNvPr id="8" name="Straight Connector 7">
            <a:extLst>
              <a:ext uri="{FF2B5EF4-FFF2-40B4-BE49-F238E27FC236}">
                <a16:creationId xmlns:a16="http://schemas.microsoft.com/office/drawing/2014/main" id="{3A80A350-EF92-135F-4301-688D3A079558}"/>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924A05CC-2FEE-853D-7F8F-6500D93D85A2}"/>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3EB130DC-0D21-1E15-E0C6-0E896C32BCFA}"/>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0B6B9D07-B0CA-DB18-CB71-2D01C232952A}"/>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tx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tx1"/>
                </a:solidFill>
                <a:latin typeface="Garamond" panose="02020404030301010803" pitchFamily="18" charset="0"/>
                <a:ea typeface="Helvetica Neue UltraLight" panose="02000206000000020004" pitchFamily="2" charset="0"/>
              </a:rPr>
              <a:t>expert</a:t>
            </a:r>
            <a:r>
              <a:rPr lang="en-GB" sz="1000" b="0" i="0">
                <a:solidFill>
                  <a:schemeClr val="tx1"/>
                </a:solidFill>
                <a:latin typeface="Helvetica Neue UltraLight" panose="02000206000000020004" pitchFamily="2" charset="0"/>
                <a:ea typeface="Helvetica Neue UltraLight" panose="02000206000000020004" pitchFamily="2" charset="0"/>
              </a:rPr>
              <a:t> </a:t>
            </a:r>
            <a:r>
              <a:rPr lang="en-GB" sz="1000" b="0" i="0">
                <a:solidFill>
                  <a:schemeClr val="tx1"/>
                </a:solidFill>
                <a:latin typeface="Arial" panose="020B0604020202020204" pitchFamily="34" charset="0"/>
                <a:ea typeface="Helvetica Neue Thin" panose="020B0403020202020204" pitchFamily="34" charset="0"/>
                <a:cs typeface="Arial" panose="020B0604020202020204" pitchFamily="34" charset="0"/>
              </a:rPr>
              <a:t>intelligence</a:t>
            </a:r>
          </a:p>
        </p:txBody>
      </p:sp>
      <p:cxnSp>
        <p:nvCxnSpPr>
          <p:cNvPr id="14" name="Straight Connector 13">
            <a:extLst>
              <a:ext uri="{FF2B5EF4-FFF2-40B4-BE49-F238E27FC236}">
                <a16:creationId xmlns:a16="http://schemas.microsoft.com/office/drawing/2014/main" id="{AB546CAA-7358-0DA5-002D-443820B17593}"/>
              </a:ext>
            </a:extLst>
          </p:cNvPr>
          <p:cNvCxnSpPr>
            <a:cxnSpLocks/>
          </p:cNvCxnSpPr>
          <p:nvPr userDrawn="1"/>
        </p:nvCxnSpPr>
        <p:spPr>
          <a:xfrm>
            <a:off x="27036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00148053-661C-1878-27DA-50B22FA392D2}"/>
              </a:ext>
            </a:extLst>
          </p:cNvPr>
          <p:cNvCxnSpPr>
            <a:cxnSpLocks/>
          </p:cNvCxnSpPr>
          <p:nvPr userDrawn="1"/>
        </p:nvCxnSpPr>
        <p:spPr>
          <a:xfrm>
            <a:off x="54900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DF0CE452-C855-0C56-0130-7FFC627A2009}"/>
              </a:ext>
            </a:extLst>
          </p:cNvPr>
          <p:cNvCxnSpPr>
            <a:cxnSpLocks/>
          </p:cNvCxnSpPr>
          <p:nvPr userDrawn="1"/>
        </p:nvCxnSpPr>
        <p:spPr>
          <a:xfrm>
            <a:off x="74124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EF81B579-3519-62E8-7C39-8031991E0EBC}"/>
              </a:ext>
            </a:extLst>
          </p:cNvPr>
          <p:cNvSpPr txBox="1"/>
          <p:nvPr userDrawn="1"/>
        </p:nvSpPr>
        <p:spPr>
          <a:xfrm>
            <a:off x="11682742" y="6458310"/>
            <a:ext cx="409669" cy="276999"/>
          </a:xfrm>
          <a:prstGeom prst="rect">
            <a:avLst/>
          </a:prstGeom>
          <a:noFill/>
        </p:spPr>
        <p:txBody>
          <a:bodyPr wrap="square" anchor="ctr">
            <a:spAutoFit/>
          </a:bodyPr>
          <a:lstStyle/>
          <a:p>
            <a:fld id="{562BA7E0-5F5E-EE41-AE8D-BD30ED9E17AD}" type="slidenum">
              <a:rPr lang="en-GB" sz="1200" smtClean="0">
                <a:solidFill>
                  <a:schemeClr val="tx1"/>
                </a:solidFill>
                <a:latin typeface="Arial" panose="020B0604020202020204" pitchFamily="34" charset="0"/>
                <a:cs typeface="Arial" panose="020B0604020202020204" pitchFamily="34" charset="0"/>
              </a:rPr>
              <a:pPr/>
              <a:t>‹#›</a:t>
            </a:fld>
            <a:endParaRPr lang="en-GB" sz="1200">
              <a:solidFill>
                <a:schemeClr val="tx1"/>
              </a:solidFill>
              <a:latin typeface="Arial" panose="020B0604020202020204" pitchFamily="34" charset="0"/>
              <a:cs typeface="Arial" panose="020B0604020202020204" pitchFamily="34" charset="0"/>
            </a:endParaRPr>
          </a:p>
        </p:txBody>
      </p:sp>
      <p:pic>
        <p:nvPicPr>
          <p:cNvPr id="19" name="Picture 18" descr="A logo on a black background&#10;&#10;Description automatically generated">
            <a:extLst>
              <a:ext uri="{FF2B5EF4-FFF2-40B4-BE49-F238E27FC236}">
                <a16:creationId xmlns:a16="http://schemas.microsoft.com/office/drawing/2014/main" id="{C0F5C329-0EEB-0B51-D6DA-616C688658C9}"/>
              </a:ext>
            </a:extLst>
          </p:cNvPr>
          <p:cNvPicPr>
            <a:picLocks noChangeAspect="1"/>
          </p:cNvPicPr>
          <p:nvPr userDrawn="1"/>
        </p:nvPicPr>
        <p:blipFill rotWithShape="1">
          <a:blip r:embed="rId7"/>
          <a:srcRect l="7819" t="33017" r="74362" b="36885"/>
          <a:stretch/>
        </p:blipFill>
        <p:spPr>
          <a:xfrm>
            <a:off x="263816" y="329400"/>
            <a:ext cx="682031" cy="648000"/>
          </a:xfrm>
          <a:prstGeom prst="rect">
            <a:avLst/>
          </a:prstGeom>
        </p:spPr>
      </p:pic>
      <p:sp>
        <p:nvSpPr>
          <p:cNvPr id="3" name="Footer Placeholder 4">
            <a:extLst>
              <a:ext uri="{FF2B5EF4-FFF2-40B4-BE49-F238E27FC236}">
                <a16:creationId xmlns:a16="http://schemas.microsoft.com/office/drawing/2014/main" id="{F9C4B2B8-F44A-8FDA-C1AD-6424EE0D5B90}"/>
              </a:ext>
            </a:extLst>
          </p:cNvPr>
          <p:cNvSpPr>
            <a:spLocks noGrp="1"/>
          </p:cNvSpPr>
          <p:nvPr>
            <p:ph type="ftr" sz="quarter" idx="3"/>
          </p:nvPr>
        </p:nvSpPr>
        <p:spPr>
          <a:xfrm>
            <a:off x="7350369" y="6429964"/>
            <a:ext cx="3176758" cy="309600"/>
          </a:xfrm>
          <a:prstGeom prst="rect">
            <a:avLst/>
          </a:prstGeom>
          <a:ln>
            <a:noFill/>
          </a:ln>
        </p:spPr>
        <p:txBody>
          <a:bodyPr vert="horz" lIns="91440" tIns="45720" rIns="91440" bIns="45720" rtlCol="0" anchor="ctr"/>
          <a:lstStyle>
            <a:lvl1pPr algn="l">
              <a:defRPr sz="1000" b="0" i="0">
                <a:solidFill>
                  <a:schemeClr val="tx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Cobalt Market Outlook</a:t>
            </a:r>
          </a:p>
        </p:txBody>
      </p:sp>
      <p:sp>
        <p:nvSpPr>
          <p:cNvPr id="7" name="TextBox 6">
            <a:extLst>
              <a:ext uri="{FF2B5EF4-FFF2-40B4-BE49-F238E27FC236}">
                <a16:creationId xmlns:a16="http://schemas.microsoft.com/office/drawing/2014/main" id="{61C21230-0854-6359-BC4D-8832DDBED263}"/>
              </a:ext>
            </a:extLst>
          </p:cNvPr>
          <p:cNvSpPr txBox="1"/>
          <p:nvPr userDrawn="1"/>
        </p:nvSpPr>
        <p:spPr>
          <a:xfrm>
            <a:off x="5476126" y="6429964"/>
            <a:ext cx="1286726" cy="276999"/>
          </a:xfrm>
          <a:prstGeom prst="rect">
            <a:avLst/>
          </a:prstGeom>
          <a:noFill/>
          <a:ln>
            <a:noFill/>
          </a:ln>
        </p:spPr>
        <p:txBody>
          <a:bodyPr wrap="square">
            <a:spAutoFit/>
          </a:bodyPr>
          <a:lstStyle/>
          <a:p>
            <a:pPr algn="ctr"/>
            <a:r>
              <a:rPr lang="en-GB" sz="1200" b="0" i="1">
                <a:solidFill>
                  <a:schemeClr val="tx1">
                    <a:lumMod val="50000"/>
                  </a:schemeClr>
                </a:solidFill>
                <a:latin typeface="Garamond" panose="02020404030301010803" pitchFamily="18" charset="0"/>
                <a:ea typeface="Helvetica Neue Thin" panose="020B0403020202020204" pitchFamily="34" charset="0"/>
                <a:cs typeface="Arial" panose="020B0604020202020204" pitchFamily="34" charset="0"/>
              </a:rPr>
              <a:t>October 2025</a:t>
            </a:r>
          </a:p>
        </p:txBody>
      </p:sp>
    </p:spTree>
    <p:extLst>
      <p:ext uri="{BB962C8B-B14F-4D97-AF65-F5344CB8AC3E}">
        <p14:creationId xmlns:p14="http://schemas.microsoft.com/office/powerpoint/2010/main" val="1078339436"/>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eam P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581E154-12C6-B32E-8C4E-90F758005B0D}"/>
              </a:ext>
            </a:extLst>
          </p:cNvPr>
          <p:cNvGraphicFramePr>
            <a:graphicFrameLocks noChangeAspect="1"/>
          </p:cNvGraphicFramePr>
          <p:nvPr userDrawn="1">
            <p:custDataLst>
              <p:tags r:id="rId2"/>
            </p:custDataLst>
            <p:extLst>
              <p:ext uri="{D42A27DB-BD31-4B8C-83A1-F6EECF244321}">
                <p14:modId xmlns:p14="http://schemas.microsoft.com/office/powerpoint/2010/main" val="620071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4" imgW="351" imgH="351" progId="TCLayout.ActiveDocument.1">
                  <p:embed/>
                </p:oleObj>
              </mc:Choice>
              <mc:Fallback>
                <p:oleObj name="think-cell Slide" r:id="rId4" imgW="351" imgH="351" progId="TCLayout.ActiveDocument.1">
                  <p:embed/>
                  <p:pic>
                    <p:nvPicPr>
                      <p:cNvPr id="5" name="Object 4" hidden="1">
                        <a:extLst>
                          <a:ext uri="{FF2B5EF4-FFF2-40B4-BE49-F238E27FC236}">
                            <a16:creationId xmlns:a16="http://schemas.microsoft.com/office/drawing/2014/main" id="{E581E154-12C6-B32E-8C4E-90F758005B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Rounded Corners 9">
            <a:extLst>
              <a:ext uri="{FF2B5EF4-FFF2-40B4-BE49-F238E27FC236}">
                <a16:creationId xmlns:a16="http://schemas.microsoft.com/office/drawing/2014/main" id="{FAE624B0-5547-F5EA-E417-94D7B3A020E3}"/>
              </a:ext>
            </a:extLst>
          </p:cNvPr>
          <p:cNvSpPr/>
          <p:nvPr userDrawn="1"/>
        </p:nvSpPr>
        <p:spPr>
          <a:xfrm>
            <a:off x="536240" y="1324723"/>
            <a:ext cx="3200873" cy="1488767"/>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Picture Placeholder 35">
            <a:extLst>
              <a:ext uri="{FF2B5EF4-FFF2-40B4-BE49-F238E27FC236}">
                <a16:creationId xmlns:a16="http://schemas.microsoft.com/office/drawing/2014/main" id="{316DD513-D78D-1467-2CE4-9E3E97407AC1}"/>
              </a:ext>
            </a:extLst>
          </p:cNvPr>
          <p:cNvSpPr>
            <a:spLocks noGrp="1"/>
          </p:cNvSpPr>
          <p:nvPr>
            <p:ph type="pic" sz="quarter" idx="22" hasCustomPrompt="1"/>
          </p:nvPr>
        </p:nvSpPr>
        <p:spPr>
          <a:xfrm>
            <a:off x="646043" y="1405826"/>
            <a:ext cx="617260" cy="631696"/>
          </a:xfrm>
          <a:prstGeom prst="roundRect">
            <a:avLst>
              <a:gd name="adj" fmla="val 0"/>
            </a:avLst>
          </a:prstGeom>
        </p:spPr>
        <p:txBody>
          <a:bodyPr>
            <a:normAutofit/>
          </a:bodyPr>
          <a:lstStyle>
            <a:lvl1pPr algn="ctr">
              <a:defRPr sz="900"/>
            </a:lvl1pPr>
          </a:lstStyle>
          <a:p>
            <a:r>
              <a:rPr lang="en-US"/>
              <a:t>Add photo</a:t>
            </a:r>
            <a:endParaRPr lang="en-GB"/>
          </a:p>
        </p:txBody>
      </p:sp>
      <p:sp>
        <p:nvSpPr>
          <p:cNvPr id="34" name="Content Placeholder 16">
            <a:extLst>
              <a:ext uri="{FF2B5EF4-FFF2-40B4-BE49-F238E27FC236}">
                <a16:creationId xmlns:a16="http://schemas.microsoft.com/office/drawing/2014/main" id="{C68F7F20-C153-6BBF-D4F1-1B5EFF3660D3}"/>
              </a:ext>
            </a:extLst>
          </p:cNvPr>
          <p:cNvSpPr>
            <a:spLocks noGrp="1"/>
          </p:cNvSpPr>
          <p:nvPr>
            <p:ph sz="quarter" idx="36" hasCustomPrompt="1"/>
          </p:nvPr>
        </p:nvSpPr>
        <p:spPr>
          <a:xfrm>
            <a:off x="655982" y="2067340"/>
            <a:ext cx="2971800" cy="694304"/>
          </a:xfrm>
        </p:spPr>
        <p:txBody>
          <a:bodyPr>
            <a:noAutofit/>
          </a:bodyPr>
          <a:lstStyle>
            <a:lvl1pPr>
              <a:lnSpc>
                <a:spcPct val="100000"/>
              </a:lnSpc>
              <a:spcBef>
                <a:spcPts val="0"/>
              </a:spcBef>
              <a:defRPr sz="900" b="0">
                <a:solidFill>
                  <a:schemeClr val="tx1"/>
                </a:solidFill>
              </a:defRPr>
            </a:lvl1pPr>
            <a:lvl2pPr>
              <a:defRPr/>
            </a:lvl2pPr>
          </a:lstStyle>
          <a:p>
            <a:pPr>
              <a:spcAft>
                <a:spcPts val="0"/>
              </a:spcAft>
            </a:pPr>
            <a:r>
              <a:rPr lang="en-GB" sz="1050"/>
              <a:t>Title</a:t>
            </a:r>
          </a:p>
          <a:p>
            <a:pPr>
              <a:spcAft>
                <a:spcPts val="0"/>
              </a:spcAft>
            </a:pPr>
            <a:r>
              <a:rPr lang="en-GB" sz="1050"/>
              <a:t>+44 20 7903 ####</a:t>
            </a:r>
            <a:br>
              <a:rPr lang="en-GB" sz="1050"/>
            </a:br>
            <a:r>
              <a:rPr lang="en-GB" sz="1050">
                <a:hlinkClick r:id="rId6">
                  <a:extLst>
                    <a:ext uri="{A12FA001-AC4F-418D-AE19-62706E023703}">
                      <ahyp:hlinkClr xmlns:ahyp="http://schemas.microsoft.com/office/drawing/2018/hyperlinkcolor" xmlns="" val="tx"/>
                    </a:ext>
                  </a:extLst>
                </a:hlinkClick>
              </a:rPr>
              <a:t>forename.surname@crugroup.com</a:t>
            </a:r>
            <a:endParaRPr lang="en-GB" sz="1050"/>
          </a:p>
        </p:txBody>
      </p:sp>
      <p:sp>
        <p:nvSpPr>
          <p:cNvPr id="35" name="Title 1">
            <a:extLst>
              <a:ext uri="{FF2B5EF4-FFF2-40B4-BE49-F238E27FC236}">
                <a16:creationId xmlns:a16="http://schemas.microsoft.com/office/drawing/2014/main" id="{820141C6-811C-1496-E441-5E0335BD5F2B}"/>
              </a:ext>
            </a:extLst>
          </p:cNvPr>
          <p:cNvSpPr>
            <a:spLocks noGrp="1"/>
          </p:cNvSpPr>
          <p:nvPr>
            <p:ph type="ctrTitle" hasCustomPrompt="1"/>
          </p:nvPr>
        </p:nvSpPr>
        <p:spPr>
          <a:xfrm>
            <a:off x="1076400" y="329400"/>
            <a:ext cx="10386000" cy="648000"/>
          </a:xfrm>
          <a:prstGeom prst="rect">
            <a:avLst/>
          </a:prstGeom>
        </p:spPr>
        <p:txBody>
          <a:bodyPr vert="horz" lIns="36000" anchor="ctr" anchorCtr="0">
            <a:normAutofit/>
          </a:bodyPr>
          <a:lstStyle>
            <a:lvl1pPr algn="l">
              <a:defRPr sz="2400" b="0">
                <a:solidFill>
                  <a:schemeClr val="accent6"/>
                </a:solidFill>
              </a:defRPr>
            </a:lvl1pPr>
          </a:lstStyle>
          <a:p>
            <a:r>
              <a:rPr lang="en-GB"/>
              <a:t>Team</a:t>
            </a:r>
          </a:p>
        </p:txBody>
      </p:sp>
      <p:sp>
        <p:nvSpPr>
          <p:cNvPr id="6" name="Content Placeholder 16">
            <a:extLst>
              <a:ext uri="{FF2B5EF4-FFF2-40B4-BE49-F238E27FC236}">
                <a16:creationId xmlns:a16="http://schemas.microsoft.com/office/drawing/2014/main" id="{A66053A2-6C75-499D-D45E-B5863D4524A5}"/>
              </a:ext>
            </a:extLst>
          </p:cNvPr>
          <p:cNvSpPr>
            <a:spLocks noGrp="1"/>
          </p:cNvSpPr>
          <p:nvPr>
            <p:ph sz="quarter" idx="39" hasCustomPrompt="1"/>
          </p:nvPr>
        </p:nvSpPr>
        <p:spPr>
          <a:xfrm>
            <a:off x="1315278" y="1404731"/>
            <a:ext cx="2302565" cy="624731"/>
          </a:xfrm>
        </p:spPr>
        <p:txBody>
          <a:bodyPr anchor="ctr">
            <a:noAutofit/>
          </a:bodyPr>
          <a:lstStyle>
            <a:lvl1pPr>
              <a:defRPr sz="1600">
                <a:solidFill>
                  <a:schemeClr val="tx1"/>
                </a:solidFill>
              </a:defRPr>
            </a:lvl1pPr>
            <a:lvl2pPr>
              <a:defRPr/>
            </a:lvl2pPr>
          </a:lstStyle>
          <a:p>
            <a:r>
              <a:rPr lang="en-GB" b="1"/>
              <a:t>Forename Surname</a:t>
            </a:r>
          </a:p>
        </p:txBody>
      </p:sp>
      <p:cxnSp>
        <p:nvCxnSpPr>
          <p:cNvPr id="8" name="Straight Connector 7">
            <a:extLst>
              <a:ext uri="{FF2B5EF4-FFF2-40B4-BE49-F238E27FC236}">
                <a16:creationId xmlns:a16="http://schemas.microsoft.com/office/drawing/2014/main" id="{3A80A350-EF92-135F-4301-688D3A079558}"/>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924A05CC-2FEE-853D-7F8F-6500D93D85A2}"/>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3EB130DC-0D21-1E15-E0C6-0E896C32BCFA}"/>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0B6B9D07-B0CA-DB18-CB71-2D01C232952A}"/>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tx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tx1"/>
                </a:solidFill>
                <a:latin typeface="Garamond" panose="02020404030301010803" pitchFamily="18" charset="0"/>
                <a:ea typeface="Helvetica Neue UltraLight" panose="02000206000000020004" pitchFamily="2" charset="0"/>
              </a:rPr>
              <a:t>expert</a:t>
            </a:r>
            <a:r>
              <a:rPr lang="en-GB" sz="1000" b="0" i="0">
                <a:solidFill>
                  <a:schemeClr val="tx1"/>
                </a:solidFill>
                <a:latin typeface="Helvetica Neue UltraLight" panose="02000206000000020004" pitchFamily="2" charset="0"/>
                <a:ea typeface="Helvetica Neue UltraLight" panose="02000206000000020004" pitchFamily="2" charset="0"/>
              </a:rPr>
              <a:t> </a:t>
            </a:r>
            <a:r>
              <a:rPr lang="en-GB" sz="1000" b="0" i="0">
                <a:solidFill>
                  <a:schemeClr val="tx1"/>
                </a:solidFill>
                <a:latin typeface="Arial" panose="020B0604020202020204" pitchFamily="34" charset="0"/>
                <a:ea typeface="Helvetica Neue Thin" panose="020B0403020202020204" pitchFamily="34" charset="0"/>
                <a:cs typeface="Arial" panose="020B0604020202020204" pitchFamily="34" charset="0"/>
              </a:rPr>
              <a:t>intelligence</a:t>
            </a:r>
          </a:p>
        </p:txBody>
      </p:sp>
      <p:cxnSp>
        <p:nvCxnSpPr>
          <p:cNvPr id="14" name="Straight Connector 13">
            <a:extLst>
              <a:ext uri="{FF2B5EF4-FFF2-40B4-BE49-F238E27FC236}">
                <a16:creationId xmlns:a16="http://schemas.microsoft.com/office/drawing/2014/main" id="{AB546CAA-7358-0DA5-002D-443820B17593}"/>
              </a:ext>
            </a:extLst>
          </p:cNvPr>
          <p:cNvCxnSpPr>
            <a:cxnSpLocks/>
          </p:cNvCxnSpPr>
          <p:nvPr userDrawn="1"/>
        </p:nvCxnSpPr>
        <p:spPr>
          <a:xfrm>
            <a:off x="27036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00148053-661C-1878-27DA-50B22FA392D2}"/>
              </a:ext>
            </a:extLst>
          </p:cNvPr>
          <p:cNvCxnSpPr>
            <a:cxnSpLocks/>
          </p:cNvCxnSpPr>
          <p:nvPr userDrawn="1"/>
        </p:nvCxnSpPr>
        <p:spPr>
          <a:xfrm>
            <a:off x="54900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DF0CE452-C855-0C56-0130-7FFC627A2009}"/>
              </a:ext>
            </a:extLst>
          </p:cNvPr>
          <p:cNvCxnSpPr>
            <a:cxnSpLocks/>
          </p:cNvCxnSpPr>
          <p:nvPr userDrawn="1"/>
        </p:nvCxnSpPr>
        <p:spPr>
          <a:xfrm>
            <a:off x="74124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EF81B579-3519-62E8-7C39-8031991E0EBC}"/>
              </a:ext>
            </a:extLst>
          </p:cNvPr>
          <p:cNvSpPr txBox="1"/>
          <p:nvPr userDrawn="1"/>
        </p:nvSpPr>
        <p:spPr>
          <a:xfrm>
            <a:off x="11682742" y="6458310"/>
            <a:ext cx="409669" cy="276999"/>
          </a:xfrm>
          <a:prstGeom prst="rect">
            <a:avLst/>
          </a:prstGeom>
          <a:noFill/>
        </p:spPr>
        <p:txBody>
          <a:bodyPr wrap="square" anchor="ctr">
            <a:spAutoFit/>
          </a:bodyPr>
          <a:lstStyle/>
          <a:p>
            <a:fld id="{562BA7E0-5F5E-EE41-AE8D-BD30ED9E17AD}" type="slidenum">
              <a:rPr lang="en-GB" sz="1200" smtClean="0">
                <a:solidFill>
                  <a:schemeClr val="tx1"/>
                </a:solidFill>
                <a:latin typeface="Arial" panose="020B0604020202020204" pitchFamily="34" charset="0"/>
                <a:cs typeface="Arial" panose="020B0604020202020204" pitchFamily="34" charset="0"/>
              </a:rPr>
              <a:pPr/>
              <a:t>‹#›</a:t>
            </a:fld>
            <a:endParaRPr lang="en-GB" sz="1200">
              <a:solidFill>
                <a:schemeClr val="tx1"/>
              </a:solidFill>
              <a:latin typeface="Arial" panose="020B0604020202020204" pitchFamily="34" charset="0"/>
              <a:cs typeface="Arial" panose="020B0604020202020204" pitchFamily="34" charset="0"/>
            </a:endParaRPr>
          </a:p>
        </p:txBody>
      </p:sp>
      <p:pic>
        <p:nvPicPr>
          <p:cNvPr id="19" name="Picture 18" descr="A logo on a black background&#10;&#10;Description automatically generated">
            <a:extLst>
              <a:ext uri="{FF2B5EF4-FFF2-40B4-BE49-F238E27FC236}">
                <a16:creationId xmlns:a16="http://schemas.microsoft.com/office/drawing/2014/main" id="{C0F5C329-0EEB-0B51-D6DA-616C688658C9}"/>
              </a:ext>
            </a:extLst>
          </p:cNvPr>
          <p:cNvPicPr>
            <a:picLocks noChangeAspect="1"/>
          </p:cNvPicPr>
          <p:nvPr userDrawn="1"/>
        </p:nvPicPr>
        <p:blipFill rotWithShape="1">
          <a:blip r:embed="rId7"/>
          <a:srcRect l="7819" t="33017" r="74362" b="36885"/>
          <a:stretch/>
        </p:blipFill>
        <p:spPr>
          <a:xfrm>
            <a:off x="263816" y="329400"/>
            <a:ext cx="682031" cy="648000"/>
          </a:xfrm>
          <a:prstGeom prst="rect">
            <a:avLst/>
          </a:prstGeom>
        </p:spPr>
      </p:pic>
      <p:sp>
        <p:nvSpPr>
          <p:cNvPr id="3" name="Footer Placeholder 4">
            <a:extLst>
              <a:ext uri="{FF2B5EF4-FFF2-40B4-BE49-F238E27FC236}">
                <a16:creationId xmlns:a16="http://schemas.microsoft.com/office/drawing/2014/main" id="{F9C4B2B8-F44A-8FDA-C1AD-6424EE0D5B90}"/>
              </a:ext>
            </a:extLst>
          </p:cNvPr>
          <p:cNvSpPr>
            <a:spLocks noGrp="1"/>
          </p:cNvSpPr>
          <p:nvPr>
            <p:ph type="ftr" sz="quarter" idx="3"/>
          </p:nvPr>
        </p:nvSpPr>
        <p:spPr>
          <a:xfrm>
            <a:off x="7350369" y="6429964"/>
            <a:ext cx="3176758" cy="309600"/>
          </a:xfrm>
          <a:prstGeom prst="rect">
            <a:avLst/>
          </a:prstGeom>
          <a:ln>
            <a:noFill/>
          </a:ln>
        </p:spPr>
        <p:txBody>
          <a:bodyPr vert="horz" lIns="91440" tIns="45720" rIns="91440" bIns="45720" rtlCol="0" anchor="ctr"/>
          <a:lstStyle>
            <a:lvl1pPr algn="l">
              <a:defRPr sz="1000" b="0" i="0">
                <a:solidFill>
                  <a:schemeClr val="tx1"/>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
        <p:nvSpPr>
          <p:cNvPr id="7" name="TextBox 6">
            <a:extLst>
              <a:ext uri="{FF2B5EF4-FFF2-40B4-BE49-F238E27FC236}">
                <a16:creationId xmlns:a16="http://schemas.microsoft.com/office/drawing/2014/main" id="{61C21230-0854-6359-BC4D-8832DDBED263}"/>
              </a:ext>
            </a:extLst>
          </p:cNvPr>
          <p:cNvSpPr txBox="1"/>
          <p:nvPr userDrawn="1"/>
        </p:nvSpPr>
        <p:spPr>
          <a:xfrm>
            <a:off x="5476126" y="6429964"/>
            <a:ext cx="1286726" cy="276999"/>
          </a:xfrm>
          <a:prstGeom prst="rect">
            <a:avLst/>
          </a:prstGeom>
          <a:noFill/>
          <a:ln>
            <a:noFill/>
          </a:ln>
        </p:spPr>
        <p:txBody>
          <a:bodyPr wrap="square">
            <a:spAutoFit/>
          </a:bodyPr>
          <a:lstStyle/>
          <a:p>
            <a:pPr algn="ctr"/>
            <a:r>
              <a:rPr lang="en-GB" sz="1200" b="0" i="1">
                <a:solidFill>
                  <a:schemeClr val="tx1">
                    <a:lumMod val="50000"/>
                  </a:schemeClr>
                </a:solidFill>
                <a:latin typeface="Garamond" panose="02020404030301010803" pitchFamily="18" charset="0"/>
                <a:ea typeface="Helvetica Neue Thin" panose="020B0403020202020204" pitchFamily="34" charset="0"/>
                <a:cs typeface="Arial" panose="020B0604020202020204" pitchFamily="34" charset="0"/>
              </a:rPr>
              <a:t>May 2024</a:t>
            </a:r>
          </a:p>
        </p:txBody>
      </p:sp>
    </p:spTree>
    <p:extLst>
      <p:ext uri="{BB962C8B-B14F-4D97-AF65-F5344CB8AC3E}">
        <p14:creationId xmlns:p14="http://schemas.microsoft.com/office/powerpoint/2010/main" val="13403262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581E154-12C6-B32E-8C4E-90F758005B0D}"/>
              </a:ext>
            </a:extLst>
          </p:cNvPr>
          <p:cNvGraphicFramePr>
            <a:graphicFrameLocks noChangeAspect="1"/>
          </p:cNvGraphicFramePr>
          <p:nvPr userDrawn="1">
            <p:custDataLst>
              <p:tags r:id="rId2"/>
            </p:custDataLst>
            <p:extLst>
              <p:ext uri="{D42A27DB-BD31-4B8C-83A1-F6EECF244321}">
                <p14:modId xmlns:p14="http://schemas.microsoft.com/office/powerpoint/2010/main" val="620071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4" imgW="351" imgH="351" progId="TCLayout.ActiveDocument.1">
                  <p:embed/>
                </p:oleObj>
              </mc:Choice>
              <mc:Fallback>
                <p:oleObj name="think-cell Slide" r:id="rId4" imgW="351" imgH="351" progId="TCLayout.ActiveDocument.1">
                  <p:embed/>
                  <p:pic>
                    <p:nvPicPr>
                      <p:cNvPr id="5" name="Object 4" hidden="1">
                        <a:extLst>
                          <a:ext uri="{FF2B5EF4-FFF2-40B4-BE49-F238E27FC236}">
                            <a16:creationId xmlns:a16="http://schemas.microsoft.com/office/drawing/2014/main" id="{E581E154-12C6-B32E-8C4E-90F758005B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Picture Placeholder 5">
            <a:extLst>
              <a:ext uri="{FF2B5EF4-FFF2-40B4-BE49-F238E27FC236}">
                <a16:creationId xmlns:a16="http://schemas.microsoft.com/office/drawing/2014/main" id="{36DA5A59-BF83-DE0C-5917-402DFEFB8C38}"/>
              </a:ext>
            </a:extLst>
          </p:cNvPr>
          <p:cNvSpPr>
            <a:spLocks noGrp="1" noChangeAspect="1"/>
          </p:cNvSpPr>
          <p:nvPr>
            <p:ph type="pic" sz="quarter" idx="18" hasCustomPrompt="1"/>
          </p:nvPr>
        </p:nvSpPr>
        <p:spPr>
          <a:xfrm>
            <a:off x="422367" y="1549106"/>
            <a:ext cx="2738486" cy="1224000"/>
          </a:xfrm>
        </p:spPr>
        <p:txBody>
          <a:bodyPr/>
          <a:lstStyle>
            <a:lvl1pPr algn="ctr">
              <a:defRPr b="0"/>
            </a:lvl1pPr>
          </a:lstStyle>
          <a:p>
            <a:r>
              <a:rPr lang="en-US"/>
              <a:t>Drag n drop section slide</a:t>
            </a:r>
            <a:endParaRPr lang="en-GB"/>
          </a:p>
        </p:txBody>
      </p:sp>
      <p:sp>
        <p:nvSpPr>
          <p:cNvPr id="7" name="Picture Placeholder 7">
            <a:extLst>
              <a:ext uri="{FF2B5EF4-FFF2-40B4-BE49-F238E27FC236}">
                <a16:creationId xmlns:a16="http://schemas.microsoft.com/office/drawing/2014/main" id="{50662AE9-18DD-C207-B02D-8ABAE44B1083}"/>
              </a:ext>
            </a:extLst>
          </p:cNvPr>
          <p:cNvSpPr>
            <a:spLocks noGrp="1" noChangeAspect="1"/>
          </p:cNvSpPr>
          <p:nvPr>
            <p:ph type="pic" sz="quarter" idx="19" hasCustomPrompt="1"/>
          </p:nvPr>
        </p:nvSpPr>
        <p:spPr>
          <a:xfrm>
            <a:off x="3254114" y="1549106"/>
            <a:ext cx="2839907" cy="1224000"/>
          </a:xfrm>
        </p:spPr>
        <p:txBody>
          <a:bodyPr/>
          <a:lstStyle>
            <a:lvl1pPr algn="ctr">
              <a:defRPr b="0"/>
            </a:lvl1pPr>
          </a:lstStyle>
          <a:p>
            <a:r>
              <a:rPr lang="en-US"/>
              <a:t>Drag n drop section slide</a:t>
            </a:r>
            <a:endParaRPr lang="en-GB"/>
          </a:p>
        </p:txBody>
      </p:sp>
      <p:sp>
        <p:nvSpPr>
          <p:cNvPr id="8" name="Picture Placeholder 7">
            <a:extLst>
              <a:ext uri="{FF2B5EF4-FFF2-40B4-BE49-F238E27FC236}">
                <a16:creationId xmlns:a16="http://schemas.microsoft.com/office/drawing/2014/main" id="{8C715289-9D6C-7FA2-0770-999CDEF06C80}"/>
              </a:ext>
            </a:extLst>
          </p:cNvPr>
          <p:cNvSpPr>
            <a:spLocks noGrp="1" noChangeAspect="1"/>
          </p:cNvSpPr>
          <p:nvPr>
            <p:ph type="pic" sz="quarter" idx="20" hasCustomPrompt="1"/>
          </p:nvPr>
        </p:nvSpPr>
        <p:spPr>
          <a:xfrm>
            <a:off x="6184145" y="1549106"/>
            <a:ext cx="2839907" cy="1224000"/>
          </a:xfrm>
        </p:spPr>
        <p:txBody>
          <a:bodyPr/>
          <a:lstStyle>
            <a:lvl1pPr algn="ctr">
              <a:defRPr b="0"/>
            </a:lvl1pPr>
          </a:lstStyle>
          <a:p>
            <a:r>
              <a:rPr lang="en-US"/>
              <a:t>Drag n drop section slide</a:t>
            </a:r>
            <a:endParaRPr lang="en-GB"/>
          </a:p>
        </p:txBody>
      </p:sp>
      <p:sp>
        <p:nvSpPr>
          <p:cNvPr id="9" name="Picture Placeholder 7">
            <a:extLst>
              <a:ext uri="{FF2B5EF4-FFF2-40B4-BE49-F238E27FC236}">
                <a16:creationId xmlns:a16="http://schemas.microsoft.com/office/drawing/2014/main" id="{81D0CD92-68B7-E0B2-74A8-FBFD382598FA}"/>
              </a:ext>
            </a:extLst>
          </p:cNvPr>
          <p:cNvSpPr>
            <a:spLocks noGrp="1" noChangeAspect="1"/>
          </p:cNvSpPr>
          <p:nvPr>
            <p:ph type="pic" sz="quarter" idx="21" hasCustomPrompt="1"/>
          </p:nvPr>
        </p:nvSpPr>
        <p:spPr>
          <a:xfrm>
            <a:off x="9114177" y="1549106"/>
            <a:ext cx="2839907" cy="1224000"/>
          </a:xfrm>
        </p:spPr>
        <p:txBody>
          <a:bodyPr/>
          <a:lstStyle>
            <a:lvl1pPr algn="ctr">
              <a:defRPr b="0"/>
            </a:lvl1pPr>
          </a:lstStyle>
          <a:p>
            <a:r>
              <a:rPr lang="en-US"/>
              <a:t>Drag n drop section slide</a:t>
            </a:r>
            <a:endParaRPr lang="en-GB"/>
          </a:p>
        </p:txBody>
      </p:sp>
      <p:pic>
        <p:nvPicPr>
          <p:cNvPr id="3" name="Picture 2">
            <a:extLst>
              <a:ext uri="{FF2B5EF4-FFF2-40B4-BE49-F238E27FC236}">
                <a16:creationId xmlns:a16="http://schemas.microsoft.com/office/drawing/2014/main" id="{1E9453E1-634C-4A45-A6C2-46A9F05D3C6D}"/>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22368" y="6210000"/>
            <a:ext cx="606504" cy="576000"/>
          </a:xfrm>
          <a:prstGeom prst="rect">
            <a:avLst/>
          </a:prstGeom>
        </p:spPr>
      </p:pic>
      <p:sp>
        <p:nvSpPr>
          <p:cNvPr id="16" name="Title 1">
            <a:extLst>
              <a:ext uri="{FF2B5EF4-FFF2-40B4-BE49-F238E27FC236}">
                <a16:creationId xmlns:a16="http://schemas.microsoft.com/office/drawing/2014/main" id="{F687563E-6141-7CD2-D650-D6DAC2DBC9D8}"/>
              </a:ext>
            </a:extLst>
          </p:cNvPr>
          <p:cNvSpPr>
            <a:spLocks noGrp="1"/>
          </p:cNvSpPr>
          <p:nvPr>
            <p:ph type="ctrTitle" hasCustomPrompt="1"/>
          </p:nvPr>
        </p:nvSpPr>
        <p:spPr>
          <a:xfrm>
            <a:off x="1076400" y="329400"/>
            <a:ext cx="10386000" cy="648000"/>
          </a:xfrm>
          <a:prstGeom prst="rect">
            <a:avLst/>
          </a:prstGeom>
        </p:spPr>
        <p:txBody>
          <a:bodyPr vert="horz" lIns="36000" anchor="ctr" anchorCtr="0">
            <a:normAutofit/>
          </a:bodyPr>
          <a:lstStyle>
            <a:lvl1pPr algn="l">
              <a:defRPr sz="2400" b="0">
                <a:solidFill>
                  <a:schemeClr val="accent6"/>
                </a:solidFill>
              </a:defRPr>
            </a:lvl1pPr>
          </a:lstStyle>
          <a:p>
            <a:r>
              <a:rPr lang="en-GB"/>
              <a:t>Contents</a:t>
            </a:r>
          </a:p>
        </p:txBody>
      </p:sp>
      <p:cxnSp>
        <p:nvCxnSpPr>
          <p:cNvPr id="18" name="Straight Connector 17">
            <a:extLst>
              <a:ext uri="{FF2B5EF4-FFF2-40B4-BE49-F238E27FC236}">
                <a16:creationId xmlns:a16="http://schemas.microsoft.com/office/drawing/2014/main" id="{7F719F48-EE31-3F7E-3424-7AC85470B969}"/>
              </a:ext>
            </a:extLst>
          </p:cNvPr>
          <p:cNvCxnSpPr>
            <a:cxnSpLocks/>
          </p:cNvCxnSpPr>
          <p:nvPr userDrawn="1"/>
        </p:nvCxnSpPr>
        <p:spPr>
          <a:xfrm>
            <a:off x="2702950"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4BBE08DB-2638-CD5E-4BBC-BB24AEFF1FF9}"/>
              </a:ext>
            </a:extLst>
          </p:cNvPr>
          <p:cNvCxnSpPr>
            <a:cxnSpLocks/>
          </p:cNvCxnSpPr>
          <p:nvPr userDrawn="1"/>
        </p:nvCxnSpPr>
        <p:spPr>
          <a:xfrm>
            <a:off x="5488473"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5024E3DE-3AE9-ED05-E144-EB3C0635DA95}"/>
              </a:ext>
            </a:extLst>
          </p:cNvPr>
          <p:cNvCxnSpPr>
            <a:cxnSpLocks/>
          </p:cNvCxnSpPr>
          <p:nvPr userDrawn="1"/>
        </p:nvCxnSpPr>
        <p:spPr>
          <a:xfrm>
            <a:off x="7411982"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6BA4DEDC-C5AB-F3EA-4ABF-927FBEDCAB98}"/>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tx1">
                    <a:lumMod val="50000"/>
                  </a:schemeClr>
                </a:solidFill>
                <a:latin typeface="Garamond" panose="02020404030301010803" pitchFamily="18" charset="0"/>
                <a:ea typeface="Helvetica Neue UltraLight" panose="02000206000000020004" pitchFamily="2" charset="0"/>
              </a:rPr>
              <a:t>expert</a:t>
            </a:r>
            <a:r>
              <a:rPr lang="en-GB" sz="1000" b="0" i="0">
                <a:solidFill>
                  <a:schemeClr val="tx1">
                    <a:lumMod val="50000"/>
                  </a:schemeClr>
                </a:solidFill>
                <a:latin typeface="Helvetica Neue UltraLight" panose="02000206000000020004" pitchFamily="2" charset="0"/>
                <a:ea typeface="Helvetica Neue UltraLight" panose="02000206000000020004" pitchFamily="2" charset="0"/>
              </a:rPr>
              <a:t> </a:t>
            </a:r>
            <a:r>
              <a:rPr lang="en-GB"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2" name="Picture Placeholder 5">
            <a:extLst>
              <a:ext uri="{FF2B5EF4-FFF2-40B4-BE49-F238E27FC236}">
                <a16:creationId xmlns:a16="http://schemas.microsoft.com/office/drawing/2014/main" id="{E31E5DA5-564E-9086-9805-71AE5E0941E0}"/>
              </a:ext>
            </a:extLst>
          </p:cNvPr>
          <p:cNvSpPr>
            <a:spLocks noGrp="1" noChangeAspect="1"/>
          </p:cNvSpPr>
          <p:nvPr>
            <p:ph type="pic" sz="quarter" idx="22" hasCustomPrompt="1"/>
          </p:nvPr>
        </p:nvSpPr>
        <p:spPr>
          <a:xfrm>
            <a:off x="415742" y="2900276"/>
            <a:ext cx="2738486" cy="1224000"/>
          </a:xfrm>
        </p:spPr>
        <p:txBody>
          <a:bodyPr/>
          <a:lstStyle>
            <a:lvl1pPr algn="ctr">
              <a:defRPr b="0"/>
            </a:lvl1pPr>
          </a:lstStyle>
          <a:p>
            <a:r>
              <a:rPr lang="en-US"/>
              <a:t>Drag n drop section slide</a:t>
            </a:r>
            <a:endParaRPr lang="en-GB"/>
          </a:p>
        </p:txBody>
      </p:sp>
      <p:sp>
        <p:nvSpPr>
          <p:cNvPr id="17" name="Picture Placeholder 7">
            <a:extLst>
              <a:ext uri="{FF2B5EF4-FFF2-40B4-BE49-F238E27FC236}">
                <a16:creationId xmlns:a16="http://schemas.microsoft.com/office/drawing/2014/main" id="{9C8C18EE-D4A7-5652-5C56-CA3376D5792A}"/>
              </a:ext>
            </a:extLst>
          </p:cNvPr>
          <p:cNvSpPr>
            <a:spLocks noGrp="1" noChangeAspect="1"/>
          </p:cNvSpPr>
          <p:nvPr>
            <p:ph type="pic" sz="quarter" idx="23" hasCustomPrompt="1"/>
          </p:nvPr>
        </p:nvSpPr>
        <p:spPr>
          <a:xfrm>
            <a:off x="3247489" y="2900276"/>
            <a:ext cx="2839907" cy="1224000"/>
          </a:xfrm>
        </p:spPr>
        <p:txBody>
          <a:bodyPr/>
          <a:lstStyle>
            <a:lvl1pPr algn="ctr">
              <a:defRPr b="0"/>
            </a:lvl1pPr>
          </a:lstStyle>
          <a:p>
            <a:r>
              <a:rPr lang="en-US"/>
              <a:t>Drag n drop section slide</a:t>
            </a:r>
            <a:endParaRPr lang="en-GB"/>
          </a:p>
        </p:txBody>
      </p:sp>
      <p:sp>
        <p:nvSpPr>
          <p:cNvPr id="22" name="Picture Placeholder 7">
            <a:extLst>
              <a:ext uri="{FF2B5EF4-FFF2-40B4-BE49-F238E27FC236}">
                <a16:creationId xmlns:a16="http://schemas.microsoft.com/office/drawing/2014/main" id="{C611C755-0FB9-25C3-F957-E7E7490CC8F1}"/>
              </a:ext>
            </a:extLst>
          </p:cNvPr>
          <p:cNvSpPr>
            <a:spLocks noGrp="1" noChangeAspect="1"/>
          </p:cNvSpPr>
          <p:nvPr>
            <p:ph type="pic" sz="quarter" idx="24" hasCustomPrompt="1"/>
          </p:nvPr>
        </p:nvSpPr>
        <p:spPr>
          <a:xfrm>
            <a:off x="6177520" y="2900276"/>
            <a:ext cx="2839907" cy="1224000"/>
          </a:xfrm>
        </p:spPr>
        <p:txBody>
          <a:bodyPr/>
          <a:lstStyle>
            <a:lvl1pPr algn="ctr">
              <a:defRPr b="0"/>
            </a:lvl1pPr>
          </a:lstStyle>
          <a:p>
            <a:r>
              <a:rPr lang="en-US"/>
              <a:t>Drag n drop section slide</a:t>
            </a:r>
            <a:endParaRPr lang="en-GB"/>
          </a:p>
        </p:txBody>
      </p:sp>
      <p:sp>
        <p:nvSpPr>
          <p:cNvPr id="23" name="Picture Placeholder 7">
            <a:extLst>
              <a:ext uri="{FF2B5EF4-FFF2-40B4-BE49-F238E27FC236}">
                <a16:creationId xmlns:a16="http://schemas.microsoft.com/office/drawing/2014/main" id="{623E7F9A-E663-E8EA-3D49-8CA69F84BEF7}"/>
              </a:ext>
            </a:extLst>
          </p:cNvPr>
          <p:cNvSpPr>
            <a:spLocks noGrp="1" noChangeAspect="1"/>
          </p:cNvSpPr>
          <p:nvPr>
            <p:ph type="pic" sz="quarter" idx="25" hasCustomPrompt="1"/>
          </p:nvPr>
        </p:nvSpPr>
        <p:spPr>
          <a:xfrm>
            <a:off x="9107552" y="2900276"/>
            <a:ext cx="2839907" cy="1224000"/>
          </a:xfrm>
        </p:spPr>
        <p:txBody>
          <a:bodyPr/>
          <a:lstStyle>
            <a:lvl1pPr algn="ctr">
              <a:defRPr b="0"/>
            </a:lvl1pPr>
          </a:lstStyle>
          <a:p>
            <a:r>
              <a:rPr lang="en-US"/>
              <a:t>Drag n drop section slide</a:t>
            </a:r>
            <a:endParaRPr lang="en-GB"/>
          </a:p>
        </p:txBody>
      </p:sp>
      <p:sp>
        <p:nvSpPr>
          <p:cNvPr id="24" name="Picture Placeholder 5">
            <a:extLst>
              <a:ext uri="{FF2B5EF4-FFF2-40B4-BE49-F238E27FC236}">
                <a16:creationId xmlns:a16="http://schemas.microsoft.com/office/drawing/2014/main" id="{1087F912-FFF1-F6EE-0BDB-72B934075D45}"/>
              </a:ext>
            </a:extLst>
          </p:cNvPr>
          <p:cNvSpPr>
            <a:spLocks noGrp="1" noChangeAspect="1"/>
          </p:cNvSpPr>
          <p:nvPr>
            <p:ph type="pic" sz="quarter" idx="26" hasCustomPrompt="1"/>
          </p:nvPr>
        </p:nvSpPr>
        <p:spPr>
          <a:xfrm>
            <a:off x="448873" y="4242328"/>
            <a:ext cx="2738486" cy="1224000"/>
          </a:xfrm>
        </p:spPr>
        <p:txBody>
          <a:bodyPr/>
          <a:lstStyle>
            <a:lvl1pPr algn="ctr">
              <a:defRPr b="0"/>
            </a:lvl1pPr>
          </a:lstStyle>
          <a:p>
            <a:r>
              <a:rPr lang="en-US"/>
              <a:t>Drag n drop section slide</a:t>
            </a:r>
            <a:endParaRPr lang="en-GB"/>
          </a:p>
        </p:txBody>
      </p:sp>
      <p:sp>
        <p:nvSpPr>
          <p:cNvPr id="25" name="Picture Placeholder 7">
            <a:extLst>
              <a:ext uri="{FF2B5EF4-FFF2-40B4-BE49-F238E27FC236}">
                <a16:creationId xmlns:a16="http://schemas.microsoft.com/office/drawing/2014/main" id="{7AEB131A-D0CA-47B3-6D4D-B1ADEF9171B2}"/>
              </a:ext>
            </a:extLst>
          </p:cNvPr>
          <p:cNvSpPr>
            <a:spLocks noGrp="1" noChangeAspect="1"/>
          </p:cNvSpPr>
          <p:nvPr>
            <p:ph type="pic" sz="quarter" idx="27" hasCustomPrompt="1"/>
          </p:nvPr>
        </p:nvSpPr>
        <p:spPr>
          <a:xfrm>
            <a:off x="3280620" y="4242328"/>
            <a:ext cx="2839907" cy="1224000"/>
          </a:xfrm>
        </p:spPr>
        <p:txBody>
          <a:bodyPr/>
          <a:lstStyle>
            <a:lvl1pPr algn="ctr">
              <a:defRPr b="0"/>
            </a:lvl1pPr>
          </a:lstStyle>
          <a:p>
            <a:r>
              <a:rPr lang="en-US"/>
              <a:t>Drag n drop section slide</a:t>
            </a:r>
            <a:endParaRPr lang="en-GB"/>
          </a:p>
        </p:txBody>
      </p:sp>
      <p:sp>
        <p:nvSpPr>
          <p:cNvPr id="26" name="Picture Placeholder 7">
            <a:extLst>
              <a:ext uri="{FF2B5EF4-FFF2-40B4-BE49-F238E27FC236}">
                <a16:creationId xmlns:a16="http://schemas.microsoft.com/office/drawing/2014/main" id="{A308A6DB-E97A-0D6C-D897-21551C0ECDEE}"/>
              </a:ext>
            </a:extLst>
          </p:cNvPr>
          <p:cNvSpPr>
            <a:spLocks noGrp="1" noChangeAspect="1"/>
          </p:cNvSpPr>
          <p:nvPr>
            <p:ph type="pic" sz="quarter" idx="28" hasCustomPrompt="1"/>
          </p:nvPr>
        </p:nvSpPr>
        <p:spPr>
          <a:xfrm>
            <a:off x="6210651" y="4242328"/>
            <a:ext cx="2839907" cy="1224000"/>
          </a:xfrm>
        </p:spPr>
        <p:txBody>
          <a:bodyPr/>
          <a:lstStyle>
            <a:lvl1pPr algn="ctr">
              <a:defRPr b="0"/>
            </a:lvl1pPr>
          </a:lstStyle>
          <a:p>
            <a:r>
              <a:rPr lang="en-US"/>
              <a:t>Drag n drop section slide</a:t>
            </a:r>
            <a:endParaRPr lang="en-GB"/>
          </a:p>
        </p:txBody>
      </p:sp>
      <p:sp>
        <p:nvSpPr>
          <p:cNvPr id="27" name="Picture Placeholder 7">
            <a:extLst>
              <a:ext uri="{FF2B5EF4-FFF2-40B4-BE49-F238E27FC236}">
                <a16:creationId xmlns:a16="http://schemas.microsoft.com/office/drawing/2014/main" id="{CD9BE19E-1E1D-7AA2-A17F-612AFE31BB53}"/>
              </a:ext>
            </a:extLst>
          </p:cNvPr>
          <p:cNvSpPr>
            <a:spLocks noGrp="1" noChangeAspect="1"/>
          </p:cNvSpPr>
          <p:nvPr>
            <p:ph type="pic" sz="quarter" idx="29" hasCustomPrompt="1"/>
          </p:nvPr>
        </p:nvSpPr>
        <p:spPr>
          <a:xfrm>
            <a:off x="9140683" y="4242328"/>
            <a:ext cx="2839907" cy="1224000"/>
          </a:xfrm>
        </p:spPr>
        <p:txBody>
          <a:bodyPr/>
          <a:lstStyle>
            <a:lvl1pPr algn="ctr">
              <a:defRPr b="0"/>
            </a:lvl1pPr>
          </a:lstStyle>
          <a:p>
            <a:r>
              <a:rPr lang="en-US"/>
              <a:t>Drag n drop section slide</a:t>
            </a:r>
            <a:endParaRPr lang="en-GB"/>
          </a:p>
        </p:txBody>
      </p:sp>
      <p:sp>
        <p:nvSpPr>
          <p:cNvPr id="10" name="TextBox 9">
            <a:extLst>
              <a:ext uri="{FF2B5EF4-FFF2-40B4-BE49-F238E27FC236}">
                <a16:creationId xmlns:a16="http://schemas.microsoft.com/office/drawing/2014/main" id="{F456025F-3F39-3336-9925-3C93CDDB158E}"/>
              </a:ext>
            </a:extLst>
          </p:cNvPr>
          <p:cNvSpPr txBox="1"/>
          <p:nvPr userDrawn="1"/>
        </p:nvSpPr>
        <p:spPr>
          <a:xfrm>
            <a:off x="11682742" y="6458310"/>
            <a:ext cx="409669" cy="276999"/>
          </a:xfrm>
          <a:prstGeom prst="rect">
            <a:avLst/>
          </a:prstGeom>
          <a:noFill/>
        </p:spPr>
        <p:txBody>
          <a:bodyPr wrap="square" anchor="ctr">
            <a:spAutoFit/>
          </a:bodyPr>
          <a:lstStyle/>
          <a:p>
            <a:fld id="{562BA7E0-5F5E-EE41-AE8D-BD30ED9E17AD}" type="slidenum">
              <a:rPr lang="en-GB" sz="1200" smtClean="0">
                <a:solidFill>
                  <a:schemeClr val="tx1"/>
                </a:solidFill>
                <a:latin typeface="Arial" panose="020B0604020202020204" pitchFamily="34" charset="0"/>
                <a:cs typeface="Arial" panose="020B0604020202020204" pitchFamily="34" charset="0"/>
              </a:rPr>
              <a:pPr/>
              <a:t>‹#›</a:t>
            </a:fld>
            <a:endParaRPr lang="en-GB" sz="1200">
              <a:solidFill>
                <a:schemeClr val="tx1"/>
              </a:solidFill>
              <a:latin typeface="Arial" panose="020B0604020202020204" pitchFamily="34" charset="0"/>
              <a:cs typeface="Arial" panose="020B0604020202020204" pitchFamily="34" charset="0"/>
            </a:endParaRPr>
          </a:p>
        </p:txBody>
      </p:sp>
      <p:pic>
        <p:nvPicPr>
          <p:cNvPr id="12" name="Picture 11" descr="A logo on a black background&#10;&#10;Description automatically generated">
            <a:extLst>
              <a:ext uri="{FF2B5EF4-FFF2-40B4-BE49-F238E27FC236}">
                <a16:creationId xmlns:a16="http://schemas.microsoft.com/office/drawing/2014/main" id="{4284300E-D272-2A48-0ADB-580BE8448E2D}"/>
              </a:ext>
            </a:extLst>
          </p:cNvPr>
          <p:cNvPicPr>
            <a:picLocks noChangeAspect="1"/>
          </p:cNvPicPr>
          <p:nvPr userDrawn="1"/>
        </p:nvPicPr>
        <p:blipFill rotWithShape="1">
          <a:blip r:embed="rId7"/>
          <a:srcRect l="7819" t="33017" r="74362" b="36885"/>
          <a:stretch/>
        </p:blipFill>
        <p:spPr>
          <a:xfrm>
            <a:off x="263816" y="329400"/>
            <a:ext cx="682031" cy="648000"/>
          </a:xfrm>
          <a:prstGeom prst="rect">
            <a:avLst/>
          </a:prstGeom>
        </p:spPr>
      </p:pic>
      <p:sp>
        <p:nvSpPr>
          <p:cNvPr id="11" name="Footer Placeholder 4">
            <a:extLst>
              <a:ext uri="{FF2B5EF4-FFF2-40B4-BE49-F238E27FC236}">
                <a16:creationId xmlns:a16="http://schemas.microsoft.com/office/drawing/2014/main" id="{BAD39FEC-C47C-3952-05B1-B2EC1C7825DF}"/>
              </a:ext>
            </a:extLst>
          </p:cNvPr>
          <p:cNvSpPr>
            <a:spLocks noGrp="1"/>
          </p:cNvSpPr>
          <p:nvPr>
            <p:ph type="ftr" sz="quarter" idx="3"/>
          </p:nvPr>
        </p:nvSpPr>
        <p:spPr>
          <a:xfrm>
            <a:off x="7350369" y="6429964"/>
            <a:ext cx="3176758" cy="309600"/>
          </a:xfrm>
          <a:prstGeom prst="rect">
            <a:avLst/>
          </a:prstGeom>
          <a:ln>
            <a:noFill/>
          </a:ln>
        </p:spPr>
        <p:txBody>
          <a:bodyPr vert="horz" lIns="91440" tIns="45720" rIns="91440" bIns="45720" rtlCol="0" anchor="ctr"/>
          <a:lstStyle>
            <a:lvl1pPr algn="l">
              <a:defRPr sz="1000" b="0" i="0">
                <a:solidFill>
                  <a:schemeClr val="tx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Cobalt Market Outlook</a:t>
            </a:r>
          </a:p>
        </p:txBody>
      </p:sp>
      <p:sp>
        <p:nvSpPr>
          <p:cNvPr id="13" name="TextBox 12">
            <a:extLst>
              <a:ext uri="{FF2B5EF4-FFF2-40B4-BE49-F238E27FC236}">
                <a16:creationId xmlns:a16="http://schemas.microsoft.com/office/drawing/2014/main" id="{4AA0C791-0C91-D34F-A875-09C82EEA0F22}"/>
              </a:ext>
            </a:extLst>
          </p:cNvPr>
          <p:cNvSpPr txBox="1"/>
          <p:nvPr userDrawn="1"/>
        </p:nvSpPr>
        <p:spPr>
          <a:xfrm>
            <a:off x="5476126" y="6429964"/>
            <a:ext cx="1286726" cy="276999"/>
          </a:xfrm>
          <a:prstGeom prst="rect">
            <a:avLst/>
          </a:prstGeom>
          <a:noFill/>
          <a:ln>
            <a:noFill/>
          </a:ln>
        </p:spPr>
        <p:txBody>
          <a:bodyPr wrap="square">
            <a:spAutoFit/>
          </a:bodyPr>
          <a:lstStyle/>
          <a:p>
            <a:pPr algn="ctr"/>
            <a:r>
              <a:rPr lang="en-GB" sz="1200" b="0" i="1">
                <a:solidFill>
                  <a:schemeClr val="tx1">
                    <a:lumMod val="50000"/>
                  </a:schemeClr>
                </a:solidFill>
                <a:latin typeface="Garamond" panose="02020404030301010803" pitchFamily="18" charset="0"/>
                <a:ea typeface="Helvetica Neue Thin" panose="020B0403020202020204" pitchFamily="34" charset="0"/>
                <a:cs typeface="Arial" panose="020B0604020202020204" pitchFamily="34" charset="0"/>
              </a:rPr>
              <a:t>October 2025</a:t>
            </a:r>
          </a:p>
        </p:txBody>
      </p:sp>
    </p:spTree>
    <p:extLst>
      <p:ext uri="{BB962C8B-B14F-4D97-AF65-F5344CB8AC3E}">
        <p14:creationId xmlns:p14="http://schemas.microsoft.com/office/powerpoint/2010/main" val="2200284154"/>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 Content + Text Summ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399" y="324000"/>
            <a:ext cx="10714547"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2750" y="1259992"/>
            <a:ext cx="5683250" cy="288000"/>
          </a:xfrm>
          <a:noFill/>
        </p:spPr>
        <p:txBody>
          <a:bodyPr lIns="0">
            <a:noAutofit/>
          </a:bodyPr>
          <a:lstStyle>
            <a:lvl1pPr>
              <a:defRPr sz="1300">
                <a:solidFill>
                  <a:schemeClr val="accent6"/>
                </a:solidFill>
              </a:defRPr>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2750" y="1624192"/>
            <a:ext cx="5683250" cy="4284000"/>
          </a:xfrm>
          <a:noFill/>
        </p:spPr>
        <p:txBody>
          <a:bodyPr/>
          <a:lstStyle>
            <a:lvl1pPr algn="ctr">
              <a:defRPr b="0"/>
            </a:lvl1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p:nvPr>
        </p:nvSpPr>
        <p:spPr>
          <a:xfrm>
            <a:off x="6223000" y="1258504"/>
            <a:ext cx="5555461" cy="4927600"/>
          </a:xfrm>
          <a:noFill/>
        </p:spPr>
        <p:txBody>
          <a:bodyPr lIns="252000" tIns="252000" rIns="252000" bIns="252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5683250" cy="215999"/>
          </a:xfrm>
          <a:noFill/>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16" name="Footer Placeholder 4">
            <a:extLst>
              <a:ext uri="{FF2B5EF4-FFF2-40B4-BE49-F238E27FC236}">
                <a16:creationId xmlns:a16="http://schemas.microsoft.com/office/drawing/2014/main" id="{7BA15D20-E912-9A43-DF16-3BEC7804E12F}"/>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Cobalt Market Outlook</a:t>
            </a:r>
          </a:p>
        </p:txBody>
      </p:sp>
    </p:spTree>
    <p:extLst>
      <p:ext uri="{BB962C8B-B14F-4D97-AF65-F5344CB8AC3E}">
        <p14:creationId xmlns:p14="http://schemas.microsoft.com/office/powerpoint/2010/main" val="2780501796"/>
      </p:ext>
    </p:extLst>
  </p:cSld>
  <p:clrMapOvr>
    <a:masterClrMapping/>
  </p:clrMapOvr>
  <p:extLst>
    <p:ext uri="{DCECCB84-F9BA-43D5-87BE-67443E8EF086}">
      <p15:sldGuideLst xmlns:p15="http://schemas.microsoft.com/office/powerpoint/2012/main">
        <p15:guide id="1" orient="horz" pos="1344">
          <p15:clr>
            <a:srgbClr val="5ACBF0"/>
          </p15:clr>
        </p15:guide>
        <p15:guide id="2" orient="horz" pos="3249">
          <p15:clr>
            <a:srgbClr val="5ACBF0"/>
          </p15:clr>
        </p15:guide>
        <p15:guide id="3" pos="3613">
          <p15:clr>
            <a:srgbClr val="5ACBF0"/>
          </p15:clr>
        </p15:guide>
        <p15:guide id="4" pos="710">
          <p15:clr>
            <a:srgbClr val="5ACBF0"/>
          </p15:clr>
        </p15:guide>
        <p15:guide id="5" orient="horz" pos="913">
          <p15:clr>
            <a:srgbClr val="F26B43"/>
          </p15:clr>
        </p15:guide>
        <p15:guide id="6" orient="horz" pos="3702">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 Content + Text Summ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702516"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3538" y="1258504"/>
            <a:ext cx="5683250" cy="288000"/>
          </a:xfrm>
          <a:noFill/>
        </p:spPr>
        <p:txBody>
          <a:bodyPr lIns="0">
            <a:noAutofit/>
          </a:bodyPr>
          <a:lstStyle>
            <a:lvl1pPr>
              <a:defRPr sz="1300">
                <a:solidFill>
                  <a:schemeClr val="accent6"/>
                </a:solidFill>
              </a:defRPr>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2749" y="1605156"/>
            <a:ext cx="5683250" cy="1980000"/>
          </a:xfrm>
          <a:noFill/>
        </p:spPr>
        <p:txBody>
          <a:bodyPr/>
          <a:lstStyle>
            <a:lvl1pPr algn="ctr">
              <a:defRPr b="0"/>
            </a:lvl1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p:nvPr>
        </p:nvSpPr>
        <p:spPr>
          <a:xfrm>
            <a:off x="6223000" y="1258504"/>
            <a:ext cx="5555461" cy="4928400"/>
          </a:xfrm>
          <a:noFill/>
          <a:effectLst/>
        </p:spPr>
        <p:txBody>
          <a:bodyPr vert="horz" lIns="252000" tIns="252000" rIns="252000" bIns="252000" rtlCol="0" anchor="ctr" anchorCtr="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5683250" cy="215999"/>
          </a:xfrm>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5" name="Text Placeholder 5">
            <a:extLst>
              <a:ext uri="{FF2B5EF4-FFF2-40B4-BE49-F238E27FC236}">
                <a16:creationId xmlns:a16="http://schemas.microsoft.com/office/drawing/2014/main" id="{6F3DB6FA-17D2-4D4B-9C68-7E57F40924D2}"/>
              </a:ext>
            </a:extLst>
          </p:cNvPr>
          <p:cNvSpPr>
            <a:spLocks noGrp="1"/>
          </p:cNvSpPr>
          <p:nvPr>
            <p:ph type="body" sz="quarter" idx="16" hasCustomPrompt="1"/>
          </p:nvPr>
        </p:nvSpPr>
        <p:spPr>
          <a:xfrm>
            <a:off x="412749" y="3645967"/>
            <a:ext cx="5683250" cy="288000"/>
          </a:xfrm>
          <a:noFill/>
        </p:spPr>
        <p:txBody>
          <a:bodyPr lIns="0">
            <a:noAutofit/>
          </a:bodyPr>
          <a:lstStyle>
            <a:lvl1pPr>
              <a:defRPr sz="1300">
                <a:solidFill>
                  <a:schemeClr val="accent6"/>
                </a:solidFill>
              </a:defRPr>
            </a:lvl1pPr>
          </a:lstStyle>
          <a:p>
            <a:pPr lvl="0"/>
            <a:r>
              <a:rPr lang="en-US"/>
              <a:t>Chart headline</a:t>
            </a:r>
          </a:p>
        </p:txBody>
      </p:sp>
      <p:sp>
        <p:nvSpPr>
          <p:cNvPr id="7" name="Content Placeholder 7">
            <a:extLst>
              <a:ext uri="{FF2B5EF4-FFF2-40B4-BE49-F238E27FC236}">
                <a16:creationId xmlns:a16="http://schemas.microsoft.com/office/drawing/2014/main" id="{C08AD70F-27D9-726E-A182-BA90022F5C6A}"/>
              </a:ext>
            </a:extLst>
          </p:cNvPr>
          <p:cNvSpPr>
            <a:spLocks noGrp="1"/>
          </p:cNvSpPr>
          <p:nvPr>
            <p:ph sz="quarter" idx="17" hasCustomPrompt="1"/>
          </p:nvPr>
        </p:nvSpPr>
        <p:spPr>
          <a:xfrm>
            <a:off x="412749" y="3977822"/>
            <a:ext cx="5683250" cy="1980000"/>
          </a:xfrm>
          <a:noFill/>
        </p:spPr>
        <p:txBody>
          <a:bodyPr/>
          <a:lstStyle>
            <a:lvl1pPr algn="ctr">
              <a:defRPr b="0"/>
            </a:lvl1pPr>
          </a:lstStyle>
          <a:p>
            <a:pPr lvl="0"/>
            <a:r>
              <a:rPr lang="en-US"/>
              <a:t>Insert Chart</a:t>
            </a:r>
            <a:endParaRPr lang="en-GB"/>
          </a:p>
        </p:txBody>
      </p:sp>
      <p:cxnSp>
        <p:nvCxnSpPr>
          <p:cNvPr id="14" name="Straight Connector 13">
            <a:extLst>
              <a:ext uri="{FF2B5EF4-FFF2-40B4-BE49-F238E27FC236}">
                <a16:creationId xmlns:a16="http://schemas.microsoft.com/office/drawing/2014/main" id="{99F03CBC-84CD-B420-8B01-8709221EF2D7}"/>
              </a:ext>
            </a:extLst>
          </p:cNvPr>
          <p:cNvCxnSpPr>
            <a:cxnSpLocks/>
          </p:cNvCxnSpPr>
          <p:nvPr userDrawn="1"/>
        </p:nvCxnSpPr>
        <p:spPr>
          <a:xfrm>
            <a:off x="2702950" y="6356350"/>
            <a:ext cx="1274379" cy="0"/>
          </a:xfrm>
          <a:prstGeom prst="line">
            <a:avLst/>
          </a:prstGeom>
          <a:ln w="6350">
            <a:no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F1FF571E-5F0D-6DE5-BAFA-37F40C5DB574}"/>
              </a:ext>
            </a:extLst>
          </p:cNvPr>
          <p:cNvCxnSpPr>
            <a:cxnSpLocks/>
          </p:cNvCxnSpPr>
          <p:nvPr userDrawn="1"/>
        </p:nvCxnSpPr>
        <p:spPr>
          <a:xfrm>
            <a:off x="5488473" y="6356350"/>
            <a:ext cx="1274379" cy="0"/>
          </a:xfrm>
          <a:prstGeom prst="line">
            <a:avLst/>
          </a:prstGeom>
          <a:ln w="6350">
            <a:no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6B2BEF9B-0C61-8243-085B-A71234DBE5AB}"/>
              </a:ext>
            </a:extLst>
          </p:cNvPr>
          <p:cNvCxnSpPr>
            <a:cxnSpLocks/>
          </p:cNvCxnSpPr>
          <p:nvPr userDrawn="1"/>
        </p:nvCxnSpPr>
        <p:spPr>
          <a:xfrm>
            <a:off x="7411982" y="6356350"/>
            <a:ext cx="1274379" cy="0"/>
          </a:xfrm>
          <a:prstGeom prst="line">
            <a:avLst/>
          </a:prstGeom>
          <a:ln w="6350">
            <a:noFill/>
          </a:ln>
        </p:spPr>
        <p:style>
          <a:lnRef idx="2">
            <a:schemeClr val="accent1"/>
          </a:lnRef>
          <a:fillRef idx="0">
            <a:schemeClr val="accent1"/>
          </a:fillRef>
          <a:effectRef idx="1">
            <a:schemeClr val="accent1"/>
          </a:effectRef>
          <a:fontRef idx="minor">
            <a:schemeClr val="tx1"/>
          </a:fontRef>
        </p:style>
      </p:cxnSp>
      <p:sp>
        <p:nvSpPr>
          <p:cNvPr id="18" name="Footer Placeholder 4">
            <a:extLst>
              <a:ext uri="{FF2B5EF4-FFF2-40B4-BE49-F238E27FC236}">
                <a16:creationId xmlns:a16="http://schemas.microsoft.com/office/drawing/2014/main" id="{52E70746-9160-C39A-1872-2ACD9DAB8314}"/>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Cobalt Market Outlook</a:t>
            </a:r>
          </a:p>
        </p:txBody>
      </p:sp>
    </p:spTree>
    <p:extLst>
      <p:ext uri="{BB962C8B-B14F-4D97-AF65-F5344CB8AC3E}">
        <p14:creationId xmlns:p14="http://schemas.microsoft.com/office/powerpoint/2010/main" val="1399273737"/>
      </p:ext>
    </p:extLst>
  </p:cSld>
  <p:clrMapOvr>
    <a:masterClrMapping/>
  </p:clrMapOvr>
  <p:extLst>
    <p:ext uri="{DCECCB84-F9BA-43D5-87BE-67443E8EF086}">
      <p15:sldGuideLst xmlns:p15="http://schemas.microsoft.com/office/powerpoint/2012/main">
        <p15:guide id="1" pos="665">
          <p15:clr>
            <a:srgbClr val="5ACBF0"/>
          </p15:clr>
        </p15:guide>
        <p15:guide id="2" pos="3613">
          <p15:clr>
            <a:srgbClr val="5ACBF0"/>
          </p15:clr>
        </p15:guide>
        <p15:guide id="3" orient="horz" pos="1094">
          <p15:clr>
            <a:srgbClr val="5ACBF0"/>
          </p15:clr>
        </p15:guide>
        <p15:guide id="4" orient="horz" pos="1933">
          <p15:clr>
            <a:srgbClr val="5ACBF0"/>
          </p15:clr>
        </p15:guide>
        <p15:guide id="5" orient="horz" pos="3543">
          <p15:clr>
            <a:srgbClr val="5ACBF0"/>
          </p15:clr>
        </p15:guide>
        <p15:guide id="6" orient="horz" pos="2659">
          <p15:clr>
            <a:srgbClr val="5ACBF0"/>
          </p15:clr>
        </p15:guide>
        <p15:guide id="7" orient="horz" pos="799">
          <p15:clr>
            <a:srgbClr val="F26B43"/>
          </p15:clr>
        </p15:guide>
        <p15:guide id="8" orient="horz" pos="2387">
          <p15:clr>
            <a:srgbClr val="F26B43"/>
          </p15:clr>
        </p15:guide>
        <p15:guide id="9" orient="horz" pos="3770">
          <p15:clr>
            <a:srgbClr val="F26B43"/>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ummary Storybo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399" y="324000"/>
            <a:ext cx="10726579"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3537" y="1258504"/>
            <a:ext cx="2880000" cy="288000"/>
          </a:xfrm>
          <a:noFill/>
        </p:spPr>
        <p:txBody>
          <a:bodyPr lIns="0">
            <a:noAutofit/>
          </a:bodyPr>
          <a:lstStyle>
            <a:lvl1pPr>
              <a:defRPr sz="1300">
                <a:solidFill>
                  <a:schemeClr val="accent6"/>
                </a:solidFill>
              </a:defRPr>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4000" y="1625704"/>
            <a:ext cx="3780000" cy="2124000"/>
          </a:xfrm>
          <a:noFill/>
        </p:spPr>
        <p:txBody>
          <a:bodyPr/>
          <a:lstStyle>
            <a:lvl1pPr algn="ctr">
              <a:defRPr b="0"/>
            </a:lvl1pPr>
            <a:lvl5pPr>
              <a:defRPr/>
            </a:lvl5pPr>
          </a:lstStyle>
          <a:p>
            <a:pPr lvl="0"/>
            <a:r>
              <a:rPr lang="en-US"/>
              <a:t>Insert Char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11365200" cy="215999"/>
          </a:xfrm>
          <a:noFill/>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5" name="Text Placeholder 5">
            <a:extLst>
              <a:ext uri="{FF2B5EF4-FFF2-40B4-BE49-F238E27FC236}">
                <a16:creationId xmlns:a16="http://schemas.microsoft.com/office/drawing/2014/main" id="{D7616806-7E32-D88B-F740-18B7BC6A1ECE}"/>
              </a:ext>
            </a:extLst>
          </p:cNvPr>
          <p:cNvSpPr>
            <a:spLocks noGrp="1"/>
          </p:cNvSpPr>
          <p:nvPr>
            <p:ph type="body" sz="quarter" idx="16"/>
          </p:nvPr>
        </p:nvSpPr>
        <p:spPr>
          <a:xfrm>
            <a:off x="414000" y="3813276"/>
            <a:ext cx="3780000" cy="2124000"/>
          </a:xfrm>
          <a:noFill/>
          <a:effectLst/>
        </p:spPr>
        <p:txBody>
          <a:bodyPr vert="horz" lIns="72000" tIns="72000" rIns="72000" bIns="108000" rtlCol="0" anchor="t" anchorCtr="0">
            <a:noAutofit/>
          </a:bodyPr>
          <a:lstStyle>
            <a:lvl1pPr>
              <a:defRPr lang="en-US" sz="1300"/>
            </a:lvl1pPr>
            <a:lvl2pPr>
              <a:defRPr lang="en-US" sz="1100"/>
            </a:lvl2pPr>
            <a:lvl3pPr>
              <a:defRPr lang="en-US" sz="1100"/>
            </a:lvl3pPr>
            <a:lvl4pPr>
              <a:defRPr lang="en-US" sz="900"/>
            </a:lvl4pPr>
            <a:lvl5pPr>
              <a:defRPr lang="en-US"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41A38980-B6C7-2C12-669B-DF4E926D0985}"/>
              </a:ext>
            </a:extLst>
          </p:cNvPr>
          <p:cNvSpPr>
            <a:spLocks noGrp="1"/>
          </p:cNvSpPr>
          <p:nvPr>
            <p:ph type="body" sz="quarter" idx="18"/>
          </p:nvPr>
        </p:nvSpPr>
        <p:spPr>
          <a:xfrm>
            <a:off x="4212000" y="3813276"/>
            <a:ext cx="3780000" cy="2124000"/>
          </a:xfrm>
          <a:noFill/>
          <a:effectLst/>
        </p:spPr>
        <p:txBody>
          <a:bodyPr vert="horz" lIns="72000" tIns="72000" rIns="72000" bIns="108000" rtlCol="0" anchor="t" anchorCtr="0">
            <a:noAutofit/>
          </a:bodyPr>
          <a:lstStyle>
            <a:lvl1pPr>
              <a:defRPr lang="en-US" sz="1300"/>
            </a:lvl1pPr>
            <a:lvl2pPr>
              <a:defRPr lang="en-US" sz="1100"/>
            </a:lvl2pPr>
            <a:lvl3pPr>
              <a:defRPr lang="en-US" sz="1100"/>
            </a:lvl3pPr>
            <a:lvl4pPr>
              <a:defRPr lang="en-US" sz="900"/>
            </a:lvl4pPr>
            <a:lvl5pPr>
              <a:defRPr lang="en-US"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0F05E3CC-77D8-00D4-3892-43359D3D440D}"/>
              </a:ext>
            </a:extLst>
          </p:cNvPr>
          <p:cNvSpPr>
            <a:spLocks noGrp="1"/>
          </p:cNvSpPr>
          <p:nvPr>
            <p:ph type="body" sz="quarter" idx="20" hasCustomPrompt="1"/>
          </p:nvPr>
        </p:nvSpPr>
        <p:spPr>
          <a:xfrm>
            <a:off x="4212000" y="1258504"/>
            <a:ext cx="2880000" cy="288000"/>
          </a:xfrm>
          <a:noFill/>
        </p:spPr>
        <p:txBody>
          <a:bodyPr lIns="108000">
            <a:noAutofit/>
          </a:bodyPr>
          <a:lstStyle>
            <a:lvl1pPr>
              <a:defRPr sz="1300">
                <a:solidFill>
                  <a:schemeClr val="accent6"/>
                </a:solidFill>
              </a:defRPr>
            </a:lvl1pPr>
          </a:lstStyle>
          <a:p>
            <a:pPr lvl="0"/>
            <a:r>
              <a:rPr lang="en-US"/>
              <a:t>Chart headline</a:t>
            </a:r>
          </a:p>
        </p:txBody>
      </p:sp>
      <p:sp>
        <p:nvSpPr>
          <p:cNvPr id="14" name="Content Placeholder 7">
            <a:extLst>
              <a:ext uri="{FF2B5EF4-FFF2-40B4-BE49-F238E27FC236}">
                <a16:creationId xmlns:a16="http://schemas.microsoft.com/office/drawing/2014/main" id="{CB8F5FCB-FB91-1CC1-0B13-4616C17F6F8D}"/>
              </a:ext>
            </a:extLst>
          </p:cNvPr>
          <p:cNvSpPr>
            <a:spLocks noGrp="1"/>
          </p:cNvSpPr>
          <p:nvPr>
            <p:ph sz="quarter" idx="21" hasCustomPrompt="1"/>
          </p:nvPr>
        </p:nvSpPr>
        <p:spPr>
          <a:xfrm>
            <a:off x="4212000" y="1625704"/>
            <a:ext cx="3780000" cy="2124000"/>
          </a:xfrm>
          <a:noFill/>
        </p:spPr>
        <p:txBody>
          <a:bodyPr/>
          <a:lstStyle>
            <a:lvl1pPr algn="ctr">
              <a:defRPr b="0"/>
            </a:lvl1pPr>
            <a:lvl5pPr>
              <a:defRPr/>
            </a:lvl5pPr>
          </a:lstStyle>
          <a:p>
            <a:pPr lvl="0"/>
            <a:r>
              <a:rPr lang="en-US"/>
              <a:t>Insert Chart</a:t>
            </a:r>
            <a:endParaRPr lang="en-GB"/>
          </a:p>
        </p:txBody>
      </p:sp>
      <p:sp>
        <p:nvSpPr>
          <p:cNvPr id="15" name="Text Placeholder 5">
            <a:extLst>
              <a:ext uri="{FF2B5EF4-FFF2-40B4-BE49-F238E27FC236}">
                <a16:creationId xmlns:a16="http://schemas.microsoft.com/office/drawing/2014/main" id="{AC5DE7FF-9635-D689-F58B-811576F0D013}"/>
              </a:ext>
            </a:extLst>
          </p:cNvPr>
          <p:cNvSpPr>
            <a:spLocks noGrp="1"/>
          </p:cNvSpPr>
          <p:nvPr>
            <p:ph type="body" sz="quarter" idx="22"/>
          </p:nvPr>
        </p:nvSpPr>
        <p:spPr>
          <a:xfrm>
            <a:off x="8010000" y="3813276"/>
            <a:ext cx="3780000" cy="2124000"/>
          </a:xfrm>
          <a:noFill/>
          <a:effectLst/>
        </p:spPr>
        <p:txBody>
          <a:bodyPr vert="horz" lIns="72000" tIns="72000" rIns="72000" bIns="108000" rtlCol="0" anchor="t" anchorCtr="0">
            <a:noAutofit/>
          </a:bodyPr>
          <a:lstStyle>
            <a:lvl1pPr>
              <a:defRPr lang="en-US" sz="1300"/>
            </a:lvl1pPr>
            <a:lvl2pPr>
              <a:defRPr lang="en-US" sz="1100"/>
            </a:lvl2pPr>
            <a:lvl3pPr>
              <a:defRPr lang="en-US" sz="1100"/>
            </a:lvl3pPr>
            <a:lvl4pPr>
              <a:defRPr lang="en-US" sz="900"/>
            </a:lvl4pPr>
            <a:lvl5pPr>
              <a:defRPr lang="en-US"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5">
            <a:extLst>
              <a:ext uri="{FF2B5EF4-FFF2-40B4-BE49-F238E27FC236}">
                <a16:creationId xmlns:a16="http://schemas.microsoft.com/office/drawing/2014/main" id="{82725930-D425-C749-FEC9-D1707FF63950}"/>
              </a:ext>
            </a:extLst>
          </p:cNvPr>
          <p:cNvSpPr>
            <a:spLocks noGrp="1"/>
          </p:cNvSpPr>
          <p:nvPr>
            <p:ph type="body" sz="quarter" idx="24" hasCustomPrompt="1"/>
          </p:nvPr>
        </p:nvSpPr>
        <p:spPr>
          <a:xfrm>
            <a:off x="8010000" y="1258504"/>
            <a:ext cx="2880000" cy="288000"/>
          </a:xfrm>
          <a:noFill/>
        </p:spPr>
        <p:txBody>
          <a:bodyPr lIns="108000">
            <a:noAutofit/>
          </a:bodyPr>
          <a:lstStyle>
            <a:lvl1pPr>
              <a:defRPr sz="1300">
                <a:solidFill>
                  <a:schemeClr val="accent6"/>
                </a:solidFill>
              </a:defRPr>
            </a:lvl1pPr>
          </a:lstStyle>
          <a:p>
            <a:pPr lvl="0"/>
            <a:r>
              <a:rPr lang="en-US"/>
              <a:t>Chart headline</a:t>
            </a:r>
          </a:p>
        </p:txBody>
      </p:sp>
      <p:sp>
        <p:nvSpPr>
          <p:cNvPr id="18" name="Content Placeholder 7">
            <a:extLst>
              <a:ext uri="{FF2B5EF4-FFF2-40B4-BE49-F238E27FC236}">
                <a16:creationId xmlns:a16="http://schemas.microsoft.com/office/drawing/2014/main" id="{ECAB1B5D-539C-8387-B045-BAF0C5698A72}"/>
              </a:ext>
            </a:extLst>
          </p:cNvPr>
          <p:cNvSpPr>
            <a:spLocks noGrp="1"/>
          </p:cNvSpPr>
          <p:nvPr>
            <p:ph sz="quarter" idx="25" hasCustomPrompt="1"/>
          </p:nvPr>
        </p:nvSpPr>
        <p:spPr>
          <a:xfrm>
            <a:off x="8010000" y="1625704"/>
            <a:ext cx="3780000" cy="2124000"/>
          </a:xfrm>
          <a:noFill/>
        </p:spPr>
        <p:txBody>
          <a:bodyPr/>
          <a:lstStyle>
            <a:lvl1pPr algn="ctr">
              <a:defRPr b="0"/>
            </a:lvl1pPr>
            <a:lvl5pPr>
              <a:defRPr/>
            </a:lvl5pPr>
          </a:lstStyle>
          <a:p>
            <a:pPr lvl="0"/>
            <a:r>
              <a:rPr lang="en-US"/>
              <a:t>Insert Chart</a:t>
            </a:r>
            <a:endParaRPr lang="en-GB"/>
          </a:p>
        </p:txBody>
      </p:sp>
      <p:sp>
        <p:nvSpPr>
          <p:cNvPr id="22" name="Rectangle 21">
            <a:extLst>
              <a:ext uri="{FF2B5EF4-FFF2-40B4-BE49-F238E27FC236}">
                <a16:creationId xmlns:a16="http://schemas.microsoft.com/office/drawing/2014/main" id="{45563B50-D90E-1882-F8FA-7DC74D658E94}"/>
              </a:ext>
            </a:extLst>
          </p:cNvPr>
          <p:cNvSpPr/>
          <p:nvPr userDrawn="1"/>
        </p:nvSpPr>
        <p:spPr>
          <a:xfrm>
            <a:off x="88900" y="-1219200"/>
            <a:ext cx="12103100" cy="1117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F3931C8E-0E03-F172-6826-5C40A4AA1778}"/>
              </a:ext>
            </a:extLst>
          </p:cNvPr>
          <p:cNvSpPr txBox="1"/>
          <p:nvPr userDrawn="1"/>
        </p:nvSpPr>
        <p:spPr>
          <a:xfrm>
            <a:off x="6810500" y="-1066047"/>
            <a:ext cx="2283961" cy="738664"/>
          </a:xfrm>
          <a:prstGeom prst="rect">
            <a:avLst/>
          </a:prstGeom>
          <a:noFill/>
        </p:spPr>
        <p:txBody>
          <a:bodyPr wrap="square" rtlCol="0">
            <a:spAutoFit/>
          </a:bodyPr>
          <a:lstStyle/>
          <a:p>
            <a:r>
              <a:rPr lang="en-GB" sz="1050">
                <a:solidFill>
                  <a:schemeClr val="tx1">
                    <a:lumMod val="50000"/>
                  </a:schemeClr>
                </a:solidFill>
                <a:latin typeface="Arial" panose="020B0604020202020204" pitchFamily="34" charset="0"/>
                <a:cs typeface="Arial" panose="020B0604020202020204" pitchFamily="34" charset="0"/>
              </a:rPr>
              <a:t>Indicator of affect on price </a:t>
            </a:r>
          </a:p>
          <a:p>
            <a:r>
              <a:rPr lang="en-GB" sz="1050">
                <a:solidFill>
                  <a:schemeClr val="tx1">
                    <a:lumMod val="50000"/>
                  </a:schemeClr>
                </a:solidFill>
                <a:latin typeface="Arial" panose="020B0604020202020204" pitchFamily="34" charset="0"/>
                <a:cs typeface="Arial" panose="020B0604020202020204" pitchFamily="34" charset="0"/>
              </a:rPr>
              <a:t>Bull = upwards price pressure</a:t>
            </a:r>
          </a:p>
          <a:p>
            <a:r>
              <a:rPr lang="en-GB" sz="1050">
                <a:solidFill>
                  <a:schemeClr val="tx1">
                    <a:lumMod val="50000"/>
                  </a:schemeClr>
                </a:solidFill>
                <a:latin typeface="Arial" panose="020B0604020202020204" pitchFamily="34" charset="0"/>
                <a:cs typeface="Arial" panose="020B0604020202020204" pitchFamily="34" charset="0"/>
              </a:rPr>
              <a:t>Bear = downwards price pressure</a:t>
            </a:r>
          </a:p>
          <a:p>
            <a:r>
              <a:rPr lang="en-GB" sz="1050">
                <a:solidFill>
                  <a:schemeClr val="tx1">
                    <a:lumMod val="50000"/>
                  </a:schemeClr>
                </a:solidFill>
                <a:latin typeface="Arial" panose="020B0604020202020204" pitchFamily="34" charset="0"/>
                <a:cs typeface="Arial" panose="020B0604020202020204" pitchFamily="34" charset="0"/>
              </a:rPr>
              <a:t>Neutral = no impact</a:t>
            </a:r>
          </a:p>
        </p:txBody>
      </p:sp>
      <p:sp>
        <p:nvSpPr>
          <p:cNvPr id="24" name="TextBox 23">
            <a:extLst>
              <a:ext uri="{FF2B5EF4-FFF2-40B4-BE49-F238E27FC236}">
                <a16:creationId xmlns:a16="http://schemas.microsoft.com/office/drawing/2014/main" id="{AEA4DC3E-B20E-9C10-189C-BC076F996C84}"/>
              </a:ext>
            </a:extLst>
          </p:cNvPr>
          <p:cNvSpPr txBox="1"/>
          <p:nvPr userDrawn="1"/>
        </p:nvSpPr>
        <p:spPr>
          <a:xfrm>
            <a:off x="266700" y="-973225"/>
            <a:ext cx="6794500" cy="353943"/>
          </a:xfrm>
          <a:prstGeom prst="rect">
            <a:avLst/>
          </a:prstGeom>
          <a:noFill/>
        </p:spPr>
        <p:txBody>
          <a:bodyPr wrap="square" rtlCol="0">
            <a:spAutoFit/>
          </a:bodyPr>
          <a:lstStyle/>
          <a:p>
            <a:r>
              <a:rPr lang="en-GB">
                <a:latin typeface="Arial" panose="020B0604020202020204" pitchFamily="34" charset="0"/>
                <a:cs typeface="Arial" panose="020B0604020202020204" pitchFamily="34" charset="0"/>
              </a:rPr>
              <a:t>Storyboard Layout</a:t>
            </a:r>
          </a:p>
        </p:txBody>
      </p:sp>
      <p:sp>
        <p:nvSpPr>
          <p:cNvPr id="38" name="TextBox 37">
            <a:extLst>
              <a:ext uri="{FF2B5EF4-FFF2-40B4-BE49-F238E27FC236}">
                <a16:creationId xmlns:a16="http://schemas.microsoft.com/office/drawing/2014/main" id="{87E90881-766D-DD44-2F07-687FEE2958DB}"/>
              </a:ext>
            </a:extLst>
          </p:cNvPr>
          <p:cNvSpPr txBox="1"/>
          <p:nvPr userDrawn="1"/>
        </p:nvSpPr>
        <p:spPr>
          <a:xfrm>
            <a:off x="2295556" y="-1024164"/>
            <a:ext cx="2283961" cy="577081"/>
          </a:xfrm>
          <a:prstGeom prst="rect">
            <a:avLst/>
          </a:prstGeom>
          <a:noFill/>
        </p:spPr>
        <p:txBody>
          <a:bodyPr wrap="square" rtlCol="0">
            <a:spAutoFit/>
          </a:bodyPr>
          <a:lstStyle/>
          <a:p>
            <a:r>
              <a:rPr lang="en-GB" sz="1050">
                <a:solidFill>
                  <a:schemeClr val="tx1">
                    <a:lumMod val="50000"/>
                  </a:schemeClr>
                </a:solidFill>
                <a:latin typeface="Arial" panose="020B0604020202020204" pitchFamily="34" charset="0"/>
                <a:cs typeface="Arial" panose="020B0604020202020204" pitchFamily="34" charset="0"/>
              </a:rPr>
              <a:t>Every market outlook needs a storyboard containing a minimum of 7 charts and accompanying text</a:t>
            </a:r>
          </a:p>
        </p:txBody>
      </p:sp>
      <p:sp>
        <p:nvSpPr>
          <p:cNvPr id="39" name="TextBox 38">
            <a:extLst>
              <a:ext uri="{FF2B5EF4-FFF2-40B4-BE49-F238E27FC236}">
                <a16:creationId xmlns:a16="http://schemas.microsoft.com/office/drawing/2014/main" id="{DC3003EA-CCC7-CF54-8D1E-915B6001C670}"/>
              </a:ext>
            </a:extLst>
          </p:cNvPr>
          <p:cNvSpPr txBox="1"/>
          <p:nvPr userDrawn="1"/>
        </p:nvSpPr>
        <p:spPr>
          <a:xfrm>
            <a:off x="4492822" y="-1024164"/>
            <a:ext cx="2283961" cy="738664"/>
          </a:xfrm>
          <a:prstGeom prst="rect">
            <a:avLst/>
          </a:prstGeom>
          <a:noFill/>
        </p:spPr>
        <p:txBody>
          <a:bodyPr wrap="square" rtlCol="0">
            <a:spAutoFit/>
          </a:bodyPr>
          <a:lstStyle/>
          <a:p>
            <a:r>
              <a:rPr lang="en-GB" sz="1050">
                <a:solidFill>
                  <a:schemeClr val="tx1">
                    <a:lumMod val="50000"/>
                  </a:schemeClr>
                </a:solidFill>
                <a:latin typeface="Arial" panose="020B0604020202020204" pitchFamily="34" charset="0"/>
                <a:cs typeface="Arial" panose="020B0604020202020204" pitchFamily="34" charset="0"/>
              </a:rPr>
              <a:t>Place the icons in the box to indicate whether the story element is positive, negative or neutral for commodity prices </a:t>
            </a:r>
          </a:p>
        </p:txBody>
      </p:sp>
      <p:cxnSp>
        <p:nvCxnSpPr>
          <p:cNvPr id="7" name="Straight Connector 6">
            <a:extLst>
              <a:ext uri="{FF2B5EF4-FFF2-40B4-BE49-F238E27FC236}">
                <a16:creationId xmlns:a16="http://schemas.microsoft.com/office/drawing/2014/main" id="{975CDD6E-035F-9465-32D7-99297026358F}"/>
              </a:ext>
            </a:extLst>
          </p:cNvPr>
          <p:cNvCxnSpPr>
            <a:cxnSpLocks/>
          </p:cNvCxnSpPr>
          <p:nvPr userDrawn="1"/>
        </p:nvCxnSpPr>
        <p:spPr>
          <a:xfrm>
            <a:off x="4194000" y="4001234"/>
            <a:ext cx="7937" cy="183600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0" name="Straight Connector 9">
            <a:extLst>
              <a:ext uri="{FF2B5EF4-FFF2-40B4-BE49-F238E27FC236}">
                <a16:creationId xmlns:a16="http://schemas.microsoft.com/office/drawing/2014/main" id="{2A904D48-4B83-5BF3-D639-51D8FAB1FCCD}"/>
              </a:ext>
            </a:extLst>
          </p:cNvPr>
          <p:cNvCxnSpPr>
            <a:cxnSpLocks/>
          </p:cNvCxnSpPr>
          <p:nvPr userDrawn="1"/>
        </p:nvCxnSpPr>
        <p:spPr>
          <a:xfrm>
            <a:off x="7995444" y="4001234"/>
            <a:ext cx="7937" cy="183600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1" name="Straight Connector 10">
            <a:extLst>
              <a:ext uri="{FF2B5EF4-FFF2-40B4-BE49-F238E27FC236}">
                <a16:creationId xmlns:a16="http://schemas.microsoft.com/office/drawing/2014/main" id="{03F1CA78-3547-5512-F36A-2F1EEF65A0E0}"/>
              </a:ext>
            </a:extLst>
          </p:cNvPr>
          <p:cNvCxnSpPr>
            <a:cxnSpLocks/>
          </p:cNvCxnSpPr>
          <p:nvPr userDrawn="1"/>
        </p:nvCxnSpPr>
        <p:spPr>
          <a:xfrm>
            <a:off x="4194000" y="1822040"/>
            <a:ext cx="7937" cy="183600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6" name="Straight Connector 15">
            <a:extLst>
              <a:ext uri="{FF2B5EF4-FFF2-40B4-BE49-F238E27FC236}">
                <a16:creationId xmlns:a16="http://schemas.microsoft.com/office/drawing/2014/main" id="{7561E445-AB46-12BB-71E4-C5DB6124E6E7}"/>
              </a:ext>
            </a:extLst>
          </p:cNvPr>
          <p:cNvCxnSpPr>
            <a:cxnSpLocks/>
          </p:cNvCxnSpPr>
          <p:nvPr userDrawn="1"/>
        </p:nvCxnSpPr>
        <p:spPr>
          <a:xfrm>
            <a:off x="7995444" y="1822040"/>
            <a:ext cx="7937" cy="183600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40" name="Straight Connector 39">
            <a:extLst>
              <a:ext uri="{FF2B5EF4-FFF2-40B4-BE49-F238E27FC236}">
                <a16:creationId xmlns:a16="http://schemas.microsoft.com/office/drawing/2014/main" id="{278D58A8-BE28-DE7D-6C5A-A9A83475BCC9}"/>
              </a:ext>
            </a:extLst>
          </p:cNvPr>
          <p:cNvCxnSpPr>
            <a:cxnSpLocks/>
          </p:cNvCxnSpPr>
          <p:nvPr userDrawn="1"/>
        </p:nvCxnSpPr>
        <p:spPr>
          <a:xfrm>
            <a:off x="684000" y="3792781"/>
            <a:ext cx="3251413" cy="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41" name="Straight Connector 40">
            <a:extLst>
              <a:ext uri="{FF2B5EF4-FFF2-40B4-BE49-F238E27FC236}">
                <a16:creationId xmlns:a16="http://schemas.microsoft.com/office/drawing/2014/main" id="{5B27A369-CAEB-07CB-E8C4-BB5EE7BE8F47}"/>
              </a:ext>
            </a:extLst>
          </p:cNvPr>
          <p:cNvCxnSpPr>
            <a:cxnSpLocks/>
          </p:cNvCxnSpPr>
          <p:nvPr userDrawn="1"/>
        </p:nvCxnSpPr>
        <p:spPr>
          <a:xfrm>
            <a:off x="4464843" y="3792781"/>
            <a:ext cx="3251413" cy="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42" name="Straight Connector 41">
            <a:extLst>
              <a:ext uri="{FF2B5EF4-FFF2-40B4-BE49-F238E27FC236}">
                <a16:creationId xmlns:a16="http://schemas.microsoft.com/office/drawing/2014/main" id="{6F2B0CF4-4040-2F53-E5C0-3C48211F50AF}"/>
              </a:ext>
            </a:extLst>
          </p:cNvPr>
          <p:cNvCxnSpPr>
            <a:cxnSpLocks/>
          </p:cNvCxnSpPr>
          <p:nvPr userDrawn="1"/>
        </p:nvCxnSpPr>
        <p:spPr>
          <a:xfrm>
            <a:off x="8245262" y="3792781"/>
            <a:ext cx="3251413" cy="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sp>
        <p:nvSpPr>
          <p:cNvPr id="51" name="Footer Placeholder 4">
            <a:extLst>
              <a:ext uri="{FF2B5EF4-FFF2-40B4-BE49-F238E27FC236}">
                <a16:creationId xmlns:a16="http://schemas.microsoft.com/office/drawing/2014/main" id="{9EED9D5D-61AA-43F0-8E93-270B5258C413}"/>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Cobalt Market Outlook</a:t>
            </a:r>
          </a:p>
        </p:txBody>
      </p:sp>
      <p:grpSp>
        <p:nvGrpSpPr>
          <p:cNvPr id="3" name="Group 2">
            <a:extLst>
              <a:ext uri="{FF2B5EF4-FFF2-40B4-BE49-F238E27FC236}">
                <a16:creationId xmlns:a16="http://schemas.microsoft.com/office/drawing/2014/main" id="{D85ED702-2E01-0292-0257-7EB238295F44}"/>
              </a:ext>
            </a:extLst>
          </p:cNvPr>
          <p:cNvGrpSpPr/>
          <p:nvPr userDrawn="1"/>
        </p:nvGrpSpPr>
        <p:grpSpPr>
          <a:xfrm>
            <a:off x="8562465" y="-591805"/>
            <a:ext cx="476662" cy="396518"/>
            <a:chOff x="3669046" y="963053"/>
            <a:chExt cx="476662" cy="396518"/>
          </a:xfrm>
        </p:grpSpPr>
        <p:pic>
          <p:nvPicPr>
            <p:cNvPr id="4" name="Content Placeholder 38" descr="Bull with solid fill">
              <a:extLst>
                <a:ext uri="{FF2B5EF4-FFF2-40B4-BE49-F238E27FC236}">
                  <a16:creationId xmlns:a16="http://schemas.microsoft.com/office/drawing/2014/main" id="{C8A0E015-C714-B8F8-C589-37F6A36219C7}"/>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a:stretch/>
          </p:blipFill>
          <p:spPr>
            <a:xfrm>
              <a:off x="3832454" y="963053"/>
              <a:ext cx="313253" cy="313253"/>
            </a:xfrm>
            <a:prstGeom prst="rect">
              <a:avLst/>
            </a:prstGeom>
          </p:spPr>
        </p:pic>
        <p:sp>
          <p:nvSpPr>
            <p:cNvPr id="25" name="TextBox 24">
              <a:extLst>
                <a:ext uri="{FF2B5EF4-FFF2-40B4-BE49-F238E27FC236}">
                  <a16:creationId xmlns:a16="http://schemas.microsoft.com/office/drawing/2014/main" id="{921C8E5E-4E3A-14C6-0DE7-D0EB4251B05E}"/>
                </a:ext>
              </a:extLst>
            </p:cNvPr>
            <p:cNvSpPr txBox="1"/>
            <p:nvPr/>
          </p:nvSpPr>
          <p:spPr>
            <a:xfrm>
              <a:off x="3746560" y="1197988"/>
              <a:ext cx="399148" cy="161583"/>
            </a:xfrm>
            <a:prstGeom prst="rect">
              <a:avLst/>
            </a:prstGeom>
            <a:noFill/>
          </p:spPr>
          <p:txBody>
            <a:bodyPr wrap="none" lIns="0" tIns="0" rIns="0" bIns="0" rtlCol="0">
              <a:spAutoFit/>
            </a:bodyPr>
            <a:lstStyle/>
            <a:p>
              <a:pPr algn="r"/>
              <a:r>
                <a:rPr lang="en-GB" sz="1050">
                  <a:solidFill>
                    <a:schemeClr val="accent3">
                      <a:lumMod val="50000"/>
                    </a:schemeClr>
                  </a:solidFill>
                  <a:latin typeface="Arial" panose="020B0604020202020204" pitchFamily="34" charset="0"/>
                  <a:cs typeface="Arial" panose="020B0604020202020204" pitchFamily="34" charset="0"/>
                </a:rPr>
                <a:t>Bullish</a:t>
              </a:r>
            </a:p>
          </p:txBody>
        </p:sp>
        <p:pic>
          <p:nvPicPr>
            <p:cNvPr id="26" name="Content Placeholder 38" descr="Arrow Up with solid fill">
              <a:extLst>
                <a:ext uri="{FF2B5EF4-FFF2-40B4-BE49-F238E27FC236}">
                  <a16:creationId xmlns:a16="http://schemas.microsoft.com/office/drawing/2014/main" id="{F58400BE-4DED-E57D-062E-33D0741F5083}"/>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rcRect/>
            <a:stretch/>
          </p:blipFill>
          <p:spPr>
            <a:xfrm>
              <a:off x="3669046" y="1013013"/>
              <a:ext cx="216000" cy="184975"/>
            </a:xfrm>
            <a:prstGeom prst="rect">
              <a:avLst/>
            </a:prstGeom>
          </p:spPr>
        </p:pic>
      </p:grpSp>
      <p:grpSp>
        <p:nvGrpSpPr>
          <p:cNvPr id="27" name="Group 26">
            <a:extLst>
              <a:ext uri="{FF2B5EF4-FFF2-40B4-BE49-F238E27FC236}">
                <a16:creationId xmlns:a16="http://schemas.microsoft.com/office/drawing/2014/main" id="{6F1650D9-5286-575F-B4F1-8057E980F2DC}"/>
              </a:ext>
            </a:extLst>
          </p:cNvPr>
          <p:cNvGrpSpPr/>
          <p:nvPr userDrawn="1"/>
        </p:nvGrpSpPr>
        <p:grpSpPr>
          <a:xfrm>
            <a:off x="9408606" y="-591805"/>
            <a:ext cx="491542" cy="419533"/>
            <a:chOff x="7440115" y="940038"/>
            <a:chExt cx="491542" cy="419533"/>
          </a:xfrm>
        </p:grpSpPr>
        <p:sp>
          <p:nvSpPr>
            <p:cNvPr id="28" name="TextBox 27">
              <a:extLst>
                <a:ext uri="{FF2B5EF4-FFF2-40B4-BE49-F238E27FC236}">
                  <a16:creationId xmlns:a16="http://schemas.microsoft.com/office/drawing/2014/main" id="{C52A125A-97AC-7979-A1BD-D3C7314EFF2B}"/>
                </a:ext>
              </a:extLst>
            </p:cNvPr>
            <p:cNvSpPr txBox="1"/>
            <p:nvPr/>
          </p:nvSpPr>
          <p:spPr>
            <a:xfrm>
              <a:off x="7453712" y="1197988"/>
              <a:ext cx="458460" cy="161583"/>
            </a:xfrm>
            <a:prstGeom prst="rect">
              <a:avLst/>
            </a:prstGeom>
            <a:noFill/>
          </p:spPr>
          <p:txBody>
            <a:bodyPr wrap="none" lIns="0" tIns="0" rIns="0" bIns="0" rtlCol="0">
              <a:spAutoFit/>
            </a:bodyPr>
            <a:lstStyle/>
            <a:p>
              <a:pPr algn="r"/>
              <a:r>
                <a:rPr lang="en-GB" sz="1050">
                  <a:solidFill>
                    <a:schemeClr val="accent3">
                      <a:lumMod val="50000"/>
                    </a:schemeClr>
                  </a:solidFill>
                  <a:latin typeface="Arial" panose="020B0604020202020204" pitchFamily="34" charset="0"/>
                  <a:cs typeface="Arial" panose="020B0604020202020204" pitchFamily="34" charset="0"/>
                </a:rPr>
                <a:t>Bearish</a:t>
              </a:r>
            </a:p>
          </p:txBody>
        </p:sp>
        <p:pic>
          <p:nvPicPr>
            <p:cNvPr id="29" name="Content Placeholder 38" descr="Bear with solid fill">
              <a:extLst>
                <a:ext uri="{FF2B5EF4-FFF2-40B4-BE49-F238E27FC236}">
                  <a16:creationId xmlns:a16="http://schemas.microsoft.com/office/drawing/2014/main" id="{0EABBDE0-EB37-F885-8358-06A13F1782E5}"/>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rcRect/>
            <a:stretch/>
          </p:blipFill>
          <p:spPr>
            <a:xfrm>
              <a:off x="7440115" y="940038"/>
              <a:ext cx="313253" cy="313253"/>
            </a:xfrm>
            <a:prstGeom prst="rect">
              <a:avLst/>
            </a:prstGeom>
          </p:spPr>
        </p:pic>
        <p:pic>
          <p:nvPicPr>
            <p:cNvPr id="30" name="Content Placeholder 38" descr="Arrow Up with solid fill">
              <a:extLst>
                <a:ext uri="{FF2B5EF4-FFF2-40B4-BE49-F238E27FC236}">
                  <a16:creationId xmlns:a16="http://schemas.microsoft.com/office/drawing/2014/main" id="{E7912A7D-82DD-A2B6-6FF9-65D37818D9B9}"/>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rcRect/>
            <a:stretch/>
          </p:blipFill>
          <p:spPr>
            <a:xfrm flipV="1">
              <a:off x="7715657" y="1023855"/>
              <a:ext cx="216000" cy="189806"/>
            </a:xfrm>
            <a:prstGeom prst="rect">
              <a:avLst/>
            </a:prstGeom>
          </p:spPr>
        </p:pic>
      </p:grpSp>
      <p:grpSp>
        <p:nvGrpSpPr>
          <p:cNvPr id="31" name="Group 30">
            <a:extLst>
              <a:ext uri="{FF2B5EF4-FFF2-40B4-BE49-F238E27FC236}">
                <a16:creationId xmlns:a16="http://schemas.microsoft.com/office/drawing/2014/main" id="{21CDC61F-7AE9-0C7C-14DC-F17BDBEB15CE}"/>
              </a:ext>
            </a:extLst>
          </p:cNvPr>
          <p:cNvGrpSpPr/>
          <p:nvPr userDrawn="1"/>
        </p:nvGrpSpPr>
        <p:grpSpPr>
          <a:xfrm>
            <a:off x="10269627" y="-591805"/>
            <a:ext cx="436017" cy="392882"/>
            <a:chOff x="11020076" y="979202"/>
            <a:chExt cx="436017" cy="392882"/>
          </a:xfrm>
        </p:grpSpPr>
        <p:sp>
          <p:nvSpPr>
            <p:cNvPr id="32" name="TextBox 31">
              <a:extLst>
                <a:ext uri="{FF2B5EF4-FFF2-40B4-BE49-F238E27FC236}">
                  <a16:creationId xmlns:a16="http://schemas.microsoft.com/office/drawing/2014/main" id="{61C11229-B5CB-A6E9-193F-950E21BC54E9}"/>
                </a:ext>
              </a:extLst>
            </p:cNvPr>
            <p:cNvSpPr txBox="1"/>
            <p:nvPr/>
          </p:nvSpPr>
          <p:spPr>
            <a:xfrm>
              <a:off x="11020076" y="1210501"/>
              <a:ext cx="436017" cy="161583"/>
            </a:xfrm>
            <a:prstGeom prst="rect">
              <a:avLst/>
            </a:prstGeom>
            <a:noFill/>
          </p:spPr>
          <p:txBody>
            <a:bodyPr wrap="none" lIns="0" tIns="0" rIns="0" bIns="0" rtlCol="0">
              <a:spAutoFit/>
            </a:bodyPr>
            <a:lstStyle/>
            <a:p>
              <a:pPr algn="r"/>
              <a:r>
                <a:rPr lang="en-GB" sz="1050">
                  <a:solidFill>
                    <a:schemeClr val="accent3">
                      <a:lumMod val="50000"/>
                    </a:schemeClr>
                  </a:solidFill>
                  <a:latin typeface="Arial" panose="020B0604020202020204" pitchFamily="34" charset="0"/>
                  <a:cs typeface="Arial" panose="020B0604020202020204" pitchFamily="34" charset="0"/>
                </a:rPr>
                <a:t>Neutral</a:t>
              </a:r>
            </a:p>
          </p:txBody>
        </p:sp>
        <p:grpSp>
          <p:nvGrpSpPr>
            <p:cNvPr id="33" name="Group 32">
              <a:extLst>
                <a:ext uri="{FF2B5EF4-FFF2-40B4-BE49-F238E27FC236}">
                  <a16:creationId xmlns:a16="http://schemas.microsoft.com/office/drawing/2014/main" id="{AF0E90F9-CDF7-CD38-2D1E-8FD10336347F}"/>
                </a:ext>
              </a:extLst>
            </p:cNvPr>
            <p:cNvGrpSpPr>
              <a:grpSpLocks noChangeAspect="1"/>
            </p:cNvGrpSpPr>
            <p:nvPr/>
          </p:nvGrpSpPr>
          <p:grpSpPr>
            <a:xfrm>
              <a:off x="11069401" y="979202"/>
              <a:ext cx="342268" cy="313200"/>
              <a:chOff x="11075627" y="402317"/>
              <a:chExt cx="525527" cy="480895"/>
            </a:xfrm>
          </p:grpSpPr>
          <p:pic>
            <p:nvPicPr>
              <p:cNvPr id="34" name="Graphic 33" descr="Arrow: Straight with solid fill">
                <a:extLst>
                  <a:ext uri="{FF2B5EF4-FFF2-40B4-BE49-F238E27FC236}">
                    <a16:creationId xmlns:a16="http://schemas.microsoft.com/office/drawing/2014/main" id="{4C1244AE-797B-5568-4F9E-5B7E06AA1C67}"/>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rot="10800000">
                <a:off x="11183549" y="402317"/>
                <a:ext cx="417605" cy="410138"/>
              </a:xfrm>
              <a:prstGeom prst="rect">
                <a:avLst/>
              </a:prstGeom>
            </p:spPr>
          </p:pic>
          <p:pic>
            <p:nvPicPr>
              <p:cNvPr id="35" name="Graphic 34" descr="Arrow: Straight with solid fill">
                <a:extLst>
                  <a:ext uri="{FF2B5EF4-FFF2-40B4-BE49-F238E27FC236}">
                    <a16:creationId xmlns:a16="http://schemas.microsoft.com/office/drawing/2014/main" id="{0F45D3BF-B50C-8122-7E35-B1267DF1D2B2}"/>
                  </a:ext>
                </a:extLst>
              </p:cNvPr>
              <p:cNvPicPr>
                <a:picLocks noChangeAspect="1"/>
              </p:cNvPicPr>
              <p:nvPr userDrawn="1"/>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11075627" y="473074"/>
                <a:ext cx="417605" cy="410138"/>
              </a:xfrm>
              <a:prstGeom prst="rect">
                <a:avLst/>
              </a:prstGeom>
            </p:spPr>
          </p:pic>
        </p:grpSp>
      </p:grpSp>
    </p:spTree>
    <p:extLst>
      <p:ext uri="{BB962C8B-B14F-4D97-AF65-F5344CB8AC3E}">
        <p14:creationId xmlns:p14="http://schemas.microsoft.com/office/powerpoint/2010/main" val="3101897163"/>
      </p:ext>
    </p:extLst>
  </p:cSld>
  <p:clrMapOvr>
    <a:masterClrMapping/>
  </p:clrMapOvr>
  <p:extLst>
    <p:ext uri="{DCECCB84-F9BA-43D5-87BE-67443E8EF086}">
      <p15:sldGuideLst xmlns:p15="http://schemas.microsoft.com/office/powerpoint/2012/main">
        <p15:guide id="1" pos="551">
          <p15:clr>
            <a:srgbClr val="5ACBF0"/>
          </p15:clr>
        </p15:guide>
        <p15:guide id="2" pos="2479">
          <p15:clr>
            <a:srgbClr val="5ACBF0"/>
          </p15:clr>
        </p15:guide>
        <p15:guide id="3" pos="2955">
          <p15:clr>
            <a:srgbClr val="5ACBF0"/>
          </p15:clr>
        </p15:guide>
        <p15:guide id="4" pos="4861">
          <p15:clr>
            <a:srgbClr val="5ACBF0"/>
          </p15:clr>
        </p15:guide>
        <p15:guide id="5" pos="7242">
          <p15:clr>
            <a:srgbClr val="5ACBF0"/>
          </p15:clr>
        </p15:guide>
        <p15:guide id="6" pos="5337">
          <p15:clr>
            <a:srgbClr val="5ACBF0"/>
          </p15:clr>
        </p15:guide>
        <p15:guide id="7" orient="horz" pos="1094">
          <p15:clr>
            <a:srgbClr val="5ACBF0"/>
          </p15:clr>
        </p15:guide>
        <p15:guide id="8" orient="horz" pos="1933">
          <p15:clr>
            <a:srgbClr val="5ACBF0"/>
          </p15:clr>
        </p15:guide>
        <p15:guide id="9" orient="horz" pos="799">
          <p15:clr>
            <a:srgbClr val="F26B43"/>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Key Data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11430000" cy="215999"/>
          </a:xfrm>
          <a:noFill/>
        </p:spPr>
        <p:txBody>
          <a:bodyPr lIns="0">
            <a:noAutofit/>
          </a:bodyPr>
          <a:lstStyle>
            <a:lvl1pPr>
              <a:defRPr sz="1000" b="0">
                <a:solidFill>
                  <a:schemeClr val="bg2">
                    <a:lumMod val="10000"/>
                  </a:schemeClr>
                </a:solidFill>
              </a:defRPr>
            </a:lvl1pPr>
            <a:lvl5pPr>
              <a:defRPr sz="700">
                <a:solidFill>
                  <a:schemeClr val="tx1"/>
                </a:solidFill>
              </a:defRPr>
            </a:lvl5pPr>
          </a:lstStyle>
          <a:p>
            <a:pPr lvl="0"/>
            <a:r>
              <a:rPr lang="en-US"/>
              <a:t>Add your DATA source here</a:t>
            </a:r>
            <a:endParaRPr lang="en-GB"/>
          </a:p>
        </p:txBody>
      </p:sp>
      <p:sp>
        <p:nvSpPr>
          <p:cNvPr id="6" name="Table Placeholder 5">
            <a:extLst>
              <a:ext uri="{FF2B5EF4-FFF2-40B4-BE49-F238E27FC236}">
                <a16:creationId xmlns:a16="http://schemas.microsoft.com/office/drawing/2014/main" id="{846E78D3-677C-7EEB-5DCC-838E09C1BFD1}"/>
              </a:ext>
            </a:extLst>
          </p:cNvPr>
          <p:cNvSpPr>
            <a:spLocks noGrp="1"/>
          </p:cNvSpPr>
          <p:nvPr>
            <p:ph type="tbl" sz="quarter" idx="16"/>
          </p:nvPr>
        </p:nvSpPr>
        <p:spPr>
          <a:xfrm>
            <a:off x="413548" y="1299600"/>
            <a:ext cx="11364913" cy="4613838"/>
          </a:xfrm>
          <a:noFill/>
        </p:spPr>
        <p:txBody>
          <a:bodyPr/>
          <a:lstStyle>
            <a:lvl1pPr algn="ctr">
              <a:defRPr b="0"/>
            </a:lvl1pPr>
          </a:lstStyle>
          <a:p>
            <a:endParaRPr lang="en-GB"/>
          </a:p>
        </p:txBody>
      </p:sp>
      <p:sp>
        <p:nvSpPr>
          <p:cNvPr id="15" name="Footer Placeholder 4">
            <a:extLst>
              <a:ext uri="{FF2B5EF4-FFF2-40B4-BE49-F238E27FC236}">
                <a16:creationId xmlns:a16="http://schemas.microsoft.com/office/drawing/2014/main" id="{51FD0202-2933-261F-FDB3-97C8B4591D9E}"/>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Cobalt Market Outlook</a:t>
            </a:r>
          </a:p>
        </p:txBody>
      </p:sp>
    </p:spTree>
    <p:extLst>
      <p:ext uri="{BB962C8B-B14F-4D97-AF65-F5344CB8AC3E}">
        <p14:creationId xmlns:p14="http://schemas.microsoft.com/office/powerpoint/2010/main" val="3668272767"/>
      </p:ext>
    </p:extLst>
  </p:cSld>
  <p:clrMapOvr>
    <a:masterClrMapping/>
  </p:clrMapOvr>
  <p:extLst>
    <p:ext uri="{DCECCB84-F9BA-43D5-87BE-67443E8EF086}">
      <p15:sldGuideLst xmlns:p15="http://schemas.microsoft.com/office/powerpoint/2012/main">
        <p15:guide id="1" orient="horz" pos="618">
          <p15:clr>
            <a:srgbClr val="F26B43"/>
          </p15:clr>
        </p15:guide>
        <p15:guide id="2" orient="horz" pos="3725">
          <p15:clr>
            <a:srgbClr val="F26B43"/>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 Content + Text -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3537" y="1251472"/>
            <a:ext cx="7560000" cy="288000"/>
          </a:xfrm>
          <a:noFill/>
        </p:spPr>
        <p:txBody>
          <a:bodyPr lIns="0">
            <a:noAutofit/>
          </a:bodyPr>
          <a:lstStyle>
            <a:lvl1pPr>
              <a:defRPr sz="1300">
                <a:solidFill>
                  <a:schemeClr val="accent6"/>
                </a:solidFill>
              </a:defRPr>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2749" y="1618672"/>
            <a:ext cx="7560000" cy="4284000"/>
          </a:xfrm>
          <a:noFill/>
        </p:spPr>
        <p:txBody>
          <a:bodyPr/>
          <a:lstStyle>
            <a:lvl1pPr algn="ctr">
              <a:defRPr b="0"/>
            </a:lvl1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hasCustomPrompt="1"/>
          </p:nvPr>
        </p:nvSpPr>
        <p:spPr>
          <a:xfrm>
            <a:off x="7998461" y="1251472"/>
            <a:ext cx="3780000" cy="4928400"/>
          </a:xfrm>
          <a:noFill/>
          <a:effectLst/>
        </p:spPr>
        <p:txBody>
          <a:bodyPr vert="horz" lIns="252000" tIns="252000" rIns="252000" bIns="252000" rtlCol="0" anchor="ctr" anchorCtr="0">
            <a:noAutofit/>
          </a:bodyPr>
          <a:lstStyle>
            <a:lvl1pPr>
              <a:defRPr lang="en-US"/>
            </a:lvl1pPr>
            <a:lvl2pPr>
              <a:defRPr lang="en-US"/>
            </a:lvl2pPr>
            <a:lvl3pPr>
              <a:defRPr lang="en-US"/>
            </a:lvl3pPr>
            <a:lvl4pPr>
              <a:defRPr lang="en-US"/>
            </a:lvl4pPr>
            <a:lvl5pPr>
              <a:defRPr lang="en-GB"/>
            </a:lvl5pPr>
          </a:lstStyle>
          <a:p>
            <a:pPr lvl="0"/>
            <a:r>
              <a:rPr lang="en-US"/>
              <a:t>Active Headline</a:t>
            </a:r>
          </a:p>
          <a:p>
            <a:pPr lvl="1"/>
            <a:r>
              <a:rPr lang="en-US"/>
              <a:t>Body text</a:t>
            </a:r>
          </a:p>
          <a:p>
            <a:pPr lvl="2"/>
            <a:r>
              <a:rPr lang="en-US"/>
              <a:t>Bullets</a:t>
            </a:r>
          </a:p>
          <a:p>
            <a:pPr lvl="3"/>
            <a:r>
              <a:rPr lang="en-US"/>
              <a:t>2nd level bullets</a:t>
            </a:r>
          </a:p>
          <a:p>
            <a:pPr lvl="4"/>
            <a:r>
              <a:rPr lang="en-US"/>
              <a:t>Notes tex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5982936"/>
            <a:ext cx="7585200" cy="215999"/>
          </a:xfrm>
          <a:noFill/>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17" name="Footer Placeholder 4">
            <a:extLst>
              <a:ext uri="{FF2B5EF4-FFF2-40B4-BE49-F238E27FC236}">
                <a16:creationId xmlns:a16="http://schemas.microsoft.com/office/drawing/2014/main" id="{7E01DB59-9B37-F04F-3777-8FF058C3589A}"/>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Cobalt Market Outlook</a:t>
            </a:r>
          </a:p>
        </p:txBody>
      </p:sp>
    </p:spTree>
    <p:extLst>
      <p:ext uri="{BB962C8B-B14F-4D97-AF65-F5344CB8AC3E}">
        <p14:creationId xmlns:p14="http://schemas.microsoft.com/office/powerpoint/2010/main" val="418419307"/>
      </p:ext>
    </p:extLst>
  </p:cSld>
  <p:clrMapOvr>
    <a:masterClrMapping/>
  </p:clrMapOvr>
  <p:extLst>
    <p:ext uri="{DCECCB84-F9BA-43D5-87BE-67443E8EF086}">
      <p15:sldGuideLst xmlns:p15="http://schemas.microsoft.com/office/powerpoint/2012/main">
        <p15:guide id="1" pos="665">
          <p15:clr>
            <a:srgbClr val="5ACBF0"/>
          </p15:clr>
        </p15:guide>
        <p15:guide id="2" pos="4747">
          <p15:clr>
            <a:srgbClr val="5ACBF0"/>
          </p15:clr>
        </p15:guide>
        <p15:guide id="3" orient="horz" pos="1457">
          <p15:clr>
            <a:srgbClr val="5ACBF0"/>
          </p15:clr>
        </p15:guide>
        <p15:guide id="4" orient="horz" pos="3294">
          <p15:clr>
            <a:srgbClr val="5ACBF0"/>
          </p15:clr>
        </p15:guide>
        <p15:guide id="5" orient="horz" pos="913">
          <p15:clr>
            <a:srgbClr val="F26B43"/>
          </p15:clr>
        </p15:guide>
        <p15:guide id="6" orient="horz" pos="3702">
          <p15:clr>
            <a:srgbClr val="F26B43"/>
          </p15:clr>
        </p15:guide>
        <p15:guide id="7" pos="5042">
          <p15:clr>
            <a:srgbClr val="F26B43"/>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 Content + Text -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3536" y="1251472"/>
            <a:ext cx="7585200" cy="288000"/>
          </a:xfrm>
          <a:noFill/>
        </p:spPr>
        <p:txBody>
          <a:bodyPr lIns="0">
            <a:noAutofit/>
          </a:bodyPr>
          <a:lstStyle>
            <a:lvl1pPr>
              <a:defRPr sz="1300">
                <a:solidFill>
                  <a:schemeClr val="accent6"/>
                </a:solidFill>
              </a:defRPr>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3999" y="1578916"/>
            <a:ext cx="7585200" cy="2016000"/>
          </a:xfrm>
          <a:noFill/>
        </p:spPr>
        <p:txBody>
          <a:bodyPr/>
          <a:lstStyle>
            <a:lvl1pPr algn="ctr">
              <a:defRPr b="0"/>
            </a:lvl1pPr>
            <a:lvl5pPr>
              <a:defRPr/>
            </a:lvl5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hasCustomPrompt="1"/>
          </p:nvPr>
        </p:nvSpPr>
        <p:spPr>
          <a:xfrm>
            <a:off x="7998461" y="1251472"/>
            <a:ext cx="3780000" cy="4928400"/>
          </a:xfrm>
          <a:noFill/>
          <a:effectLst/>
        </p:spPr>
        <p:txBody>
          <a:bodyPr vert="horz" lIns="252000" tIns="252000" rIns="252000" bIns="252000" rtlCol="0" anchor="ctr" anchorCtr="0">
            <a:noAutofit/>
          </a:bodyPr>
          <a:lstStyle>
            <a:lvl1pPr>
              <a:defRPr lang="en-US"/>
            </a:lvl1pPr>
            <a:lvl2pPr>
              <a:defRPr lang="en-US"/>
            </a:lvl2pPr>
            <a:lvl3pPr>
              <a:defRPr lang="en-US"/>
            </a:lvl3pPr>
            <a:lvl4pPr>
              <a:defRPr lang="en-US"/>
            </a:lvl4pPr>
            <a:lvl5pPr>
              <a:defRPr lang="en-GB"/>
            </a:lvl5pPr>
          </a:lstStyle>
          <a:p>
            <a:pPr lvl="0"/>
            <a:r>
              <a:rPr lang="en-US"/>
              <a:t>Active Headline</a:t>
            </a:r>
          </a:p>
          <a:p>
            <a:pPr lvl="1"/>
            <a:r>
              <a:rPr lang="en-US"/>
              <a:t>Body text</a:t>
            </a:r>
          </a:p>
          <a:p>
            <a:pPr lvl="2"/>
            <a:r>
              <a:rPr lang="en-US"/>
              <a:t>Bullets</a:t>
            </a:r>
          </a:p>
          <a:p>
            <a:pPr lvl="3"/>
            <a:r>
              <a:rPr lang="en-US"/>
              <a:t>2nd level bullets</a:t>
            </a:r>
          </a:p>
          <a:p>
            <a:pPr lvl="4"/>
            <a:r>
              <a:rPr lang="en-US"/>
              <a:t>Notes tex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7585200" cy="215999"/>
          </a:xfrm>
          <a:noFill/>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9" name="Text Placeholder 5">
            <a:extLst>
              <a:ext uri="{FF2B5EF4-FFF2-40B4-BE49-F238E27FC236}">
                <a16:creationId xmlns:a16="http://schemas.microsoft.com/office/drawing/2014/main" id="{D49A370F-20C1-AE2C-2D28-B67039D93F62}"/>
              </a:ext>
            </a:extLst>
          </p:cNvPr>
          <p:cNvSpPr>
            <a:spLocks noGrp="1"/>
          </p:cNvSpPr>
          <p:nvPr>
            <p:ph type="body" sz="quarter" idx="16" hasCustomPrompt="1"/>
          </p:nvPr>
        </p:nvSpPr>
        <p:spPr>
          <a:xfrm>
            <a:off x="414000" y="3636899"/>
            <a:ext cx="7585200" cy="288000"/>
          </a:xfrm>
          <a:noFill/>
        </p:spPr>
        <p:txBody>
          <a:bodyPr lIns="0">
            <a:noAutofit/>
          </a:bodyPr>
          <a:lstStyle>
            <a:lvl1pPr>
              <a:defRPr sz="1300">
                <a:solidFill>
                  <a:schemeClr val="accent6"/>
                </a:solidFill>
              </a:defRPr>
            </a:lvl1pPr>
          </a:lstStyle>
          <a:p>
            <a:pPr lvl="0"/>
            <a:r>
              <a:rPr lang="en-US"/>
              <a:t>Chart headline</a:t>
            </a:r>
          </a:p>
        </p:txBody>
      </p:sp>
      <p:sp>
        <p:nvSpPr>
          <p:cNvPr id="11" name="Content Placeholder 7">
            <a:extLst>
              <a:ext uri="{FF2B5EF4-FFF2-40B4-BE49-F238E27FC236}">
                <a16:creationId xmlns:a16="http://schemas.microsoft.com/office/drawing/2014/main" id="{9AE049FE-3B8F-256A-D7E8-577C76D40781}"/>
              </a:ext>
            </a:extLst>
          </p:cNvPr>
          <p:cNvSpPr>
            <a:spLocks noGrp="1"/>
          </p:cNvSpPr>
          <p:nvPr>
            <p:ph sz="quarter" idx="17" hasCustomPrompt="1"/>
          </p:nvPr>
        </p:nvSpPr>
        <p:spPr>
          <a:xfrm>
            <a:off x="413027" y="3966538"/>
            <a:ext cx="7585200" cy="2016000"/>
          </a:xfrm>
          <a:noFill/>
        </p:spPr>
        <p:txBody>
          <a:bodyPr/>
          <a:lstStyle>
            <a:lvl1pPr algn="ctr">
              <a:defRPr b="0"/>
            </a:lvl1pPr>
            <a:lvl5pPr>
              <a:defRPr/>
            </a:lvl5pPr>
          </a:lstStyle>
          <a:p>
            <a:pPr lvl="0"/>
            <a:r>
              <a:rPr lang="en-US"/>
              <a:t>Insert Chart</a:t>
            </a:r>
            <a:endParaRPr lang="en-GB"/>
          </a:p>
        </p:txBody>
      </p:sp>
      <p:sp>
        <p:nvSpPr>
          <p:cNvPr id="19" name="Footer Placeholder 4">
            <a:extLst>
              <a:ext uri="{FF2B5EF4-FFF2-40B4-BE49-F238E27FC236}">
                <a16:creationId xmlns:a16="http://schemas.microsoft.com/office/drawing/2014/main" id="{B0FE7F07-C9DD-79C9-6757-C27B73B8C7A5}"/>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Cobalt Market Outlook</a:t>
            </a:r>
          </a:p>
        </p:txBody>
      </p:sp>
    </p:spTree>
    <p:extLst>
      <p:ext uri="{BB962C8B-B14F-4D97-AF65-F5344CB8AC3E}">
        <p14:creationId xmlns:p14="http://schemas.microsoft.com/office/powerpoint/2010/main" val="138674820"/>
      </p:ext>
    </p:extLst>
  </p:cSld>
  <p:clrMapOvr>
    <a:masterClrMapping/>
  </p:clrMapOvr>
  <p:extLst>
    <p:ext uri="{DCECCB84-F9BA-43D5-87BE-67443E8EF086}">
      <p15:sldGuideLst xmlns:p15="http://schemas.microsoft.com/office/powerpoint/2012/main">
        <p15:guide id="1" pos="665">
          <p15:clr>
            <a:srgbClr val="5ACBF0"/>
          </p15:clr>
        </p15:guide>
        <p15:guide id="4" pos="4747">
          <p15:clr>
            <a:srgbClr val="5ACBF0"/>
          </p15:clr>
        </p15:guide>
        <p15:guide id="5" orient="horz" pos="1071">
          <p15:clr>
            <a:srgbClr val="5ACBF0"/>
          </p15:clr>
        </p15:guide>
        <p15:guide id="6" orient="horz" pos="1911">
          <p15:clr>
            <a:srgbClr val="5ACBF0"/>
          </p15:clr>
        </p15:guide>
        <p15:guide id="7" orient="horz" pos="3521">
          <p15:clr>
            <a:srgbClr val="5ACBF0"/>
          </p15:clr>
        </p15:guide>
        <p15:guide id="8" orient="horz" pos="2636">
          <p15:clr>
            <a:srgbClr val="5ACBF0"/>
          </p15:clr>
        </p15:guide>
        <p15:guide id="9" orient="horz" pos="799">
          <p15:clr>
            <a:srgbClr val="F26B43"/>
          </p15:clr>
        </p15:guide>
        <p15:guide id="10" orient="horz" pos="2364">
          <p15:clr>
            <a:srgbClr val="F26B43"/>
          </p15:clr>
        </p15:guide>
        <p15:guide id="11" orient="horz" pos="3725">
          <p15:clr>
            <a:srgbClr val="F26B43"/>
          </p15:clr>
        </p15:guide>
        <p15:guide id="12" pos="5042">
          <p15:clr>
            <a:srgbClr val="F26B43"/>
          </p15:clr>
        </p15:guide>
        <p15:guide id="13" pos="2638">
          <p15:clr>
            <a:srgbClr val="F26B43"/>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4 Content + Text -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p:nvPr>
        </p:nvSpPr>
        <p:spPr>
          <a:xfrm>
            <a:off x="413537" y="1251472"/>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4000" y="1618672"/>
            <a:ext cx="3780000" cy="4284000"/>
          </a:xfrm>
          <a:noFill/>
        </p:spPr>
        <p:txBody>
          <a:bodyPr/>
          <a:lstStyle>
            <a:lvl1pPr algn="ctr">
              <a:defRPr b="0"/>
            </a:lvl1pPr>
            <a:lvl5pPr>
              <a:defRPr/>
            </a:lvl5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hasCustomPrompt="1"/>
          </p:nvPr>
        </p:nvSpPr>
        <p:spPr>
          <a:xfrm>
            <a:off x="7998461" y="1251472"/>
            <a:ext cx="3780000" cy="4936100"/>
          </a:xfrm>
          <a:noFill/>
          <a:effectLst/>
        </p:spPr>
        <p:txBody>
          <a:bodyPr vert="horz" lIns="252000" tIns="252000" rIns="252000" bIns="252000" rtlCol="0" anchor="ctr" anchorCtr="0">
            <a:noAutofit/>
          </a:bodyPr>
          <a:lstStyle>
            <a:lvl1pPr>
              <a:defRPr lang="en-US"/>
            </a:lvl1pPr>
            <a:lvl2pPr>
              <a:defRPr lang="en-US"/>
            </a:lvl2pPr>
            <a:lvl3pPr>
              <a:defRPr lang="en-US"/>
            </a:lvl3pPr>
            <a:lvl4pPr>
              <a:defRPr lang="en-US"/>
            </a:lvl4pPr>
            <a:lvl5pPr>
              <a:defRPr lang="en-GB"/>
            </a:lvl5pPr>
          </a:lstStyle>
          <a:p>
            <a:pPr lvl="0"/>
            <a:r>
              <a:rPr lang="en-US"/>
              <a:t>Active Headline</a:t>
            </a:r>
          </a:p>
          <a:p>
            <a:pPr lvl="1"/>
            <a:r>
              <a:rPr lang="en-US"/>
              <a:t>Body text</a:t>
            </a:r>
          </a:p>
          <a:p>
            <a:pPr lvl="2"/>
            <a:r>
              <a:rPr lang="en-US"/>
              <a:t>Bullets</a:t>
            </a:r>
          </a:p>
          <a:p>
            <a:pPr lvl="3"/>
            <a:r>
              <a:rPr lang="en-US"/>
              <a:t>2nd level bullets</a:t>
            </a:r>
          </a:p>
          <a:p>
            <a:pPr lvl="4"/>
            <a:r>
              <a:rPr lang="en-US"/>
              <a:t>Notes tex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7560000" cy="215999"/>
          </a:xfrm>
          <a:noFill/>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13" name="Text Placeholder 5">
            <a:extLst>
              <a:ext uri="{FF2B5EF4-FFF2-40B4-BE49-F238E27FC236}">
                <a16:creationId xmlns:a16="http://schemas.microsoft.com/office/drawing/2014/main" id="{0F05E3CC-77D8-00D4-3892-43359D3D440D}"/>
              </a:ext>
            </a:extLst>
          </p:cNvPr>
          <p:cNvSpPr>
            <a:spLocks noGrp="1"/>
          </p:cNvSpPr>
          <p:nvPr>
            <p:ph type="body" sz="quarter" idx="20"/>
          </p:nvPr>
        </p:nvSpPr>
        <p:spPr>
          <a:xfrm>
            <a:off x="4212000" y="1251472"/>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14" name="Content Placeholder 7">
            <a:extLst>
              <a:ext uri="{FF2B5EF4-FFF2-40B4-BE49-F238E27FC236}">
                <a16:creationId xmlns:a16="http://schemas.microsoft.com/office/drawing/2014/main" id="{CB8F5FCB-FB91-1CC1-0B13-4616C17F6F8D}"/>
              </a:ext>
            </a:extLst>
          </p:cNvPr>
          <p:cNvSpPr>
            <a:spLocks noGrp="1"/>
          </p:cNvSpPr>
          <p:nvPr>
            <p:ph sz="quarter" idx="21" hasCustomPrompt="1"/>
          </p:nvPr>
        </p:nvSpPr>
        <p:spPr>
          <a:xfrm>
            <a:off x="4211999" y="1618672"/>
            <a:ext cx="3780000" cy="4284000"/>
          </a:xfrm>
          <a:noFill/>
        </p:spPr>
        <p:txBody>
          <a:bodyPr/>
          <a:lstStyle>
            <a:lvl1pPr algn="ctr">
              <a:defRPr b="0"/>
            </a:lvl1pPr>
            <a:lvl5pPr>
              <a:defRPr/>
            </a:lvl5pPr>
          </a:lstStyle>
          <a:p>
            <a:pPr lvl="0"/>
            <a:r>
              <a:rPr lang="en-US"/>
              <a:t>Insert Chart</a:t>
            </a:r>
            <a:endParaRPr lang="en-GB"/>
          </a:p>
        </p:txBody>
      </p:sp>
      <p:sp>
        <p:nvSpPr>
          <p:cNvPr id="19" name="Footer Placeholder 4">
            <a:extLst>
              <a:ext uri="{FF2B5EF4-FFF2-40B4-BE49-F238E27FC236}">
                <a16:creationId xmlns:a16="http://schemas.microsoft.com/office/drawing/2014/main" id="{A7EAE299-1F76-73EE-8745-EE23D4D11B09}"/>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Cobalt Market Outlook</a:t>
            </a:r>
          </a:p>
        </p:txBody>
      </p:sp>
    </p:spTree>
    <p:extLst>
      <p:ext uri="{BB962C8B-B14F-4D97-AF65-F5344CB8AC3E}">
        <p14:creationId xmlns:p14="http://schemas.microsoft.com/office/powerpoint/2010/main" val="4024241749"/>
      </p:ext>
    </p:extLst>
  </p:cSld>
  <p:clrMapOvr>
    <a:masterClrMapping/>
  </p:clrMapOvr>
  <p:extLst>
    <p:ext uri="{DCECCB84-F9BA-43D5-87BE-67443E8EF086}">
      <p15:sldGuideLst xmlns:p15="http://schemas.microsoft.com/office/powerpoint/2012/main">
        <p15:guide id="1" pos="665">
          <p15:clr>
            <a:srgbClr val="5ACBF0"/>
          </p15:clr>
        </p15:guide>
        <p15:guide id="2" pos="2434">
          <p15:clr>
            <a:srgbClr val="5ACBF0"/>
          </p15:clr>
        </p15:guide>
        <p15:guide id="3" pos="3069">
          <p15:clr>
            <a:srgbClr val="5ACBF0"/>
          </p15:clr>
        </p15:guide>
        <p15:guide id="4" pos="4838">
          <p15:clr>
            <a:srgbClr val="5ACBF0"/>
          </p15:clr>
        </p15:guide>
        <p15:guide id="5" orient="horz" pos="1253">
          <p15:clr>
            <a:srgbClr val="5ACBF0"/>
          </p15:clr>
        </p15:guide>
        <p15:guide id="7" orient="horz" pos="3271">
          <p15:clr>
            <a:srgbClr val="5ACBF0"/>
          </p15:clr>
        </p15:guide>
        <p15:guide id="9" orient="horz" pos="799">
          <p15:clr>
            <a:srgbClr val="F26B43"/>
          </p15:clr>
        </p15:guide>
        <p15:guide id="11" orient="horz" pos="3725">
          <p15:clr>
            <a:srgbClr val="F26B43"/>
          </p15:clr>
        </p15:guide>
        <p15:guide id="12" pos="5042">
          <p15:clr>
            <a:srgbClr val="F26B43"/>
          </p15:clr>
        </p15:guide>
        <p15:guide id="13" pos="2638">
          <p15:clr>
            <a:srgbClr val="F26B43"/>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4 Content + Text -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p:nvPr>
        </p:nvSpPr>
        <p:spPr>
          <a:xfrm>
            <a:off x="413537" y="1251472"/>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4000" y="1618672"/>
            <a:ext cx="3780000" cy="4284000"/>
          </a:xfrm>
          <a:noFill/>
        </p:spPr>
        <p:txBody>
          <a:bodyPr/>
          <a:lstStyle>
            <a:lvl1pPr algn="ctr">
              <a:defRPr b="0"/>
            </a:lvl1pPr>
            <a:lvl5pPr>
              <a:defRPr/>
            </a:lvl5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hasCustomPrompt="1"/>
          </p:nvPr>
        </p:nvSpPr>
        <p:spPr>
          <a:xfrm>
            <a:off x="7998461" y="1251472"/>
            <a:ext cx="3780000" cy="4936100"/>
          </a:xfrm>
          <a:noFill/>
          <a:effectLst/>
        </p:spPr>
        <p:txBody>
          <a:bodyPr vert="horz" lIns="252000" tIns="252000" rIns="252000" bIns="252000" rtlCol="0" anchor="ctr" anchorCtr="0">
            <a:noAutofit/>
          </a:bodyPr>
          <a:lstStyle>
            <a:lvl1pPr>
              <a:defRPr lang="en-US"/>
            </a:lvl1pPr>
            <a:lvl2pPr>
              <a:defRPr lang="en-US"/>
            </a:lvl2pPr>
            <a:lvl3pPr>
              <a:defRPr lang="en-US"/>
            </a:lvl3pPr>
            <a:lvl4pPr>
              <a:defRPr lang="en-US"/>
            </a:lvl4pPr>
            <a:lvl5pPr>
              <a:defRPr lang="en-GB"/>
            </a:lvl5pPr>
          </a:lstStyle>
          <a:p>
            <a:pPr lvl="0"/>
            <a:r>
              <a:rPr lang="en-US"/>
              <a:t>Active Headline</a:t>
            </a:r>
          </a:p>
          <a:p>
            <a:pPr lvl="1"/>
            <a:r>
              <a:rPr lang="en-US"/>
              <a:t>Body text</a:t>
            </a:r>
          </a:p>
          <a:p>
            <a:pPr lvl="2"/>
            <a:r>
              <a:rPr lang="en-US"/>
              <a:t>Bullets</a:t>
            </a:r>
          </a:p>
          <a:p>
            <a:pPr lvl="3"/>
            <a:r>
              <a:rPr lang="en-US"/>
              <a:t>2nd level bullets</a:t>
            </a:r>
          </a:p>
          <a:p>
            <a:pPr lvl="4"/>
            <a:r>
              <a:rPr lang="en-US"/>
              <a:t>Notes tex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7560000" cy="215999"/>
          </a:xfrm>
          <a:noFill/>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13" name="Text Placeholder 5">
            <a:extLst>
              <a:ext uri="{FF2B5EF4-FFF2-40B4-BE49-F238E27FC236}">
                <a16:creationId xmlns:a16="http://schemas.microsoft.com/office/drawing/2014/main" id="{0F05E3CC-77D8-00D4-3892-43359D3D440D}"/>
              </a:ext>
            </a:extLst>
          </p:cNvPr>
          <p:cNvSpPr>
            <a:spLocks noGrp="1"/>
          </p:cNvSpPr>
          <p:nvPr>
            <p:ph type="body" sz="quarter" idx="20"/>
          </p:nvPr>
        </p:nvSpPr>
        <p:spPr>
          <a:xfrm>
            <a:off x="4212000" y="1251472"/>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14" name="Content Placeholder 7">
            <a:extLst>
              <a:ext uri="{FF2B5EF4-FFF2-40B4-BE49-F238E27FC236}">
                <a16:creationId xmlns:a16="http://schemas.microsoft.com/office/drawing/2014/main" id="{CB8F5FCB-FB91-1CC1-0B13-4616C17F6F8D}"/>
              </a:ext>
            </a:extLst>
          </p:cNvPr>
          <p:cNvSpPr>
            <a:spLocks noGrp="1"/>
          </p:cNvSpPr>
          <p:nvPr>
            <p:ph sz="quarter" idx="21" hasCustomPrompt="1"/>
          </p:nvPr>
        </p:nvSpPr>
        <p:spPr>
          <a:xfrm>
            <a:off x="4211999" y="1618672"/>
            <a:ext cx="3780000" cy="1921970"/>
          </a:xfrm>
          <a:noFill/>
        </p:spPr>
        <p:txBody>
          <a:bodyPr/>
          <a:lstStyle>
            <a:lvl1pPr algn="ctr">
              <a:defRPr b="0"/>
            </a:lvl1pPr>
            <a:lvl5pPr>
              <a:defRPr/>
            </a:lvl5pPr>
          </a:lstStyle>
          <a:p>
            <a:pPr lvl="0"/>
            <a:r>
              <a:rPr lang="en-US"/>
              <a:t>Insert Chart</a:t>
            </a:r>
            <a:endParaRPr lang="en-GB"/>
          </a:p>
        </p:txBody>
      </p:sp>
      <p:sp>
        <p:nvSpPr>
          <p:cNvPr id="19" name="Footer Placeholder 4">
            <a:extLst>
              <a:ext uri="{FF2B5EF4-FFF2-40B4-BE49-F238E27FC236}">
                <a16:creationId xmlns:a16="http://schemas.microsoft.com/office/drawing/2014/main" id="{A7EAE299-1F76-73EE-8745-EE23D4D11B09}"/>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Cobalt Market Outlook</a:t>
            </a:r>
          </a:p>
        </p:txBody>
      </p:sp>
      <p:sp>
        <p:nvSpPr>
          <p:cNvPr id="3" name="Text Placeholder 5">
            <a:extLst>
              <a:ext uri="{FF2B5EF4-FFF2-40B4-BE49-F238E27FC236}">
                <a16:creationId xmlns:a16="http://schemas.microsoft.com/office/drawing/2014/main" id="{3B4901AB-1B19-543F-ECDA-5EDB06FBE945}"/>
              </a:ext>
            </a:extLst>
          </p:cNvPr>
          <p:cNvSpPr>
            <a:spLocks noGrp="1"/>
          </p:cNvSpPr>
          <p:nvPr>
            <p:ph type="body" sz="quarter" idx="22"/>
          </p:nvPr>
        </p:nvSpPr>
        <p:spPr>
          <a:xfrm>
            <a:off x="4194279" y="3615442"/>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4" name="Content Placeholder 7">
            <a:extLst>
              <a:ext uri="{FF2B5EF4-FFF2-40B4-BE49-F238E27FC236}">
                <a16:creationId xmlns:a16="http://schemas.microsoft.com/office/drawing/2014/main" id="{B6F18716-63C2-AE24-B37F-79B81DD9347F}"/>
              </a:ext>
            </a:extLst>
          </p:cNvPr>
          <p:cNvSpPr>
            <a:spLocks noGrp="1"/>
          </p:cNvSpPr>
          <p:nvPr>
            <p:ph sz="quarter" idx="23" hasCustomPrompt="1"/>
          </p:nvPr>
        </p:nvSpPr>
        <p:spPr>
          <a:xfrm>
            <a:off x="4194278" y="3982642"/>
            <a:ext cx="3780000" cy="1921970"/>
          </a:xfrm>
          <a:noFill/>
        </p:spPr>
        <p:txBody>
          <a:bodyPr/>
          <a:lstStyle>
            <a:lvl1pPr algn="ctr">
              <a:defRPr b="0"/>
            </a:lvl1pPr>
            <a:lvl5pPr>
              <a:defRPr/>
            </a:lvl5pPr>
          </a:lstStyle>
          <a:p>
            <a:pPr lvl="0"/>
            <a:r>
              <a:rPr lang="en-US"/>
              <a:t>Insert Chart</a:t>
            </a:r>
            <a:endParaRPr lang="en-GB"/>
          </a:p>
        </p:txBody>
      </p:sp>
    </p:spTree>
    <p:extLst>
      <p:ext uri="{BB962C8B-B14F-4D97-AF65-F5344CB8AC3E}">
        <p14:creationId xmlns:p14="http://schemas.microsoft.com/office/powerpoint/2010/main" val="725411972"/>
      </p:ext>
    </p:extLst>
  </p:cSld>
  <p:clrMapOvr>
    <a:masterClrMapping/>
  </p:clrMapOvr>
  <p:extLst>
    <p:ext uri="{DCECCB84-F9BA-43D5-87BE-67443E8EF086}">
      <p15:sldGuideLst xmlns:p15="http://schemas.microsoft.com/office/powerpoint/2012/main">
        <p15:guide id="1" pos="665">
          <p15:clr>
            <a:srgbClr val="5ACBF0"/>
          </p15:clr>
        </p15:guide>
        <p15:guide id="2" pos="2434">
          <p15:clr>
            <a:srgbClr val="5ACBF0"/>
          </p15:clr>
        </p15:guide>
        <p15:guide id="3" pos="3069">
          <p15:clr>
            <a:srgbClr val="5ACBF0"/>
          </p15:clr>
        </p15:guide>
        <p15:guide id="4" pos="4838">
          <p15:clr>
            <a:srgbClr val="5ACBF0"/>
          </p15:clr>
        </p15:guide>
        <p15:guide id="5" orient="horz" pos="1253">
          <p15:clr>
            <a:srgbClr val="5ACBF0"/>
          </p15:clr>
        </p15:guide>
        <p15:guide id="7" orient="horz" pos="3271">
          <p15:clr>
            <a:srgbClr val="5ACBF0"/>
          </p15:clr>
        </p15:guide>
        <p15:guide id="9" orient="horz" pos="799">
          <p15:clr>
            <a:srgbClr val="F26B43"/>
          </p15:clr>
        </p15:guide>
        <p15:guide id="11" orient="horz" pos="3725">
          <p15:clr>
            <a:srgbClr val="F26B43"/>
          </p15:clr>
        </p15:guide>
        <p15:guide id="12" pos="5042">
          <p15:clr>
            <a:srgbClr val="F26B43"/>
          </p15:clr>
        </p15:guide>
        <p15:guide id="13" pos="2638">
          <p15:clr>
            <a:srgbClr val="F26B43"/>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3 Content + Text -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3537" y="1251472"/>
            <a:ext cx="7584923" cy="288000"/>
          </a:xfrm>
          <a:noFill/>
        </p:spPr>
        <p:txBody>
          <a:bodyPr lIns="0">
            <a:noAutofit/>
          </a:bodyPr>
          <a:lstStyle>
            <a:lvl1pPr>
              <a:defRPr sz="1300">
                <a:solidFill>
                  <a:schemeClr val="accent6"/>
                </a:solidFill>
              </a:defRPr>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4000" y="1576613"/>
            <a:ext cx="7584923" cy="2016000"/>
          </a:xfrm>
          <a:noFill/>
        </p:spPr>
        <p:txBody>
          <a:bodyPr/>
          <a:lstStyle>
            <a:lvl1pPr algn="ctr">
              <a:defRPr b="0"/>
            </a:lvl1pPr>
            <a:lvl5pPr>
              <a:defRPr/>
            </a:lvl5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hasCustomPrompt="1"/>
          </p:nvPr>
        </p:nvSpPr>
        <p:spPr>
          <a:xfrm>
            <a:off x="7998461" y="1251472"/>
            <a:ext cx="3780000" cy="4928400"/>
          </a:xfrm>
          <a:noFill/>
          <a:effectLst/>
        </p:spPr>
        <p:txBody>
          <a:bodyPr vert="horz" lIns="252000" tIns="252000" rIns="252000" bIns="252000" rtlCol="0" anchor="ctr" anchorCtr="0">
            <a:noAutofit/>
          </a:bodyPr>
          <a:lstStyle>
            <a:lvl1pPr>
              <a:defRPr lang="en-US"/>
            </a:lvl1pPr>
            <a:lvl2pPr>
              <a:defRPr lang="en-US"/>
            </a:lvl2pPr>
            <a:lvl3pPr>
              <a:defRPr lang="en-US"/>
            </a:lvl3pPr>
            <a:lvl4pPr>
              <a:defRPr lang="en-US"/>
            </a:lvl4pPr>
            <a:lvl5pPr>
              <a:defRPr lang="en-GB"/>
            </a:lvl5pPr>
          </a:lstStyle>
          <a:p>
            <a:pPr lvl="0"/>
            <a:r>
              <a:rPr lang="en-US"/>
              <a:t>Active Headline</a:t>
            </a:r>
          </a:p>
          <a:p>
            <a:pPr lvl="1"/>
            <a:r>
              <a:rPr lang="en-US"/>
              <a:t>Body text</a:t>
            </a:r>
          </a:p>
          <a:p>
            <a:pPr lvl="2"/>
            <a:r>
              <a:rPr lang="en-US"/>
              <a:t>Bullets</a:t>
            </a:r>
          </a:p>
          <a:p>
            <a:pPr lvl="3"/>
            <a:r>
              <a:rPr lang="en-US"/>
              <a:t>2nd level bullets</a:t>
            </a:r>
          </a:p>
          <a:p>
            <a:pPr lvl="4"/>
            <a:r>
              <a:rPr lang="en-US"/>
              <a:t>Notes tex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7585200" cy="215999"/>
          </a:xfrm>
          <a:noFill/>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9" name="Text Placeholder 5">
            <a:extLst>
              <a:ext uri="{FF2B5EF4-FFF2-40B4-BE49-F238E27FC236}">
                <a16:creationId xmlns:a16="http://schemas.microsoft.com/office/drawing/2014/main" id="{D49A370F-20C1-AE2C-2D28-B67039D93F62}"/>
              </a:ext>
            </a:extLst>
          </p:cNvPr>
          <p:cNvSpPr>
            <a:spLocks noGrp="1"/>
          </p:cNvSpPr>
          <p:nvPr>
            <p:ph type="body" sz="quarter" idx="16" hasCustomPrompt="1"/>
          </p:nvPr>
        </p:nvSpPr>
        <p:spPr>
          <a:xfrm>
            <a:off x="414000" y="3611386"/>
            <a:ext cx="3780000" cy="288000"/>
          </a:xfrm>
          <a:noFill/>
        </p:spPr>
        <p:txBody>
          <a:bodyPr lIns="0">
            <a:noAutofit/>
          </a:bodyPr>
          <a:lstStyle>
            <a:lvl1pPr>
              <a:defRPr sz="1300">
                <a:solidFill>
                  <a:schemeClr val="accent6"/>
                </a:solidFill>
              </a:defRPr>
            </a:lvl1pPr>
          </a:lstStyle>
          <a:p>
            <a:pPr lvl="0"/>
            <a:r>
              <a:rPr lang="en-US"/>
              <a:t>Chart headline</a:t>
            </a:r>
          </a:p>
        </p:txBody>
      </p:sp>
      <p:sp>
        <p:nvSpPr>
          <p:cNvPr id="11" name="Content Placeholder 7">
            <a:extLst>
              <a:ext uri="{FF2B5EF4-FFF2-40B4-BE49-F238E27FC236}">
                <a16:creationId xmlns:a16="http://schemas.microsoft.com/office/drawing/2014/main" id="{9AE049FE-3B8F-256A-D7E8-577C76D40781}"/>
              </a:ext>
            </a:extLst>
          </p:cNvPr>
          <p:cNvSpPr>
            <a:spLocks noGrp="1"/>
          </p:cNvSpPr>
          <p:nvPr>
            <p:ph sz="quarter" idx="17" hasCustomPrompt="1"/>
          </p:nvPr>
        </p:nvSpPr>
        <p:spPr>
          <a:xfrm>
            <a:off x="413027" y="3933637"/>
            <a:ext cx="3780000" cy="2016000"/>
          </a:xfrm>
          <a:noFill/>
        </p:spPr>
        <p:txBody>
          <a:bodyPr/>
          <a:lstStyle>
            <a:lvl1pPr algn="ctr">
              <a:defRPr b="0"/>
            </a:lvl1pPr>
            <a:lvl5pPr>
              <a:defRPr/>
            </a:lvl5pPr>
          </a:lstStyle>
          <a:p>
            <a:pPr lvl="0"/>
            <a:r>
              <a:rPr lang="en-US"/>
              <a:t>Insert Chart</a:t>
            </a:r>
            <a:endParaRPr lang="en-GB"/>
          </a:p>
        </p:txBody>
      </p:sp>
      <p:sp>
        <p:nvSpPr>
          <p:cNvPr id="13" name="Text Placeholder 5">
            <a:extLst>
              <a:ext uri="{FF2B5EF4-FFF2-40B4-BE49-F238E27FC236}">
                <a16:creationId xmlns:a16="http://schemas.microsoft.com/office/drawing/2014/main" id="{4FBC210F-4D18-EBDF-D1C0-974165764030}"/>
              </a:ext>
            </a:extLst>
          </p:cNvPr>
          <p:cNvSpPr>
            <a:spLocks noGrp="1"/>
          </p:cNvSpPr>
          <p:nvPr>
            <p:ph type="body" sz="quarter" idx="18" hasCustomPrompt="1"/>
          </p:nvPr>
        </p:nvSpPr>
        <p:spPr>
          <a:xfrm>
            <a:off x="4212000" y="3611386"/>
            <a:ext cx="3780000" cy="288000"/>
          </a:xfrm>
          <a:noFill/>
        </p:spPr>
        <p:txBody>
          <a:bodyPr lIns="0">
            <a:noAutofit/>
          </a:bodyPr>
          <a:lstStyle>
            <a:lvl1pPr>
              <a:defRPr sz="1300">
                <a:solidFill>
                  <a:schemeClr val="accent6"/>
                </a:solidFill>
              </a:defRPr>
            </a:lvl1pPr>
          </a:lstStyle>
          <a:p>
            <a:pPr lvl="0"/>
            <a:r>
              <a:rPr lang="en-US"/>
              <a:t>Chart headline</a:t>
            </a:r>
          </a:p>
        </p:txBody>
      </p:sp>
      <p:sp>
        <p:nvSpPr>
          <p:cNvPr id="14" name="Content Placeholder 7">
            <a:extLst>
              <a:ext uri="{FF2B5EF4-FFF2-40B4-BE49-F238E27FC236}">
                <a16:creationId xmlns:a16="http://schemas.microsoft.com/office/drawing/2014/main" id="{ACB90CD1-FFAF-0A5C-32B6-F90923321EA4}"/>
              </a:ext>
            </a:extLst>
          </p:cNvPr>
          <p:cNvSpPr>
            <a:spLocks noGrp="1"/>
          </p:cNvSpPr>
          <p:nvPr>
            <p:ph sz="quarter" idx="19" hasCustomPrompt="1"/>
          </p:nvPr>
        </p:nvSpPr>
        <p:spPr>
          <a:xfrm>
            <a:off x="4212000" y="3933637"/>
            <a:ext cx="3780000" cy="2016000"/>
          </a:xfrm>
          <a:noFill/>
        </p:spPr>
        <p:txBody>
          <a:bodyPr/>
          <a:lstStyle>
            <a:lvl1pPr algn="ctr">
              <a:defRPr b="0"/>
            </a:lvl1pPr>
            <a:lvl5pPr>
              <a:defRPr/>
            </a:lvl5pPr>
          </a:lstStyle>
          <a:p>
            <a:pPr lvl="0"/>
            <a:r>
              <a:rPr lang="en-US"/>
              <a:t>Insert Chart</a:t>
            </a:r>
            <a:endParaRPr lang="en-GB"/>
          </a:p>
        </p:txBody>
      </p:sp>
      <p:sp>
        <p:nvSpPr>
          <p:cNvPr id="21" name="Footer Placeholder 4">
            <a:extLst>
              <a:ext uri="{FF2B5EF4-FFF2-40B4-BE49-F238E27FC236}">
                <a16:creationId xmlns:a16="http://schemas.microsoft.com/office/drawing/2014/main" id="{9E91E95F-0B78-B0DD-44F1-9229CA6FC1F7}"/>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Cobalt Market Outlook</a:t>
            </a:r>
          </a:p>
        </p:txBody>
      </p:sp>
    </p:spTree>
    <p:extLst>
      <p:ext uri="{BB962C8B-B14F-4D97-AF65-F5344CB8AC3E}">
        <p14:creationId xmlns:p14="http://schemas.microsoft.com/office/powerpoint/2010/main" val="710216626"/>
      </p:ext>
    </p:extLst>
  </p:cSld>
  <p:clrMapOvr>
    <a:masterClrMapping/>
  </p:clrMapOvr>
  <p:extLst>
    <p:ext uri="{DCECCB84-F9BA-43D5-87BE-67443E8EF086}">
      <p15:sldGuideLst xmlns:p15="http://schemas.microsoft.com/office/powerpoint/2012/main">
        <p15:guide id="1" pos="665">
          <p15:clr>
            <a:srgbClr val="5ACBF0"/>
          </p15:clr>
        </p15:guide>
        <p15:guide id="2" pos="2434">
          <p15:clr>
            <a:srgbClr val="5ACBF0"/>
          </p15:clr>
        </p15:guide>
        <p15:guide id="3" pos="3069">
          <p15:clr>
            <a:srgbClr val="5ACBF0"/>
          </p15:clr>
        </p15:guide>
        <p15:guide id="4" pos="4838">
          <p15:clr>
            <a:srgbClr val="5ACBF0"/>
          </p15:clr>
        </p15:guide>
        <p15:guide id="5" orient="horz" pos="1071">
          <p15:clr>
            <a:srgbClr val="5ACBF0"/>
          </p15:clr>
        </p15:guide>
        <p15:guide id="6" orient="horz" pos="1911">
          <p15:clr>
            <a:srgbClr val="5ACBF0"/>
          </p15:clr>
        </p15:guide>
        <p15:guide id="7" orient="horz" pos="3521">
          <p15:clr>
            <a:srgbClr val="5ACBF0"/>
          </p15:clr>
        </p15:guide>
        <p15:guide id="8" orient="horz" pos="2636">
          <p15:clr>
            <a:srgbClr val="5ACBF0"/>
          </p15:clr>
        </p15:guide>
        <p15:guide id="9" orient="horz" pos="799">
          <p15:clr>
            <a:srgbClr val="F26B43"/>
          </p15:clr>
        </p15:guide>
        <p15:guide id="10" orient="horz" pos="2364">
          <p15:clr>
            <a:srgbClr val="F26B43"/>
          </p15:clr>
        </p15:guide>
        <p15:guide id="11" orient="horz" pos="3725">
          <p15:clr>
            <a:srgbClr val="F26B43"/>
          </p15:clr>
        </p15:guide>
        <p15:guide id="12" pos="5042">
          <p15:clr>
            <a:srgbClr val="F26B43"/>
          </p15:clr>
        </p15:guide>
        <p15:guide id="13" pos="2638">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581E154-12C6-B32E-8C4E-90F758005B0D}"/>
              </a:ext>
            </a:extLst>
          </p:cNvPr>
          <p:cNvGraphicFramePr>
            <a:graphicFrameLocks noChangeAspect="1"/>
          </p:cNvGraphicFramePr>
          <p:nvPr userDrawn="1">
            <p:custDataLst>
              <p:tags r:id="rId2"/>
            </p:custDataLst>
            <p:extLst>
              <p:ext uri="{D42A27DB-BD31-4B8C-83A1-F6EECF244321}">
                <p14:modId xmlns:p14="http://schemas.microsoft.com/office/powerpoint/2010/main" val="620071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4" imgW="351" imgH="351" progId="TCLayout.ActiveDocument.1">
                  <p:embed/>
                </p:oleObj>
              </mc:Choice>
              <mc:Fallback>
                <p:oleObj name="think-cell Slide" r:id="rId4" imgW="351" imgH="351" progId="TCLayout.ActiveDocument.1">
                  <p:embed/>
                  <p:pic>
                    <p:nvPicPr>
                      <p:cNvPr id="5" name="Object 4" hidden="1">
                        <a:extLst>
                          <a:ext uri="{FF2B5EF4-FFF2-40B4-BE49-F238E27FC236}">
                            <a16:creationId xmlns:a16="http://schemas.microsoft.com/office/drawing/2014/main" id="{E581E154-12C6-B32E-8C4E-90F758005B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Picture Placeholder 5">
            <a:extLst>
              <a:ext uri="{FF2B5EF4-FFF2-40B4-BE49-F238E27FC236}">
                <a16:creationId xmlns:a16="http://schemas.microsoft.com/office/drawing/2014/main" id="{36DA5A59-BF83-DE0C-5917-402DFEFB8C38}"/>
              </a:ext>
            </a:extLst>
          </p:cNvPr>
          <p:cNvSpPr>
            <a:spLocks noGrp="1" noChangeAspect="1"/>
          </p:cNvSpPr>
          <p:nvPr>
            <p:ph type="pic" sz="quarter" idx="18" hasCustomPrompt="1"/>
          </p:nvPr>
        </p:nvSpPr>
        <p:spPr>
          <a:xfrm>
            <a:off x="422367" y="1549106"/>
            <a:ext cx="2738486" cy="1224000"/>
          </a:xfrm>
        </p:spPr>
        <p:txBody>
          <a:bodyPr/>
          <a:lstStyle>
            <a:lvl1pPr algn="ctr">
              <a:defRPr b="0"/>
            </a:lvl1pPr>
          </a:lstStyle>
          <a:p>
            <a:r>
              <a:rPr lang="en-US"/>
              <a:t>Drag n drop section slide</a:t>
            </a:r>
            <a:endParaRPr lang="en-GB"/>
          </a:p>
        </p:txBody>
      </p:sp>
      <p:sp>
        <p:nvSpPr>
          <p:cNvPr id="7" name="Picture Placeholder 7">
            <a:extLst>
              <a:ext uri="{FF2B5EF4-FFF2-40B4-BE49-F238E27FC236}">
                <a16:creationId xmlns:a16="http://schemas.microsoft.com/office/drawing/2014/main" id="{50662AE9-18DD-C207-B02D-8ABAE44B1083}"/>
              </a:ext>
            </a:extLst>
          </p:cNvPr>
          <p:cNvSpPr>
            <a:spLocks noGrp="1" noChangeAspect="1"/>
          </p:cNvSpPr>
          <p:nvPr>
            <p:ph type="pic" sz="quarter" idx="19" hasCustomPrompt="1"/>
          </p:nvPr>
        </p:nvSpPr>
        <p:spPr>
          <a:xfrm>
            <a:off x="3254114" y="1549106"/>
            <a:ext cx="2839907" cy="1224000"/>
          </a:xfrm>
        </p:spPr>
        <p:txBody>
          <a:bodyPr/>
          <a:lstStyle>
            <a:lvl1pPr algn="ctr">
              <a:defRPr b="0"/>
            </a:lvl1pPr>
          </a:lstStyle>
          <a:p>
            <a:r>
              <a:rPr lang="en-US"/>
              <a:t>Drag n drop section slide</a:t>
            </a:r>
            <a:endParaRPr lang="en-GB"/>
          </a:p>
        </p:txBody>
      </p:sp>
      <p:sp>
        <p:nvSpPr>
          <p:cNvPr id="8" name="Picture Placeholder 7">
            <a:extLst>
              <a:ext uri="{FF2B5EF4-FFF2-40B4-BE49-F238E27FC236}">
                <a16:creationId xmlns:a16="http://schemas.microsoft.com/office/drawing/2014/main" id="{8C715289-9D6C-7FA2-0770-999CDEF06C80}"/>
              </a:ext>
            </a:extLst>
          </p:cNvPr>
          <p:cNvSpPr>
            <a:spLocks noGrp="1" noChangeAspect="1"/>
          </p:cNvSpPr>
          <p:nvPr>
            <p:ph type="pic" sz="quarter" idx="20" hasCustomPrompt="1"/>
          </p:nvPr>
        </p:nvSpPr>
        <p:spPr>
          <a:xfrm>
            <a:off x="6184145" y="1549106"/>
            <a:ext cx="2839907" cy="1224000"/>
          </a:xfrm>
        </p:spPr>
        <p:txBody>
          <a:bodyPr/>
          <a:lstStyle>
            <a:lvl1pPr algn="ctr">
              <a:defRPr b="0"/>
            </a:lvl1pPr>
          </a:lstStyle>
          <a:p>
            <a:r>
              <a:rPr lang="en-US"/>
              <a:t>Drag n drop section slide</a:t>
            </a:r>
            <a:endParaRPr lang="en-GB"/>
          </a:p>
        </p:txBody>
      </p:sp>
      <p:sp>
        <p:nvSpPr>
          <p:cNvPr id="9" name="Picture Placeholder 7">
            <a:extLst>
              <a:ext uri="{FF2B5EF4-FFF2-40B4-BE49-F238E27FC236}">
                <a16:creationId xmlns:a16="http://schemas.microsoft.com/office/drawing/2014/main" id="{81D0CD92-68B7-E0B2-74A8-FBFD382598FA}"/>
              </a:ext>
            </a:extLst>
          </p:cNvPr>
          <p:cNvSpPr>
            <a:spLocks noGrp="1" noChangeAspect="1"/>
          </p:cNvSpPr>
          <p:nvPr>
            <p:ph type="pic" sz="quarter" idx="21" hasCustomPrompt="1"/>
          </p:nvPr>
        </p:nvSpPr>
        <p:spPr>
          <a:xfrm>
            <a:off x="9114177" y="1549106"/>
            <a:ext cx="2839907" cy="1224000"/>
          </a:xfrm>
        </p:spPr>
        <p:txBody>
          <a:bodyPr/>
          <a:lstStyle>
            <a:lvl1pPr algn="ctr">
              <a:defRPr b="0"/>
            </a:lvl1pPr>
          </a:lstStyle>
          <a:p>
            <a:r>
              <a:rPr lang="en-US"/>
              <a:t>Drag n drop section slide</a:t>
            </a:r>
            <a:endParaRPr lang="en-GB"/>
          </a:p>
        </p:txBody>
      </p:sp>
      <p:sp>
        <p:nvSpPr>
          <p:cNvPr id="16" name="Title 1">
            <a:extLst>
              <a:ext uri="{FF2B5EF4-FFF2-40B4-BE49-F238E27FC236}">
                <a16:creationId xmlns:a16="http://schemas.microsoft.com/office/drawing/2014/main" id="{F687563E-6141-7CD2-D650-D6DAC2DBC9D8}"/>
              </a:ext>
            </a:extLst>
          </p:cNvPr>
          <p:cNvSpPr>
            <a:spLocks noGrp="1"/>
          </p:cNvSpPr>
          <p:nvPr>
            <p:ph type="ctrTitle" hasCustomPrompt="1"/>
          </p:nvPr>
        </p:nvSpPr>
        <p:spPr>
          <a:xfrm>
            <a:off x="1076400" y="329400"/>
            <a:ext cx="10386000" cy="648000"/>
          </a:xfrm>
          <a:prstGeom prst="rect">
            <a:avLst/>
          </a:prstGeom>
        </p:spPr>
        <p:txBody>
          <a:bodyPr vert="horz" lIns="36000" anchor="ctr" anchorCtr="0">
            <a:normAutofit/>
          </a:bodyPr>
          <a:lstStyle>
            <a:lvl1pPr algn="l">
              <a:defRPr sz="2400" b="0">
                <a:solidFill>
                  <a:schemeClr val="accent6"/>
                </a:solidFill>
              </a:defRPr>
            </a:lvl1pPr>
          </a:lstStyle>
          <a:p>
            <a:r>
              <a:rPr lang="en-GB"/>
              <a:t>Contents</a:t>
            </a:r>
          </a:p>
        </p:txBody>
      </p:sp>
      <p:cxnSp>
        <p:nvCxnSpPr>
          <p:cNvPr id="18" name="Straight Connector 17">
            <a:extLst>
              <a:ext uri="{FF2B5EF4-FFF2-40B4-BE49-F238E27FC236}">
                <a16:creationId xmlns:a16="http://schemas.microsoft.com/office/drawing/2014/main" id="{7F719F48-EE31-3F7E-3424-7AC85470B969}"/>
              </a:ext>
            </a:extLst>
          </p:cNvPr>
          <p:cNvCxnSpPr>
            <a:cxnSpLocks/>
          </p:cNvCxnSpPr>
          <p:nvPr userDrawn="1"/>
        </p:nvCxnSpPr>
        <p:spPr>
          <a:xfrm>
            <a:off x="2702950"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4BBE08DB-2638-CD5E-4BBC-BB24AEFF1FF9}"/>
              </a:ext>
            </a:extLst>
          </p:cNvPr>
          <p:cNvCxnSpPr>
            <a:cxnSpLocks/>
          </p:cNvCxnSpPr>
          <p:nvPr userDrawn="1"/>
        </p:nvCxnSpPr>
        <p:spPr>
          <a:xfrm>
            <a:off x="5488473"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5024E3DE-3AE9-ED05-E144-EB3C0635DA95}"/>
              </a:ext>
            </a:extLst>
          </p:cNvPr>
          <p:cNvCxnSpPr>
            <a:cxnSpLocks/>
          </p:cNvCxnSpPr>
          <p:nvPr userDrawn="1"/>
        </p:nvCxnSpPr>
        <p:spPr>
          <a:xfrm>
            <a:off x="7411982"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6BA4DEDC-C5AB-F3EA-4ABF-927FBEDCAB98}"/>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tx1">
                    <a:lumMod val="50000"/>
                  </a:schemeClr>
                </a:solidFill>
                <a:latin typeface="Garamond" panose="02020404030301010803" pitchFamily="18" charset="0"/>
                <a:ea typeface="Helvetica Neue UltraLight" panose="02000206000000020004" pitchFamily="2" charset="0"/>
              </a:rPr>
              <a:t>expert</a:t>
            </a:r>
            <a:r>
              <a:rPr lang="en-GB" sz="1000" b="0" i="0">
                <a:solidFill>
                  <a:schemeClr val="tx1">
                    <a:lumMod val="50000"/>
                  </a:schemeClr>
                </a:solidFill>
                <a:latin typeface="Helvetica Neue UltraLight" panose="02000206000000020004" pitchFamily="2" charset="0"/>
                <a:ea typeface="Helvetica Neue UltraLight" panose="02000206000000020004" pitchFamily="2" charset="0"/>
              </a:rPr>
              <a:t> </a:t>
            </a:r>
            <a:r>
              <a:rPr lang="en-GB"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2" name="Picture Placeholder 5">
            <a:extLst>
              <a:ext uri="{FF2B5EF4-FFF2-40B4-BE49-F238E27FC236}">
                <a16:creationId xmlns:a16="http://schemas.microsoft.com/office/drawing/2014/main" id="{E31E5DA5-564E-9086-9805-71AE5E0941E0}"/>
              </a:ext>
            </a:extLst>
          </p:cNvPr>
          <p:cNvSpPr>
            <a:spLocks noGrp="1" noChangeAspect="1"/>
          </p:cNvSpPr>
          <p:nvPr>
            <p:ph type="pic" sz="quarter" idx="22" hasCustomPrompt="1"/>
          </p:nvPr>
        </p:nvSpPr>
        <p:spPr>
          <a:xfrm>
            <a:off x="415742" y="2900276"/>
            <a:ext cx="2738486" cy="1224000"/>
          </a:xfrm>
        </p:spPr>
        <p:txBody>
          <a:bodyPr/>
          <a:lstStyle>
            <a:lvl1pPr algn="ctr">
              <a:defRPr b="0"/>
            </a:lvl1pPr>
          </a:lstStyle>
          <a:p>
            <a:r>
              <a:rPr lang="en-US"/>
              <a:t>Drag n drop section slide</a:t>
            </a:r>
            <a:endParaRPr lang="en-GB"/>
          </a:p>
        </p:txBody>
      </p:sp>
      <p:sp>
        <p:nvSpPr>
          <p:cNvPr id="17" name="Picture Placeholder 7">
            <a:extLst>
              <a:ext uri="{FF2B5EF4-FFF2-40B4-BE49-F238E27FC236}">
                <a16:creationId xmlns:a16="http://schemas.microsoft.com/office/drawing/2014/main" id="{9C8C18EE-D4A7-5652-5C56-CA3376D5792A}"/>
              </a:ext>
            </a:extLst>
          </p:cNvPr>
          <p:cNvSpPr>
            <a:spLocks noGrp="1" noChangeAspect="1"/>
          </p:cNvSpPr>
          <p:nvPr>
            <p:ph type="pic" sz="quarter" idx="23" hasCustomPrompt="1"/>
          </p:nvPr>
        </p:nvSpPr>
        <p:spPr>
          <a:xfrm>
            <a:off x="3247489" y="2900276"/>
            <a:ext cx="2839907" cy="1224000"/>
          </a:xfrm>
        </p:spPr>
        <p:txBody>
          <a:bodyPr/>
          <a:lstStyle>
            <a:lvl1pPr algn="ctr">
              <a:defRPr b="0"/>
            </a:lvl1pPr>
          </a:lstStyle>
          <a:p>
            <a:r>
              <a:rPr lang="en-US"/>
              <a:t>Drag n drop section slide</a:t>
            </a:r>
            <a:endParaRPr lang="en-GB"/>
          </a:p>
        </p:txBody>
      </p:sp>
      <p:sp>
        <p:nvSpPr>
          <p:cNvPr id="22" name="Picture Placeholder 7">
            <a:extLst>
              <a:ext uri="{FF2B5EF4-FFF2-40B4-BE49-F238E27FC236}">
                <a16:creationId xmlns:a16="http://schemas.microsoft.com/office/drawing/2014/main" id="{C611C755-0FB9-25C3-F957-E7E7490CC8F1}"/>
              </a:ext>
            </a:extLst>
          </p:cNvPr>
          <p:cNvSpPr>
            <a:spLocks noGrp="1" noChangeAspect="1"/>
          </p:cNvSpPr>
          <p:nvPr>
            <p:ph type="pic" sz="quarter" idx="24" hasCustomPrompt="1"/>
          </p:nvPr>
        </p:nvSpPr>
        <p:spPr>
          <a:xfrm>
            <a:off x="6177520" y="2900276"/>
            <a:ext cx="2839907" cy="1224000"/>
          </a:xfrm>
        </p:spPr>
        <p:txBody>
          <a:bodyPr/>
          <a:lstStyle>
            <a:lvl1pPr algn="ctr">
              <a:defRPr b="0"/>
            </a:lvl1pPr>
          </a:lstStyle>
          <a:p>
            <a:r>
              <a:rPr lang="en-US"/>
              <a:t>Drag n drop section slide</a:t>
            </a:r>
            <a:endParaRPr lang="en-GB"/>
          </a:p>
        </p:txBody>
      </p:sp>
      <p:sp>
        <p:nvSpPr>
          <p:cNvPr id="23" name="Picture Placeholder 7">
            <a:extLst>
              <a:ext uri="{FF2B5EF4-FFF2-40B4-BE49-F238E27FC236}">
                <a16:creationId xmlns:a16="http://schemas.microsoft.com/office/drawing/2014/main" id="{623E7F9A-E663-E8EA-3D49-8CA69F84BEF7}"/>
              </a:ext>
            </a:extLst>
          </p:cNvPr>
          <p:cNvSpPr>
            <a:spLocks noGrp="1" noChangeAspect="1"/>
          </p:cNvSpPr>
          <p:nvPr>
            <p:ph type="pic" sz="quarter" idx="25" hasCustomPrompt="1"/>
          </p:nvPr>
        </p:nvSpPr>
        <p:spPr>
          <a:xfrm>
            <a:off x="9107552" y="2900276"/>
            <a:ext cx="2839907" cy="1224000"/>
          </a:xfrm>
        </p:spPr>
        <p:txBody>
          <a:bodyPr/>
          <a:lstStyle>
            <a:lvl1pPr algn="ctr">
              <a:defRPr b="0"/>
            </a:lvl1pPr>
          </a:lstStyle>
          <a:p>
            <a:r>
              <a:rPr lang="en-US"/>
              <a:t>Drag n drop section slide</a:t>
            </a:r>
            <a:endParaRPr lang="en-GB"/>
          </a:p>
        </p:txBody>
      </p:sp>
      <p:sp>
        <p:nvSpPr>
          <p:cNvPr id="24" name="Picture Placeholder 5">
            <a:extLst>
              <a:ext uri="{FF2B5EF4-FFF2-40B4-BE49-F238E27FC236}">
                <a16:creationId xmlns:a16="http://schemas.microsoft.com/office/drawing/2014/main" id="{1087F912-FFF1-F6EE-0BDB-72B934075D45}"/>
              </a:ext>
            </a:extLst>
          </p:cNvPr>
          <p:cNvSpPr>
            <a:spLocks noGrp="1" noChangeAspect="1"/>
          </p:cNvSpPr>
          <p:nvPr>
            <p:ph type="pic" sz="quarter" idx="26" hasCustomPrompt="1"/>
          </p:nvPr>
        </p:nvSpPr>
        <p:spPr>
          <a:xfrm>
            <a:off x="448873" y="4242328"/>
            <a:ext cx="2738486" cy="1224000"/>
          </a:xfrm>
        </p:spPr>
        <p:txBody>
          <a:bodyPr/>
          <a:lstStyle>
            <a:lvl1pPr algn="ctr">
              <a:defRPr b="0"/>
            </a:lvl1pPr>
          </a:lstStyle>
          <a:p>
            <a:r>
              <a:rPr lang="en-US"/>
              <a:t>Drag n drop section slide</a:t>
            </a:r>
            <a:endParaRPr lang="en-GB"/>
          </a:p>
        </p:txBody>
      </p:sp>
      <p:sp>
        <p:nvSpPr>
          <p:cNvPr id="25" name="Picture Placeholder 7">
            <a:extLst>
              <a:ext uri="{FF2B5EF4-FFF2-40B4-BE49-F238E27FC236}">
                <a16:creationId xmlns:a16="http://schemas.microsoft.com/office/drawing/2014/main" id="{7AEB131A-D0CA-47B3-6D4D-B1ADEF9171B2}"/>
              </a:ext>
            </a:extLst>
          </p:cNvPr>
          <p:cNvSpPr>
            <a:spLocks noGrp="1" noChangeAspect="1"/>
          </p:cNvSpPr>
          <p:nvPr>
            <p:ph type="pic" sz="quarter" idx="27" hasCustomPrompt="1"/>
          </p:nvPr>
        </p:nvSpPr>
        <p:spPr>
          <a:xfrm>
            <a:off x="3280620" y="4242328"/>
            <a:ext cx="2839907" cy="1224000"/>
          </a:xfrm>
        </p:spPr>
        <p:txBody>
          <a:bodyPr/>
          <a:lstStyle>
            <a:lvl1pPr algn="ctr">
              <a:defRPr b="0"/>
            </a:lvl1pPr>
          </a:lstStyle>
          <a:p>
            <a:r>
              <a:rPr lang="en-US"/>
              <a:t>Drag n drop section slide</a:t>
            </a:r>
            <a:endParaRPr lang="en-GB"/>
          </a:p>
        </p:txBody>
      </p:sp>
      <p:sp>
        <p:nvSpPr>
          <p:cNvPr id="26" name="Picture Placeholder 7">
            <a:extLst>
              <a:ext uri="{FF2B5EF4-FFF2-40B4-BE49-F238E27FC236}">
                <a16:creationId xmlns:a16="http://schemas.microsoft.com/office/drawing/2014/main" id="{A308A6DB-E97A-0D6C-D897-21551C0ECDEE}"/>
              </a:ext>
            </a:extLst>
          </p:cNvPr>
          <p:cNvSpPr>
            <a:spLocks noGrp="1" noChangeAspect="1"/>
          </p:cNvSpPr>
          <p:nvPr>
            <p:ph type="pic" sz="quarter" idx="28" hasCustomPrompt="1"/>
          </p:nvPr>
        </p:nvSpPr>
        <p:spPr>
          <a:xfrm>
            <a:off x="6210651" y="4242328"/>
            <a:ext cx="2839907" cy="1224000"/>
          </a:xfrm>
        </p:spPr>
        <p:txBody>
          <a:bodyPr/>
          <a:lstStyle>
            <a:lvl1pPr algn="ctr">
              <a:defRPr b="0"/>
            </a:lvl1pPr>
          </a:lstStyle>
          <a:p>
            <a:r>
              <a:rPr lang="en-US"/>
              <a:t>Drag n drop section slide</a:t>
            </a:r>
            <a:endParaRPr lang="en-GB"/>
          </a:p>
        </p:txBody>
      </p:sp>
      <p:sp>
        <p:nvSpPr>
          <p:cNvPr id="27" name="Picture Placeholder 7">
            <a:extLst>
              <a:ext uri="{FF2B5EF4-FFF2-40B4-BE49-F238E27FC236}">
                <a16:creationId xmlns:a16="http://schemas.microsoft.com/office/drawing/2014/main" id="{CD9BE19E-1E1D-7AA2-A17F-612AFE31BB53}"/>
              </a:ext>
            </a:extLst>
          </p:cNvPr>
          <p:cNvSpPr>
            <a:spLocks noGrp="1" noChangeAspect="1"/>
          </p:cNvSpPr>
          <p:nvPr>
            <p:ph type="pic" sz="quarter" idx="29" hasCustomPrompt="1"/>
          </p:nvPr>
        </p:nvSpPr>
        <p:spPr>
          <a:xfrm>
            <a:off x="9140683" y="4242328"/>
            <a:ext cx="2839907" cy="1224000"/>
          </a:xfrm>
        </p:spPr>
        <p:txBody>
          <a:bodyPr/>
          <a:lstStyle>
            <a:lvl1pPr algn="ctr">
              <a:defRPr b="0"/>
            </a:lvl1pPr>
          </a:lstStyle>
          <a:p>
            <a:r>
              <a:rPr lang="en-US"/>
              <a:t>Drag n drop section slide</a:t>
            </a:r>
            <a:endParaRPr lang="en-GB"/>
          </a:p>
        </p:txBody>
      </p:sp>
      <p:sp>
        <p:nvSpPr>
          <p:cNvPr id="10" name="TextBox 9">
            <a:extLst>
              <a:ext uri="{FF2B5EF4-FFF2-40B4-BE49-F238E27FC236}">
                <a16:creationId xmlns:a16="http://schemas.microsoft.com/office/drawing/2014/main" id="{F456025F-3F39-3336-9925-3C93CDDB158E}"/>
              </a:ext>
            </a:extLst>
          </p:cNvPr>
          <p:cNvSpPr txBox="1"/>
          <p:nvPr userDrawn="1"/>
        </p:nvSpPr>
        <p:spPr>
          <a:xfrm>
            <a:off x="11682742" y="6458310"/>
            <a:ext cx="409669" cy="276999"/>
          </a:xfrm>
          <a:prstGeom prst="rect">
            <a:avLst/>
          </a:prstGeom>
          <a:noFill/>
        </p:spPr>
        <p:txBody>
          <a:bodyPr wrap="square" anchor="ctr">
            <a:spAutoFit/>
          </a:bodyPr>
          <a:lstStyle/>
          <a:p>
            <a:fld id="{562BA7E0-5F5E-EE41-AE8D-BD30ED9E17AD}" type="slidenum">
              <a:rPr lang="en-GB" sz="1200" smtClean="0">
                <a:solidFill>
                  <a:schemeClr val="tx1"/>
                </a:solidFill>
                <a:latin typeface="Arial" panose="020B0604020202020204" pitchFamily="34" charset="0"/>
                <a:cs typeface="Arial" panose="020B0604020202020204" pitchFamily="34" charset="0"/>
              </a:rPr>
              <a:pPr/>
              <a:t>‹#›</a:t>
            </a:fld>
            <a:endParaRPr lang="en-GB" sz="1200">
              <a:solidFill>
                <a:schemeClr val="tx1"/>
              </a:solidFill>
              <a:latin typeface="Arial" panose="020B0604020202020204" pitchFamily="34" charset="0"/>
              <a:cs typeface="Arial" panose="020B0604020202020204" pitchFamily="34" charset="0"/>
            </a:endParaRPr>
          </a:p>
        </p:txBody>
      </p:sp>
      <p:pic>
        <p:nvPicPr>
          <p:cNvPr id="12" name="Picture 11" descr="A logo on a black background&#10;&#10;Description automatically generated">
            <a:extLst>
              <a:ext uri="{FF2B5EF4-FFF2-40B4-BE49-F238E27FC236}">
                <a16:creationId xmlns:a16="http://schemas.microsoft.com/office/drawing/2014/main" id="{4284300E-D272-2A48-0ADB-580BE8448E2D}"/>
              </a:ext>
            </a:extLst>
          </p:cNvPr>
          <p:cNvPicPr>
            <a:picLocks noChangeAspect="1"/>
          </p:cNvPicPr>
          <p:nvPr userDrawn="1"/>
        </p:nvPicPr>
        <p:blipFill rotWithShape="1">
          <a:blip r:embed="rId6"/>
          <a:srcRect l="7819" t="33017" r="74362" b="36885"/>
          <a:stretch/>
        </p:blipFill>
        <p:spPr>
          <a:xfrm>
            <a:off x="263816" y="329400"/>
            <a:ext cx="682031" cy="648000"/>
          </a:xfrm>
          <a:prstGeom prst="rect">
            <a:avLst/>
          </a:prstGeom>
        </p:spPr>
      </p:pic>
      <p:sp>
        <p:nvSpPr>
          <p:cNvPr id="11" name="Footer Placeholder 4">
            <a:extLst>
              <a:ext uri="{FF2B5EF4-FFF2-40B4-BE49-F238E27FC236}">
                <a16:creationId xmlns:a16="http://schemas.microsoft.com/office/drawing/2014/main" id="{BAD39FEC-C47C-3952-05B1-B2EC1C7825DF}"/>
              </a:ext>
            </a:extLst>
          </p:cNvPr>
          <p:cNvSpPr>
            <a:spLocks noGrp="1"/>
          </p:cNvSpPr>
          <p:nvPr>
            <p:ph type="ftr" sz="quarter" idx="3"/>
          </p:nvPr>
        </p:nvSpPr>
        <p:spPr>
          <a:xfrm>
            <a:off x="7350369" y="6429964"/>
            <a:ext cx="3176758" cy="309600"/>
          </a:xfrm>
          <a:prstGeom prst="rect">
            <a:avLst/>
          </a:prstGeom>
          <a:ln>
            <a:noFill/>
          </a:ln>
        </p:spPr>
        <p:txBody>
          <a:bodyPr vert="horz" lIns="91440" tIns="45720" rIns="91440" bIns="45720" rtlCol="0" anchor="ctr"/>
          <a:lstStyle>
            <a:lvl1pPr algn="l">
              <a:defRPr sz="1000" b="0" i="0">
                <a:solidFill>
                  <a:schemeClr val="tx1"/>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
        <p:nvSpPr>
          <p:cNvPr id="13" name="TextBox 12">
            <a:extLst>
              <a:ext uri="{FF2B5EF4-FFF2-40B4-BE49-F238E27FC236}">
                <a16:creationId xmlns:a16="http://schemas.microsoft.com/office/drawing/2014/main" id="{4AA0C791-0C91-D34F-A875-09C82EEA0F22}"/>
              </a:ext>
            </a:extLst>
          </p:cNvPr>
          <p:cNvSpPr txBox="1"/>
          <p:nvPr userDrawn="1"/>
        </p:nvSpPr>
        <p:spPr>
          <a:xfrm>
            <a:off x="5476126" y="6429964"/>
            <a:ext cx="1286726" cy="276999"/>
          </a:xfrm>
          <a:prstGeom prst="rect">
            <a:avLst/>
          </a:prstGeom>
          <a:noFill/>
          <a:ln>
            <a:noFill/>
          </a:ln>
        </p:spPr>
        <p:txBody>
          <a:bodyPr wrap="square">
            <a:spAutoFit/>
          </a:bodyPr>
          <a:lstStyle/>
          <a:p>
            <a:pPr algn="ctr"/>
            <a:r>
              <a:rPr lang="en-GB" sz="1200" b="0" i="1">
                <a:solidFill>
                  <a:schemeClr val="tx1">
                    <a:lumMod val="50000"/>
                  </a:schemeClr>
                </a:solidFill>
                <a:latin typeface="Garamond" panose="02020404030301010803" pitchFamily="18" charset="0"/>
                <a:ea typeface="Helvetica Neue Thin" panose="020B0403020202020204" pitchFamily="34" charset="0"/>
                <a:cs typeface="Arial" panose="020B0604020202020204" pitchFamily="34" charset="0"/>
              </a:rPr>
              <a:t>May 2024</a:t>
            </a:r>
          </a:p>
        </p:txBody>
      </p:sp>
    </p:spTree>
    <p:extLst>
      <p:ext uri="{BB962C8B-B14F-4D97-AF65-F5344CB8AC3E}">
        <p14:creationId xmlns:p14="http://schemas.microsoft.com/office/powerpoint/2010/main" val="3214758022"/>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 Content + Text -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p:nvPr>
        </p:nvSpPr>
        <p:spPr>
          <a:xfrm>
            <a:off x="413537" y="1251472"/>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4000" y="1594633"/>
            <a:ext cx="3780000" cy="1980000"/>
          </a:xfrm>
          <a:noFill/>
        </p:spPr>
        <p:txBody>
          <a:bodyPr/>
          <a:lstStyle>
            <a:lvl1pPr algn="ctr">
              <a:defRPr sz="1300" b="0"/>
            </a:lvl1pPr>
            <a:lvl5pPr>
              <a:defRPr/>
            </a:lvl5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hasCustomPrompt="1"/>
          </p:nvPr>
        </p:nvSpPr>
        <p:spPr>
          <a:xfrm>
            <a:off x="7998461" y="1251472"/>
            <a:ext cx="3780000" cy="4936100"/>
          </a:xfrm>
          <a:noFill/>
          <a:effectLst/>
        </p:spPr>
        <p:txBody>
          <a:bodyPr vert="horz" lIns="252000" tIns="252000" rIns="252000" bIns="252000" rtlCol="0" anchor="ctr" anchorCtr="0">
            <a:noAutofit/>
          </a:bodyPr>
          <a:lstStyle>
            <a:lvl1pPr>
              <a:defRPr lang="en-US"/>
            </a:lvl1pPr>
            <a:lvl2pPr>
              <a:defRPr lang="en-US"/>
            </a:lvl2pPr>
            <a:lvl3pPr>
              <a:defRPr lang="en-US"/>
            </a:lvl3pPr>
            <a:lvl4pPr>
              <a:defRPr lang="en-US"/>
            </a:lvl4pPr>
            <a:lvl5pPr>
              <a:defRPr lang="en-GB"/>
            </a:lvl5pPr>
          </a:lstStyle>
          <a:p>
            <a:pPr lvl="0"/>
            <a:r>
              <a:rPr lang="en-US"/>
              <a:t>Active Headline</a:t>
            </a:r>
          </a:p>
          <a:p>
            <a:pPr lvl="1"/>
            <a:r>
              <a:rPr lang="en-US"/>
              <a:t>Body text</a:t>
            </a:r>
          </a:p>
          <a:p>
            <a:pPr lvl="2"/>
            <a:r>
              <a:rPr lang="en-US"/>
              <a:t>Bullets</a:t>
            </a:r>
          </a:p>
          <a:p>
            <a:pPr lvl="3"/>
            <a:r>
              <a:rPr lang="en-US"/>
              <a:t>2nd level bullets</a:t>
            </a:r>
          </a:p>
          <a:p>
            <a:pPr lvl="4"/>
            <a:r>
              <a:rPr lang="en-US"/>
              <a:t>Notes tex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7585200" cy="215999"/>
          </a:xfrm>
          <a:noFill/>
        </p:spPr>
        <p:txBody>
          <a:bodyPr lIns="0"/>
          <a:lstStyle>
            <a:lvl1pPr>
              <a:defRPr sz="105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5" name="Text Placeholder 5">
            <a:extLst>
              <a:ext uri="{FF2B5EF4-FFF2-40B4-BE49-F238E27FC236}">
                <a16:creationId xmlns:a16="http://schemas.microsoft.com/office/drawing/2014/main" id="{D7616806-7E32-D88B-F740-18B7BC6A1ECE}"/>
              </a:ext>
            </a:extLst>
          </p:cNvPr>
          <p:cNvSpPr>
            <a:spLocks noGrp="1"/>
          </p:cNvSpPr>
          <p:nvPr>
            <p:ph type="body" sz="quarter" idx="16"/>
          </p:nvPr>
        </p:nvSpPr>
        <p:spPr>
          <a:xfrm>
            <a:off x="414000" y="3662850"/>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7" name="Content Placeholder 7">
            <a:extLst>
              <a:ext uri="{FF2B5EF4-FFF2-40B4-BE49-F238E27FC236}">
                <a16:creationId xmlns:a16="http://schemas.microsoft.com/office/drawing/2014/main" id="{301ACA0B-90BD-21BF-F5A6-4461A144284D}"/>
              </a:ext>
            </a:extLst>
          </p:cNvPr>
          <p:cNvSpPr>
            <a:spLocks noGrp="1"/>
          </p:cNvSpPr>
          <p:nvPr>
            <p:ph sz="quarter" idx="17" hasCustomPrompt="1"/>
          </p:nvPr>
        </p:nvSpPr>
        <p:spPr>
          <a:xfrm>
            <a:off x="413027" y="3988194"/>
            <a:ext cx="3780000" cy="1980000"/>
          </a:xfrm>
          <a:noFill/>
        </p:spPr>
        <p:txBody>
          <a:bodyPr/>
          <a:lstStyle>
            <a:lvl1pPr algn="ctr">
              <a:defRPr b="0"/>
            </a:lvl1pPr>
            <a:lvl5pPr>
              <a:defRPr/>
            </a:lvl5pPr>
          </a:lstStyle>
          <a:p>
            <a:pPr lvl="0"/>
            <a:r>
              <a:rPr lang="en-US"/>
              <a:t>Insert Chart</a:t>
            </a:r>
            <a:endParaRPr lang="en-GB"/>
          </a:p>
        </p:txBody>
      </p:sp>
      <p:sp>
        <p:nvSpPr>
          <p:cNvPr id="9" name="Text Placeholder 5">
            <a:extLst>
              <a:ext uri="{FF2B5EF4-FFF2-40B4-BE49-F238E27FC236}">
                <a16:creationId xmlns:a16="http://schemas.microsoft.com/office/drawing/2014/main" id="{41A38980-B6C7-2C12-669B-DF4E926D0985}"/>
              </a:ext>
            </a:extLst>
          </p:cNvPr>
          <p:cNvSpPr>
            <a:spLocks noGrp="1"/>
          </p:cNvSpPr>
          <p:nvPr>
            <p:ph type="body" sz="quarter" idx="18"/>
          </p:nvPr>
        </p:nvSpPr>
        <p:spPr>
          <a:xfrm>
            <a:off x="4212000" y="3662850"/>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11" name="Content Placeholder 7">
            <a:extLst>
              <a:ext uri="{FF2B5EF4-FFF2-40B4-BE49-F238E27FC236}">
                <a16:creationId xmlns:a16="http://schemas.microsoft.com/office/drawing/2014/main" id="{D63835D9-5A9C-436E-DE0E-681C84B793FD}"/>
              </a:ext>
            </a:extLst>
          </p:cNvPr>
          <p:cNvSpPr>
            <a:spLocks noGrp="1"/>
          </p:cNvSpPr>
          <p:nvPr>
            <p:ph sz="quarter" idx="19" hasCustomPrompt="1"/>
          </p:nvPr>
        </p:nvSpPr>
        <p:spPr>
          <a:xfrm>
            <a:off x="4212000" y="3988194"/>
            <a:ext cx="3780000" cy="1980000"/>
          </a:xfrm>
          <a:noFill/>
        </p:spPr>
        <p:txBody>
          <a:bodyPr/>
          <a:lstStyle>
            <a:lvl1pPr algn="ctr">
              <a:defRPr b="0"/>
            </a:lvl1pPr>
            <a:lvl5pPr>
              <a:defRPr/>
            </a:lvl5pPr>
          </a:lstStyle>
          <a:p>
            <a:pPr lvl="0"/>
            <a:r>
              <a:rPr lang="en-US"/>
              <a:t>Insert Chart</a:t>
            </a:r>
            <a:endParaRPr lang="en-GB"/>
          </a:p>
        </p:txBody>
      </p:sp>
      <p:sp>
        <p:nvSpPr>
          <p:cNvPr id="13" name="Text Placeholder 5">
            <a:extLst>
              <a:ext uri="{FF2B5EF4-FFF2-40B4-BE49-F238E27FC236}">
                <a16:creationId xmlns:a16="http://schemas.microsoft.com/office/drawing/2014/main" id="{0F05E3CC-77D8-00D4-3892-43359D3D440D}"/>
              </a:ext>
            </a:extLst>
          </p:cNvPr>
          <p:cNvSpPr>
            <a:spLocks noGrp="1"/>
          </p:cNvSpPr>
          <p:nvPr>
            <p:ph type="body" sz="quarter" idx="20"/>
          </p:nvPr>
        </p:nvSpPr>
        <p:spPr>
          <a:xfrm>
            <a:off x="4212000" y="1251472"/>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14" name="Content Placeholder 7">
            <a:extLst>
              <a:ext uri="{FF2B5EF4-FFF2-40B4-BE49-F238E27FC236}">
                <a16:creationId xmlns:a16="http://schemas.microsoft.com/office/drawing/2014/main" id="{CB8F5FCB-FB91-1CC1-0B13-4616C17F6F8D}"/>
              </a:ext>
            </a:extLst>
          </p:cNvPr>
          <p:cNvSpPr>
            <a:spLocks noGrp="1"/>
          </p:cNvSpPr>
          <p:nvPr>
            <p:ph sz="quarter" idx="21" hasCustomPrompt="1"/>
          </p:nvPr>
        </p:nvSpPr>
        <p:spPr>
          <a:xfrm>
            <a:off x="4211999" y="1594633"/>
            <a:ext cx="3780000" cy="1980000"/>
          </a:xfrm>
          <a:noFill/>
        </p:spPr>
        <p:txBody>
          <a:bodyPr/>
          <a:lstStyle>
            <a:lvl1pPr algn="ctr">
              <a:defRPr b="0"/>
            </a:lvl1pPr>
            <a:lvl5pPr>
              <a:defRPr/>
            </a:lvl5pPr>
          </a:lstStyle>
          <a:p>
            <a:pPr lvl="0"/>
            <a:r>
              <a:rPr lang="en-US"/>
              <a:t>Insert Chart</a:t>
            </a:r>
            <a:endParaRPr lang="en-GB"/>
          </a:p>
        </p:txBody>
      </p:sp>
      <p:sp>
        <p:nvSpPr>
          <p:cNvPr id="23" name="Footer Placeholder 4">
            <a:extLst>
              <a:ext uri="{FF2B5EF4-FFF2-40B4-BE49-F238E27FC236}">
                <a16:creationId xmlns:a16="http://schemas.microsoft.com/office/drawing/2014/main" id="{26092300-6B2D-E291-F26E-F0EFBCCA1C83}"/>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Cobalt Market Outlook</a:t>
            </a:r>
          </a:p>
        </p:txBody>
      </p:sp>
    </p:spTree>
    <p:extLst>
      <p:ext uri="{BB962C8B-B14F-4D97-AF65-F5344CB8AC3E}">
        <p14:creationId xmlns:p14="http://schemas.microsoft.com/office/powerpoint/2010/main" val="3610814169"/>
      </p:ext>
    </p:extLst>
  </p:cSld>
  <p:clrMapOvr>
    <a:masterClrMapping/>
  </p:clrMapOvr>
  <p:extLst>
    <p:ext uri="{DCECCB84-F9BA-43D5-87BE-67443E8EF086}">
      <p15:sldGuideLst xmlns:p15="http://schemas.microsoft.com/office/powerpoint/2012/main">
        <p15:guide id="1" pos="665">
          <p15:clr>
            <a:srgbClr val="5ACBF0"/>
          </p15:clr>
        </p15:guide>
        <p15:guide id="2" pos="2434">
          <p15:clr>
            <a:srgbClr val="5ACBF0"/>
          </p15:clr>
        </p15:guide>
        <p15:guide id="3" pos="3069">
          <p15:clr>
            <a:srgbClr val="5ACBF0"/>
          </p15:clr>
        </p15:guide>
        <p15:guide id="4" pos="4838">
          <p15:clr>
            <a:srgbClr val="5ACBF0"/>
          </p15:clr>
        </p15:guide>
        <p15:guide id="5" orient="horz" pos="1071">
          <p15:clr>
            <a:srgbClr val="5ACBF0"/>
          </p15:clr>
        </p15:guide>
        <p15:guide id="6" orient="horz" pos="1911">
          <p15:clr>
            <a:srgbClr val="5ACBF0"/>
          </p15:clr>
        </p15:guide>
        <p15:guide id="7" orient="horz" pos="3521">
          <p15:clr>
            <a:srgbClr val="5ACBF0"/>
          </p15:clr>
        </p15:guide>
        <p15:guide id="8" orient="horz" pos="2636">
          <p15:clr>
            <a:srgbClr val="5ACBF0"/>
          </p15:clr>
        </p15:guide>
        <p15:guide id="9" orient="horz" pos="799">
          <p15:clr>
            <a:srgbClr val="F26B43"/>
          </p15:clr>
        </p15:guide>
        <p15:guide id="10" orient="horz" pos="2364">
          <p15:clr>
            <a:srgbClr val="F26B43"/>
          </p15:clr>
        </p15:guide>
        <p15:guide id="11" orient="horz" pos="3725">
          <p15:clr>
            <a:srgbClr val="F26B43"/>
          </p15:clr>
        </p15:guide>
        <p15:guide id="12" pos="5042">
          <p15:clr>
            <a:srgbClr val="F26B43"/>
          </p15:clr>
        </p15:guide>
        <p15:guide id="13" pos="2638">
          <p15:clr>
            <a:srgbClr val="F26B43"/>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Full Page Vis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2750" y="1251472"/>
            <a:ext cx="11365200" cy="4641401"/>
          </a:xfrm>
          <a:noFill/>
        </p:spPr>
        <p:txBody>
          <a:bodyPr anchor="t"/>
          <a:lstStyle>
            <a:lvl1pPr algn="ctr">
              <a:defRPr b="0"/>
            </a:lvl1pPr>
            <a:lvl2pPr algn="ctr">
              <a:defRPr/>
            </a:lvl2pPr>
            <a:lvl3pPr algn="ctr">
              <a:defRPr/>
            </a:lvl3pPr>
            <a:lvl4pPr algn="ctr">
              <a:defRPr/>
            </a:lvl4pPr>
            <a:lvl5pPr algn="ctr">
              <a:defRPr/>
            </a:lvl5pPr>
          </a:lstStyle>
          <a:p>
            <a:pPr lvl="0"/>
            <a:r>
              <a:rPr lang="en-US"/>
              <a:t>Insert Chart or Table</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11430000" cy="215999"/>
          </a:xfrm>
          <a:noFill/>
        </p:spPr>
        <p:txBody>
          <a:bodyPr lIns="0"/>
          <a:lstStyle>
            <a:lvl1pPr>
              <a:defRPr sz="1050" b="0">
                <a:solidFill>
                  <a:schemeClr val="bg2">
                    <a:lumMod val="10000"/>
                  </a:schemeClr>
                </a:solidFill>
              </a:defRPr>
            </a:lvl1pPr>
            <a:lvl5pPr>
              <a:defRPr sz="700">
                <a:solidFill>
                  <a:schemeClr val="tx1"/>
                </a:solidFill>
              </a:defRPr>
            </a:lvl5pPr>
          </a:lstStyle>
          <a:p>
            <a:pPr lvl="0"/>
            <a:r>
              <a:rPr lang="en-US"/>
              <a:t>Add your DATA source here</a:t>
            </a:r>
            <a:endParaRPr lang="en-GB"/>
          </a:p>
        </p:txBody>
      </p:sp>
      <p:sp>
        <p:nvSpPr>
          <p:cNvPr id="6" name="Footer Placeholder 4">
            <a:extLst>
              <a:ext uri="{FF2B5EF4-FFF2-40B4-BE49-F238E27FC236}">
                <a16:creationId xmlns:a16="http://schemas.microsoft.com/office/drawing/2014/main" id="{A400B9E1-C65A-1F67-73D1-8910394C1C83}"/>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Cobalt Market Outlook</a:t>
            </a:r>
          </a:p>
        </p:txBody>
      </p:sp>
    </p:spTree>
    <p:extLst>
      <p:ext uri="{BB962C8B-B14F-4D97-AF65-F5344CB8AC3E}">
        <p14:creationId xmlns:p14="http://schemas.microsoft.com/office/powerpoint/2010/main" val="1056545898"/>
      </p:ext>
    </p:extLst>
  </p:cSld>
  <p:clrMapOvr>
    <a:masterClrMapping/>
  </p:clrMapOvr>
  <p:extLst>
    <p:ext uri="{DCECCB84-F9BA-43D5-87BE-67443E8EF086}">
      <p15:sldGuideLst xmlns:p15="http://schemas.microsoft.com/office/powerpoint/2012/main">
        <p15:guide id="1" pos="3840">
          <p15:clr>
            <a:srgbClr val="F26B43"/>
          </p15:clr>
        </p15:guide>
        <p15:guide id="2" pos="2366">
          <p15:clr>
            <a:srgbClr val="5ACBF0"/>
          </p15:clr>
        </p15:guide>
        <p15:guide id="3" pos="5314">
          <p15:clr>
            <a:srgbClr val="5ACBF0"/>
          </p15:clr>
        </p15:guide>
        <p15:guide id="4" orient="horz" pos="1253">
          <p15:clr>
            <a:srgbClr val="5ACBF0"/>
          </p15:clr>
        </p15:guide>
        <p15:guide id="5" orient="horz" pos="3090">
          <p15:clr>
            <a:srgbClr val="5ACBF0"/>
          </p15:clr>
        </p15:guide>
        <p15:guide id="6" orient="horz" pos="3725">
          <p15:clr>
            <a:srgbClr val="F26B43"/>
          </p15:clr>
        </p15:guide>
        <p15:guide id="7" orient="horz" pos="618">
          <p15:clr>
            <a:srgbClr val="F26B43"/>
          </p15:clr>
        </p15:guide>
        <p15:guide id="8" pos="914">
          <p15:clr>
            <a:srgbClr val="5ACBF0"/>
          </p15:clr>
        </p15:guide>
        <p15:guide id="9" pos="7015">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0E1236C-1F6A-C310-B3AD-04FE10631AEA}"/>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1" name="Straight Connector 10">
            <a:extLst>
              <a:ext uri="{FF2B5EF4-FFF2-40B4-BE49-F238E27FC236}">
                <a16:creationId xmlns:a16="http://schemas.microsoft.com/office/drawing/2014/main" id="{AB2564B3-A172-D336-E774-6508A518A9A4}"/>
              </a:ext>
            </a:extLst>
          </p:cNvPr>
          <p:cNvCxnSpPr>
            <a:cxnSpLocks/>
          </p:cNvCxnSpPr>
          <p:nvPr userDrawn="1"/>
        </p:nvCxnSpPr>
        <p:spPr>
          <a:xfrm>
            <a:off x="2702950"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1A251F91-00BD-73A5-1690-EA7889C27005}"/>
              </a:ext>
            </a:extLst>
          </p:cNvPr>
          <p:cNvCxnSpPr>
            <a:cxnSpLocks/>
          </p:cNvCxnSpPr>
          <p:nvPr userDrawn="1"/>
        </p:nvCxnSpPr>
        <p:spPr>
          <a:xfrm>
            <a:off x="5488473"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7A48A5AD-122B-445F-8918-5620E751FE74}"/>
              </a:ext>
            </a:extLst>
          </p:cNvPr>
          <p:cNvCxnSpPr>
            <a:cxnSpLocks/>
          </p:cNvCxnSpPr>
          <p:nvPr userDrawn="1"/>
        </p:nvCxnSpPr>
        <p:spPr>
          <a:xfrm>
            <a:off x="7411982"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000DE161-39A1-09A9-5060-B0B52242AFFA}"/>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tx1">
                    <a:lumMod val="50000"/>
                  </a:schemeClr>
                </a:solidFill>
                <a:latin typeface="Garamond" panose="02020404030301010803" pitchFamily="18" charset="0"/>
                <a:ea typeface="Helvetica Neue UltraLight" panose="02000206000000020004" pitchFamily="2" charset="0"/>
              </a:rPr>
              <a:t>expert</a:t>
            </a:r>
            <a:r>
              <a:rPr lang="en-GB" sz="1000" b="0" i="0">
                <a:solidFill>
                  <a:schemeClr val="tx1">
                    <a:lumMod val="50000"/>
                  </a:schemeClr>
                </a:solidFill>
                <a:latin typeface="Helvetica Neue UltraLight" panose="02000206000000020004" pitchFamily="2" charset="0"/>
                <a:ea typeface="Helvetica Neue UltraLight" panose="02000206000000020004" pitchFamily="2" charset="0"/>
              </a:rPr>
              <a:t> </a:t>
            </a:r>
            <a:r>
              <a:rPr lang="en-GB"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3" name="TextBox 2">
            <a:extLst>
              <a:ext uri="{FF2B5EF4-FFF2-40B4-BE49-F238E27FC236}">
                <a16:creationId xmlns:a16="http://schemas.microsoft.com/office/drawing/2014/main" id="{FB636495-F7C7-0C00-108D-E654D2A6EE13}"/>
              </a:ext>
            </a:extLst>
          </p:cNvPr>
          <p:cNvSpPr txBox="1"/>
          <p:nvPr userDrawn="1"/>
        </p:nvSpPr>
        <p:spPr>
          <a:xfrm>
            <a:off x="11682742" y="6458310"/>
            <a:ext cx="409669" cy="276999"/>
          </a:xfrm>
          <a:prstGeom prst="rect">
            <a:avLst/>
          </a:prstGeom>
          <a:noFill/>
        </p:spPr>
        <p:txBody>
          <a:bodyPr wrap="square" anchor="ctr">
            <a:spAutoFit/>
          </a:bodyPr>
          <a:lstStyle/>
          <a:p>
            <a:fld id="{562BA7E0-5F5E-EE41-AE8D-BD30ED9E17AD}" type="slidenum">
              <a:rPr lang="en-GB" sz="1200" smtClean="0">
                <a:solidFill>
                  <a:schemeClr val="tx1"/>
                </a:solidFill>
                <a:latin typeface="Arial" panose="020B0604020202020204" pitchFamily="34" charset="0"/>
                <a:cs typeface="Arial" panose="020B0604020202020204" pitchFamily="34" charset="0"/>
              </a:rPr>
              <a:pPr/>
              <a:t>‹#›</a:t>
            </a:fld>
            <a:endParaRPr lang="en-GB" sz="1200">
              <a:solidFill>
                <a:schemeClr val="tx1"/>
              </a:solidFill>
              <a:latin typeface="Arial" panose="020B0604020202020204" pitchFamily="34" charset="0"/>
              <a:cs typeface="Arial" panose="020B0604020202020204" pitchFamily="34" charset="0"/>
            </a:endParaRPr>
          </a:p>
        </p:txBody>
      </p:sp>
      <p:pic>
        <p:nvPicPr>
          <p:cNvPr id="7" name="Picture 6" descr="A logo on a black background&#10;&#10;Description automatically generated">
            <a:extLst>
              <a:ext uri="{FF2B5EF4-FFF2-40B4-BE49-F238E27FC236}">
                <a16:creationId xmlns:a16="http://schemas.microsoft.com/office/drawing/2014/main" id="{05A14DB0-CEA8-2F77-EF59-84BB507E2FC6}"/>
              </a:ext>
            </a:extLst>
          </p:cNvPr>
          <p:cNvPicPr>
            <a:picLocks noChangeAspect="1"/>
          </p:cNvPicPr>
          <p:nvPr userDrawn="1"/>
        </p:nvPicPr>
        <p:blipFill rotWithShape="1">
          <a:blip r:embed="rId2"/>
          <a:srcRect l="7819" t="33017" r="74362" b="36885"/>
          <a:stretch/>
        </p:blipFill>
        <p:spPr>
          <a:xfrm>
            <a:off x="263816" y="334800"/>
            <a:ext cx="682031" cy="648000"/>
          </a:xfrm>
          <a:prstGeom prst="rect">
            <a:avLst/>
          </a:prstGeom>
        </p:spPr>
      </p:pic>
      <p:sp>
        <p:nvSpPr>
          <p:cNvPr id="4" name="Footer Placeholder 4">
            <a:extLst>
              <a:ext uri="{FF2B5EF4-FFF2-40B4-BE49-F238E27FC236}">
                <a16:creationId xmlns:a16="http://schemas.microsoft.com/office/drawing/2014/main" id="{8938CF6B-AAA5-A040-9E6A-575D26301D55}"/>
              </a:ext>
            </a:extLst>
          </p:cNvPr>
          <p:cNvSpPr>
            <a:spLocks noGrp="1"/>
          </p:cNvSpPr>
          <p:nvPr>
            <p:ph type="ftr" sz="quarter" idx="3"/>
          </p:nvPr>
        </p:nvSpPr>
        <p:spPr>
          <a:xfrm>
            <a:off x="7350369" y="6429964"/>
            <a:ext cx="3176758" cy="309600"/>
          </a:xfrm>
          <a:prstGeom prst="rect">
            <a:avLst/>
          </a:prstGeom>
          <a:ln>
            <a:noFill/>
          </a:ln>
        </p:spPr>
        <p:txBody>
          <a:bodyPr vert="horz" lIns="91440" tIns="45720" rIns="91440" bIns="45720" rtlCol="0" anchor="ctr"/>
          <a:lstStyle>
            <a:lvl1pPr algn="l">
              <a:defRPr sz="1000" b="0" i="0">
                <a:solidFill>
                  <a:schemeClr val="tx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Cobalt Market Outlook</a:t>
            </a:r>
          </a:p>
        </p:txBody>
      </p:sp>
      <p:sp>
        <p:nvSpPr>
          <p:cNvPr id="6" name="TextBox 5">
            <a:extLst>
              <a:ext uri="{FF2B5EF4-FFF2-40B4-BE49-F238E27FC236}">
                <a16:creationId xmlns:a16="http://schemas.microsoft.com/office/drawing/2014/main" id="{89AFE2E4-3750-7F12-6F58-EFABEA1B26B7}"/>
              </a:ext>
            </a:extLst>
          </p:cNvPr>
          <p:cNvSpPr txBox="1"/>
          <p:nvPr userDrawn="1"/>
        </p:nvSpPr>
        <p:spPr>
          <a:xfrm>
            <a:off x="5476126" y="6429964"/>
            <a:ext cx="1286726" cy="276999"/>
          </a:xfrm>
          <a:prstGeom prst="rect">
            <a:avLst/>
          </a:prstGeom>
          <a:noFill/>
          <a:ln>
            <a:noFill/>
          </a:ln>
        </p:spPr>
        <p:txBody>
          <a:bodyPr wrap="square">
            <a:spAutoFit/>
          </a:bodyPr>
          <a:lstStyle/>
          <a:p>
            <a:pPr algn="ctr"/>
            <a:r>
              <a:rPr lang="en-GB" sz="1200" b="0" i="1">
                <a:solidFill>
                  <a:schemeClr val="tx1">
                    <a:lumMod val="50000"/>
                  </a:schemeClr>
                </a:solidFill>
                <a:latin typeface="Garamond" panose="02020404030301010803" pitchFamily="18" charset="0"/>
                <a:ea typeface="Helvetica Neue Thin" panose="020B0403020202020204" pitchFamily="34" charset="0"/>
                <a:cs typeface="Arial" panose="020B0604020202020204" pitchFamily="34" charset="0"/>
              </a:rPr>
              <a:t>October 2025</a:t>
            </a:r>
          </a:p>
        </p:txBody>
      </p:sp>
      <p:sp>
        <p:nvSpPr>
          <p:cNvPr id="8" name="Title 1">
            <a:extLst>
              <a:ext uri="{FF2B5EF4-FFF2-40B4-BE49-F238E27FC236}">
                <a16:creationId xmlns:a16="http://schemas.microsoft.com/office/drawing/2014/main" id="{3F37CBC1-6CFA-E518-6D9B-C298DCD2EBAB}"/>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Tree>
    <p:extLst>
      <p:ext uri="{BB962C8B-B14F-4D97-AF65-F5344CB8AC3E}">
        <p14:creationId xmlns:p14="http://schemas.microsoft.com/office/powerpoint/2010/main" val="355012519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Title &amp; Blank_OUTLOOK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089F6B3-B184-CD35-917E-7E6D3B7A8CDE}"/>
              </a:ext>
            </a:extLst>
          </p:cNvPr>
          <p:cNvSpPr>
            <a:spLocks noGrp="1"/>
          </p:cNvSpPr>
          <p:nvPr>
            <p:ph type="ftr" sz="quarter" idx="11"/>
          </p:nvPr>
        </p:nvSpPr>
        <p:spPr>
          <a:xfrm>
            <a:off x="7350369" y="6429965"/>
            <a:ext cx="3176758" cy="307777"/>
          </a:xfrm>
          <a:prstGeom prst="rect">
            <a:avLst/>
          </a:prstGeom>
        </p:spPr>
        <p:txBody>
          <a:bodyPr/>
          <a:lstStyle>
            <a:lvl1pPr>
              <a:defRPr/>
            </a:lvl1pPr>
          </a:lstStyle>
          <a:p>
            <a:r>
              <a:rPr lang="en-GB"/>
              <a:t>Cobalt Market Outlook</a:t>
            </a:r>
          </a:p>
        </p:txBody>
      </p:sp>
      <p:sp>
        <p:nvSpPr>
          <p:cNvPr id="6" name="Content Placeholder 7">
            <a:extLst>
              <a:ext uri="{FF2B5EF4-FFF2-40B4-BE49-F238E27FC236}">
                <a16:creationId xmlns:a16="http://schemas.microsoft.com/office/drawing/2014/main" id="{4C4CE95A-F585-280E-7C05-6A4582FA0F9C}"/>
              </a:ext>
            </a:extLst>
          </p:cNvPr>
          <p:cNvSpPr>
            <a:spLocks noGrp="1"/>
          </p:cNvSpPr>
          <p:nvPr>
            <p:ph sz="quarter" idx="4294967295"/>
          </p:nvPr>
        </p:nvSpPr>
        <p:spPr>
          <a:xfrm>
            <a:off x="397585" y="1432803"/>
            <a:ext cx="11062225" cy="4712301"/>
          </a:xfrm>
        </p:spPr>
        <p:txBody>
          <a:bodyPr>
            <a:normAutofit/>
          </a:bodyPr>
          <a:lstStyle/>
          <a:p>
            <a:pPr marL="0" lvl="0" indent="0">
              <a:lnSpc>
                <a:spcPct val="120000"/>
              </a:lnSpc>
              <a:buFont typeface="Arial" panose="020B0604020202020204" pitchFamily="34" charset="0"/>
              <a:buNone/>
            </a:pPr>
            <a:r>
              <a:rPr lang="en-US" sz="1600"/>
              <a:t>Click to edit Master text styles</a:t>
            </a:r>
          </a:p>
          <a:p>
            <a:pPr marL="0" lvl="1" indent="0">
              <a:lnSpc>
                <a:spcPct val="120000"/>
              </a:lnSpc>
              <a:buFont typeface="Arial" panose="020B0604020202020204" pitchFamily="34" charset="0"/>
              <a:buNone/>
            </a:pPr>
            <a:r>
              <a:rPr lang="en-US" sz="1600"/>
              <a:t>Second level</a:t>
            </a:r>
          </a:p>
        </p:txBody>
      </p:sp>
      <p:sp>
        <p:nvSpPr>
          <p:cNvPr id="3" name="Title 1">
            <a:extLst>
              <a:ext uri="{FF2B5EF4-FFF2-40B4-BE49-F238E27FC236}">
                <a16:creationId xmlns:a16="http://schemas.microsoft.com/office/drawing/2014/main" id="{983889C3-CEF2-7FEC-83F3-8CE52AD60B5F}"/>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Tree>
    <p:extLst>
      <p:ext uri="{BB962C8B-B14F-4D97-AF65-F5344CB8AC3E}">
        <p14:creationId xmlns:p14="http://schemas.microsoft.com/office/powerpoint/2010/main" val="338981318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userDrawn="1">
  <p:cSld name="Glossar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6A6F3C7-49FD-B21D-A71C-794307806CB1}"/>
              </a:ext>
            </a:extLst>
          </p:cNvPr>
          <p:cNvSpPr>
            <a:spLocks noGrp="1"/>
          </p:cNvSpPr>
          <p:nvPr>
            <p:ph type="sldNum" sz="quarter" idx="10"/>
          </p:nvPr>
        </p:nvSpPr>
        <p:spPr>
          <a:noFill/>
        </p:spPr>
        <p:txBody>
          <a:bodyPr/>
          <a:lstStyle>
            <a:lvl1pPr>
              <a:defRPr sz="1200">
                <a:solidFill>
                  <a:schemeClr val="tx1"/>
                </a:solidFill>
              </a:defRPr>
            </a:lvl1pPr>
          </a:lstStyle>
          <a:p>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p:nvPr>
        </p:nvSpPr>
        <p:spPr>
          <a:xfrm>
            <a:off x="6223000" y="1171074"/>
            <a:ext cx="5555461" cy="5051926"/>
          </a:xfrm>
          <a:noFill/>
        </p:spPr>
        <p:txBody>
          <a:bodyPr lIns="252000" tIns="252000" rIns="252000" bIns="252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9">
            <a:extLst>
              <a:ext uri="{FF2B5EF4-FFF2-40B4-BE49-F238E27FC236}">
                <a16:creationId xmlns:a16="http://schemas.microsoft.com/office/drawing/2014/main" id="{CEDCBED3-3077-3817-F2AC-688CAB5EBC98}"/>
              </a:ext>
            </a:extLst>
          </p:cNvPr>
          <p:cNvSpPr>
            <a:spLocks noGrp="1"/>
          </p:cNvSpPr>
          <p:nvPr>
            <p:ph type="body" sz="quarter" idx="15"/>
          </p:nvPr>
        </p:nvSpPr>
        <p:spPr>
          <a:xfrm>
            <a:off x="413540" y="1171074"/>
            <a:ext cx="5555461" cy="5051926"/>
          </a:xfrm>
          <a:noFill/>
        </p:spPr>
        <p:txBody>
          <a:bodyPr lIns="252000" tIns="252000" rIns="252000" bIns="252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ooter Placeholder 4">
            <a:extLst>
              <a:ext uri="{FF2B5EF4-FFF2-40B4-BE49-F238E27FC236}">
                <a16:creationId xmlns:a16="http://schemas.microsoft.com/office/drawing/2014/main" id="{46079007-DD16-E1A0-0A92-2C3D5307A683}"/>
              </a:ext>
            </a:extLst>
          </p:cNvPr>
          <p:cNvSpPr>
            <a:spLocks noGrp="1"/>
          </p:cNvSpPr>
          <p:nvPr>
            <p:ph type="ftr" sz="quarter" idx="3"/>
          </p:nvPr>
        </p:nvSpPr>
        <p:spPr>
          <a:xfrm>
            <a:off x="7350369" y="6429964"/>
            <a:ext cx="3176758" cy="309600"/>
          </a:xfrm>
          <a:prstGeom prst="rect">
            <a:avLst/>
          </a:prstGeom>
          <a:ln>
            <a:noFill/>
          </a:ln>
        </p:spPr>
        <p:txBody>
          <a:bodyPr vert="horz" lIns="91440" tIns="45720" rIns="91440" bIns="45720" rtlCol="0" anchor="ctr"/>
          <a:lstStyle>
            <a:lvl1pPr algn="l">
              <a:defRPr sz="1000" b="0" i="0">
                <a:solidFill>
                  <a:schemeClr val="tx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Cobalt Market Outlook</a:t>
            </a:r>
          </a:p>
        </p:txBody>
      </p:sp>
      <p:sp>
        <p:nvSpPr>
          <p:cNvPr id="9" name="TextBox 8">
            <a:extLst>
              <a:ext uri="{FF2B5EF4-FFF2-40B4-BE49-F238E27FC236}">
                <a16:creationId xmlns:a16="http://schemas.microsoft.com/office/drawing/2014/main" id="{F451A67E-FFD4-1EE3-6B6B-9F0EBEF492C5}"/>
              </a:ext>
            </a:extLst>
          </p:cNvPr>
          <p:cNvSpPr txBox="1"/>
          <p:nvPr userDrawn="1"/>
        </p:nvSpPr>
        <p:spPr>
          <a:xfrm>
            <a:off x="2623437" y="6429964"/>
            <a:ext cx="2455460" cy="309600"/>
          </a:xfrm>
          <a:prstGeom prst="rect">
            <a:avLst/>
          </a:prstGeom>
          <a:noFill/>
          <a:ln>
            <a:noFill/>
          </a:ln>
        </p:spPr>
        <p:txBody>
          <a:bodyPr wrap="square">
            <a:spAutoFit/>
          </a:bodyPr>
          <a:lstStyle/>
          <a:p>
            <a:r>
              <a:rPr lang="en-GB" sz="1000" b="0" i="0">
                <a:solidFill>
                  <a:schemeClr val="tx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tx1"/>
                </a:solidFill>
                <a:latin typeface="Garamond" panose="02020404030301010803" pitchFamily="18" charset="0"/>
                <a:ea typeface="Helvetica Neue UltraLight" panose="02000206000000020004" pitchFamily="2" charset="0"/>
              </a:rPr>
              <a:t>expert</a:t>
            </a:r>
            <a:r>
              <a:rPr lang="en-GB" sz="1000" b="0" i="0">
                <a:solidFill>
                  <a:schemeClr val="tx1"/>
                </a:solidFill>
                <a:latin typeface="Helvetica Neue UltraLight" panose="02000206000000020004" pitchFamily="2" charset="0"/>
                <a:ea typeface="Helvetica Neue UltraLight" panose="02000206000000020004" pitchFamily="2" charset="0"/>
              </a:rPr>
              <a:t> </a:t>
            </a:r>
            <a:r>
              <a:rPr lang="en-GB" sz="1000" b="0" i="0">
                <a:solidFill>
                  <a:schemeClr val="tx1"/>
                </a:solidFill>
                <a:latin typeface="Arial" panose="020B0604020202020204" pitchFamily="34" charset="0"/>
                <a:ea typeface="Helvetica Neue Thin" panose="020B0403020202020204" pitchFamily="34" charset="0"/>
                <a:cs typeface="Arial" panose="020B0604020202020204" pitchFamily="34" charset="0"/>
              </a:rPr>
              <a:t>intelligence</a:t>
            </a:r>
          </a:p>
        </p:txBody>
      </p:sp>
      <p:pic>
        <p:nvPicPr>
          <p:cNvPr id="11" name="Picture 10" descr="A logo on a black background&#10;&#10;Description automatically generated">
            <a:extLst>
              <a:ext uri="{FF2B5EF4-FFF2-40B4-BE49-F238E27FC236}">
                <a16:creationId xmlns:a16="http://schemas.microsoft.com/office/drawing/2014/main" id="{03AF0070-D10F-A04A-2EB8-EA1D12441212}"/>
              </a:ext>
            </a:extLst>
          </p:cNvPr>
          <p:cNvPicPr>
            <a:picLocks noChangeAspect="1"/>
          </p:cNvPicPr>
          <p:nvPr userDrawn="1"/>
        </p:nvPicPr>
        <p:blipFill rotWithShape="1">
          <a:blip r:embed="rId2"/>
          <a:srcRect l="7819" t="33017" r="74362" b="36885"/>
          <a:stretch/>
        </p:blipFill>
        <p:spPr>
          <a:xfrm>
            <a:off x="263816" y="334800"/>
            <a:ext cx="682031" cy="648000"/>
          </a:xfrm>
          <a:prstGeom prst="rect">
            <a:avLst/>
          </a:prstGeom>
        </p:spPr>
      </p:pic>
      <p:cxnSp>
        <p:nvCxnSpPr>
          <p:cNvPr id="12" name="Straight Connector 11">
            <a:extLst>
              <a:ext uri="{FF2B5EF4-FFF2-40B4-BE49-F238E27FC236}">
                <a16:creationId xmlns:a16="http://schemas.microsoft.com/office/drawing/2014/main" id="{2C42624A-C964-D754-74D3-C414D1BDB801}"/>
              </a:ext>
            </a:extLst>
          </p:cNvPr>
          <p:cNvCxnSpPr>
            <a:cxnSpLocks/>
          </p:cNvCxnSpPr>
          <p:nvPr userDrawn="1"/>
        </p:nvCxnSpPr>
        <p:spPr>
          <a:xfrm>
            <a:off x="27036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DD110B84-6B10-3CB8-E391-E7575A488B14}"/>
              </a:ext>
            </a:extLst>
          </p:cNvPr>
          <p:cNvCxnSpPr>
            <a:cxnSpLocks/>
          </p:cNvCxnSpPr>
          <p:nvPr userDrawn="1"/>
        </p:nvCxnSpPr>
        <p:spPr>
          <a:xfrm>
            <a:off x="54900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AADAA4DE-DB2D-5FCD-73F3-3F5AC92EAA80}"/>
              </a:ext>
            </a:extLst>
          </p:cNvPr>
          <p:cNvCxnSpPr>
            <a:cxnSpLocks/>
          </p:cNvCxnSpPr>
          <p:nvPr userDrawn="1"/>
        </p:nvCxnSpPr>
        <p:spPr>
          <a:xfrm>
            <a:off x="74124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05EC0B7B-85A6-B9FD-C196-74CC068BD310}"/>
              </a:ext>
            </a:extLst>
          </p:cNvPr>
          <p:cNvSpPr txBox="1"/>
          <p:nvPr userDrawn="1"/>
        </p:nvSpPr>
        <p:spPr>
          <a:xfrm>
            <a:off x="11682742" y="6458310"/>
            <a:ext cx="409669" cy="276999"/>
          </a:xfrm>
          <a:prstGeom prst="rect">
            <a:avLst/>
          </a:prstGeom>
          <a:noFill/>
        </p:spPr>
        <p:txBody>
          <a:bodyPr wrap="square" anchor="ctr">
            <a:spAutoFit/>
          </a:bodyPr>
          <a:lstStyle/>
          <a:p>
            <a:fld id="{562BA7E0-5F5E-EE41-AE8D-BD30ED9E17AD}" type="slidenum">
              <a:rPr lang="en-GB" sz="1200" smtClean="0">
                <a:solidFill>
                  <a:schemeClr val="tx1"/>
                </a:solidFill>
                <a:latin typeface="Arial" panose="020B0604020202020204" pitchFamily="34" charset="0"/>
                <a:cs typeface="Arial" panose="020B0604020202020204" pitchFamily="34" charset="0"/>
              </a:rPr>
              <a:pPr/>
              <a:t>‹#›</a:t>
            </a:fld>
            <a:endParaRPr lang="en-GB" sz="1200">
              <a:solidFill>
                <a:schemeClr val="tx1"/>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12596397-4B8B-C5D3-6C87-2024D4EBC593}"/>
              </a:ext>
            </a:extLst>
          </p:cNvPr>
          <p:cNvSpPr txBox="1"/>
          <p:nvPr userDrawn="1"/>
        </p:nvSpPr>
        <p:spPr>
          <a:xfrm>
            <a:off x="5476126" y="6429964"/>
            <a:ext cx="1286726" cy="276999"/>
          </a:xfrm>
          <a:prstGeom prst="rect">
            <a:avLst/>
          </a:prstGeom>
          <a:noFill/>
          <a:ln>
            <a:noFill/>
          </a:ln>
        </p:spPr>
        <p:txBody>
          <a:bodyPr wrap="square">
            <a:spAutoFit/>
          </a:bodyPr>
          <a:lstStyle/>
          <a:p>
            <a:pPr algn="ctr"/>
            <a:r>
              <a:rPr lang="en-GB" sz="1200" b="0" i="1">
                <a:solidFill>
                  <a:schemeClr val="tx1">
                    <a:lumMod val="50000"/>
                  </a:schemeClr>
                </a:solidFill>
                <a:latin typeface="Garamond" panose="02020404030301010803" pitchFamily="18" charset="0"/>
                <a:ea typeface="Helvetica Neue Thin" panose="020B0403020202020204" pitchFamily="34" charset="0"/>
                <a:cs typeface="Arial" panose="020B0604020202020204" pitchFamily="34" charset="0"/>
              </a:rPr>
              <a:t>October 2025</a:t>
            </a:r>
          </a:p>
        </p:txBody>
      </p:sp>
      <p:sp>
        <p:nvSpPr>
          <p:cNvPr id="2" name="Rectangle 1">
            <a:extLst>
              <a:ext uri="{FF2B5EF4-FFF2-40B4-BE49-F238E27FC236}">
                <a16:creationId xmlns:a16="http://schemas.microsoft.com/office/drawing/2014/main" id="{0B9C9635-FA90-5C54-570F-EAD9EA6295BB}"/>
              </a:ext>
            </a:extLst>
          </p:cNvPr>
          <p:cNvSpPr/>
          <p:nvPr userDrawn="1"/>
        </p:nvSpPr>
        <p:spPr>
          <a:xfrm>
            <a:off x="10273" y="20548"/>
            <a:ext cx="1335640" cy="19520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itle 1">
            <a:extLst>
              <a:ext uri="{FF2B5EF4-FFF2-40B4-BE49-F238E27FC236}">
                <a16:creationId xmlns:a16="http://schemas.microsoft.com/office/drawing/2014/main" id="{C459A5CD-BFA7-91EF-7D7D-A7C9A5492345}"/>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Tree>
    <p:extLst>
      <p:ext uri="{BB962C8B-B14F-4D97-AF65-F5344CB8AC3E}">
        <p14:creationId xmlns:p14="http://schemas.microsoft.com/office/powerpoint/2010/main" val="210370822"/>
      </p:ext>
    </p:extLst>
  </p:cSld>
  <p:clrMapOvr>
    <a:masterClrMapping/>
  </p:clrMapOvr>
  <p:extLst>
    <p:ext uri="{DCECCB84-F9BA-43D5-87BE-67443E8EF086}">
      <p15:sldGuideLst xmlns:p15="http://schemas.microsoft.com/office/powerpoint/2012/main">
        <p15:guide id="1" orient="horz" pos="1344">
          <p15:clr>
            <a:srgbClr val="5ACBF0"/>
          </p15:clr>
        </p15:guide>
        <p15:guide id="2" orient="horz" pos="3249">
          <p15:clr>
            <a:srgbClr val="5ACBF0"/>
          </p15:clr>
        </p15:guide>
        <p15:guide id="3" pos="3613">
          <p15:clr>
            <a:srgbClr val="5ACBF0"/>
          </p15:clr>
        </p15:guide>
        <p15:guide id="4" pos="710">
          <p15:clr>
            <a:srgbClr val="5ACBF0"/>
          </p15:clr>
        </p15:guide>
        <p15:guide id="5" orient="horz" pos="913">
          <p15:clr>
            <a:srgbClr val="F26B43"/>
          </p15:clr>
        </p15:guide>
        <p15:guide id="6" orient="horz" pos="3702">
          <p15:clr>
            <a:srgbClr val="F26B43"/>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Summary Storybo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noFill/>
        </p:spPr>
        <p:txBody>
          <a:bodyPr lIns="0"/>
          <a:lstStyle/>
          <a:p>
            <a:r>
              <a:rPr lang="en-US"/>
              <a:t>Click to edit Master title style</a:t>
            </a:r>
            <a:endParaRPr lang="en-GB"/>
          </a:p>
        </p:txBody>
      </p:sp>
      <p:sp>
        <p:nvSpPr>
          <p:cNvPr id="3" name="Slide Number Placeholder 2">
            <a:extLst>
              <a:ext uri="{FF2B5EF4-FFF2-40B4-BE49-F238E27FC236}">
                <a16:creationId xmlns:a16="http://schemas.microsoft.com/office/drawing/2014/main" id="{F6A6F3C7-49FD-B21D-A71C-794307806CB1}"/>
              </a:ext>
            </a:extLst>
          </p:cNvPr>
          <p:cNvSpPr>
            <a:spLocks noGrp="1"/>
          </p:cNvSpPr>
          <p:nvPr>
            <p:ph type="sldNum" sz="quarter" idx="10"/>
          </p:nvPr>
        </p:nvSpPr>
        <p:spPr>
          <a:noFill/>
        </p:spPr>
        <p:txBody>
          <a:bodyPr/>
          <a:lstStyle>
            <a:lvl1pPr>
              <a:defRPr sz="1200">
                <a:solidFill>
                  <a:schemeClr val="tx1"/>
                </a:solidFill>
              </a:defRPr>
            </a:lvl1pPr>
          </a:lstStyle>
          <a:p>
            <a:endParaRPr lang="en-GB"/>
          </a:p>
        </p:txBody>
      </p:sp>
      <p:sp>
        <p:nvSpPr>
          <p:cNvPr id="4" name="Footer Placeholder 3">
            <a:extLst>
              <a:ext uri="{FF2B5EF4-FFF2-40B4-BE49-F238E27FC236}">
                <a16:creationId xmlns:a16="http://schemas.microsoft.com/office/drawing/2014/main" id="{5E7FC5AF-5497-9574-95D6-1D004FDD63BA}"/>
              </a:ext>
            </a:extLst>
          </p:cNvPr>
          <p:cNvSpPr>
            <a:spLocks noGrp="1"/>
          </p:cNvSpPr>
          <p:nvPr>
            <p:ph type="ftr" sz="quarter" idx="11"/>
          </p:nvPr>
        </p:nvSpPr>
        <p:spPr>
          <a:xfrm>
            <a:off x="7350369" y="6429965"/>
            <a:ext cx="3176758" cy="307777"/>
          </a:xfrm>
          <a:prstGeom prst="rect">
            <a:avLst/>
          </a:prstGeom>
          <a:noFill/>
        </p:spPr>
        <p:txBody>
          <a:bodyPr/>
          <a:lstStyle>
            <a:lvl1pPr>
              <a:defRPr/>
            </a:lvl1pPr>
          </a:lstStyle>
          <a:p>
            <a:r>
              <a:rPr lang="en-GB"/>
              <a:t>Cobalt Market Outlook</a:t>
            </a:r>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04392" y="972000"/>
            <a:ext cx="3744000" cy="288000"/>
          </a:xfrm>
          <a:noFill/>
        </p:spPr>
        <p:txBody>
          <a:bodyPr lIns="0"/>
          <a:lstStyle>
            <a:lvl1pPr>
              <a:defRPr sz="1300"/>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04856" y="1260000"/>
            <a:ext cx="3744000" cy="2169000"/>
          </a:xfrm>
          <a:noFill/>
        </p:spPr>
        <p:txBody>
          <a:bodyPr/>
          <a:lstStyle>
            <a:lvl1pPr algn="ctr">
              <a:defRPr/>
            </a:lvl1pPr>
            <a:lvl5pPr>
              <a:defRPr/>
            </a:lvl5pPr>
          </a:lstStyle>
          <a:p>
            <a:pPr lvl="0"/>
            <a:r>
              <a:rPr lang="en-US"/>
              <a:t>Insert Char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11365200" cy="215999"/>
          </a:xfrm>
          <a:noFill/>
        </p:spPr>
        <p:txBody>
          <a:bodyPr lIns="0"/>
          <a:lstStyle>
            <a:lvl1pPr>
              <a:defRPr sz="1050">
                <a:solidFill>
                  <a:schemeClr val="tx1"/>
                </a:solidFill>
              </a:defRPr>
            </a:lvl1pPr>
            <a:lvl5pPr>
              <a:defRPr sz="1050">
                <a:solidFill>
                  <a:schemeClr val="tx1"/>
                </a:solidFill>
              </a:defRPr>
            </a:lvl5pPr>
          </a:lstStyle>
          <a:p>
            <a:pPr lvl="0"/>
            <a:r>
              <a:rPr lang="en-US"/>
              <a:t>DATA: CRU</a:t>
            </a:r>
            <a:endParaRPr lang="en-GB"/>
          </a:p>
        </p:txBody>
      </p:sp>
      <p:sp>
        <p:nvSpPr>
          <p:cNvPr id="13" name="Text Placeholder 5">
            <a:extLst>
              <a:ext uri="{FF2B5EF4-FFF2-40B4-BE49-F238E27FC236}">
                <a16:creationId xmlns:a16="http://schemas.microsoft.com/office/drawing/2014/main" id="{0F05E3CC-77D8-00D4-3892-43359D3D440D}"/>
              </a:ext>
            </a:extLst>
          </p:cNvPr>
          <p:cNvSpPr>
            <a:spLocks noGrp="1"/>
          </p:cNvSpPr>
          <p:nvPr>
            <p:ph type="body" sz="quarter" idx="20" hasCustomPrompt="1"/>
          </p:nvPr>
        </p:nvSpPr>
        <p:spPr>
          <a:xfrm>
            <a:off x="4230286" y="972000"/>
            <a:ext cx="3744000" cy="288000"/>
          </a:xfrm>
          <a:noFill/>
        </p:spPr>
        <p:txBody>
          <a:bodyPr lIns="108000"/>
          <a:lstStyle>
            <a:lvl1pPr>
              <a:defRPr sz="1300"/>
            </a:lvl1pPr>
          </a:lstStyle>
          <a:p>
            <a:pPr lvl="0"/>
            <a:r>
              <a:rPr lang="en-US"/>
              <a:t>Chart headline</a:t>
            </a:r>
          </a:p>
        </p:txBody>
      </p:sp>
      <p:sp>
        <p:nvSpPr>
          <p:cNvPr id="14" name="Content Placeholder 7">
            <a:extLst>
              <a:ext uri="{FF2B5EF4-FFF2-40B4-BE49-F238E27FC236}">
                <a16:creationId xmlns:a16="http://schemas.microsoft.com/office/drawing/2014/main" id="{CB8F5FCB-FB91-1CC1-0B13-4616C17F6F8D}"/>
              </a:ext>
            </a:extLst>
          </p:cNvPr>
          <p:cNvSpPr>
            <a:spLocks noGrp="1"/>
          </p:cNvSpPr>
          <p:nvPr>
            <p:ph sz="quarter" idx="21" hasCustomPrompt="1"/>
          </p:nvPr>
        </p:nvSpPr>
        <p:spPr>
          <a:xfrm>
            <a:off x="4230288" y="1260000"/>
            <a:ext cx="3744000" cy="2169000"/>
          </a:xfrm>
          <a:noFill/>
        </p:spPr>
        <p:txBody>
          <a:bodyPr/>
          <a:lstStyle>
            <a:lvl1pPr algn="ctr">
              <a:defRPr/>
            </a:lvl1pPr>
            <a:lvl5pPr>
              <a:defRPr/>
            </a:lvl5pPr>
          </a:lstStyle>
          <a:p>
            <a:pPr lvl="0"/>
            <a:r>
              <a:rPr lang="en-US"/>
              <a:t>Insert Chart</a:t>
            </a:r>
            <a:endParaRPr lang="en-GB"/>
          </a:p>
        </p:txBody>
      </p:sp>
      <p:sp>
        <p:nvSpPr>
          <p:cNvPr id="17" name="Text Placeholder 5">
            <a:extLst>
              <a:ext uri="{FF2B5EF4-FFF2-40B4-BE49-F238E27FC236}">
                <a16:creationId xmlns:a16="http://schemas.microsoft.com/office/drawing/2014/main" id="{82725930-D425-C749-FEC9-D1707FF63950}"/>
              </a:ext>
            </a:extLst>
          </p:cNvPr>
          <p:cNvSpPr>
            <a:spLocks noGrp="1"/>
          </p:cNvSpPr>
          <p:nvPr>
            <p:ph type="body" sz="quarter" idx="24" hasCustomPrompt="1"/>
          </p:nvPr>
        </p:nvSpPr>
        <p:spPr>
          <a:xfrm>
            <a:off x="8037432" y="972000"/>
            <a:ext cx="3744000" cy="288000"/>
          </a:xfrm>
          <a:noFill/>
        </p:spPr>
        <p:txBody>
          <a:bodyPr lIns="108000"/>
          <a:lstStyle>
            <a:lvl1pPr>
              <a:defRPr sz="1300"/>
            </a:lvl1pPr>
          </a:lstStyle>
          <a:p>
            <a:pPr lvl="0"/>
            <a:r>
              <a:rPr lang="en-US"/>
              <a:t>Chart headline</a:t>
            </a:r>
          </a:p>
        </p:txBody>
      </p:sp>
      <p:sp>
        <p:nvSpPr>
          <p:cNvPr id="18" name="Content Placeholder 7">
            <a:extLst>
              <a:ext uri="{FF2B5EF4-FFF2-40B4-BE49-F238E27FC236}">
                <a16:creationId xmlns:a16="http://schemas.microsoft.com/office/drawing/2014/main" id="{ECAB1B5D-539C-8387-B045-BAF0C5698A72}"/>
              </a:ext>
            </a:extLst>
          </p:cNvPr>
          <p:cNvSpPr>
            <a:spLocks noGrp="1"/>
          </p:cNvSpPr>
          <p:nvPr>
            <p:ph sz="quarter" idx="25" hasCustomPrompt="1"/>
          </p:nvPr>
        </p:nvSpPr>
        <p:spPr>
          <a:xfrm>
            <a:off x="8037432" y="1260000"/>
            <a:ext cx="3744000" cy="2169000"/>
          </a:xfrm>
          <a:noFill/>
        </p:spPr>
        <p:txBody>
          <a:bodyPr/>
          <a:lstStyle>
            <a:lvl1pPr algn="ctr">
              <a:defRPr/>
            </a:lvl1pPr>
            <a:lvl5pPr>
              <a:defRPr/>
            </a:lvl5pPr>
          </a:lstStyle>
          <a:p>
            <a:pPr lvl="0"/>
            <a:r>
              <a:rPr lang="en-US"/>
              <a:t>Insert Chart</a:t>
            </a:r>
            <a:endParaRPr lang="en-GB"/>
          </a:p>
        </p:txBody>
      </p:sp>
      <p:cxnSp>
        <p:nvCxnSpPr>
          <p:cNvPr id="7" name="Straight Connector 6">
            <a:extLst>
              <a:ext uri="{FF2B5EF4-FFF2-40B4-BE49-F238E27FC236}">
                <a16:creationId xmlns:a16="http://schemas.microsoft.com/office/drawing/2014/main" id="{975CDD6E-035F-9465-32D7-99297026358F}"/>
              </a:ext>
            </a:extLst>
          </p:cNvPr>
          <p:cNvCxnSpPr/>
          <p:nvPr userDrawn="1"/>
        </p:nvCxnSpPr>
        <p:spPr>
          <a:xfrm>
            <a:off x="4190031" y="3766451"/>
            <a:ext cx="7937" cy="1990725"/>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0" name="Straight Connector 9">
            <a:extLst>
              <a:ext uri="{FF2B5EF4-FFF2-40B4-BE49-F238E27FC236}">
                <a16:creationId xmlns:a16="http://schemas.microsoft.com/office/drawing/2014/main" id="{2A904D48-4B83-5BF3-D639-51D8FAB1FCCD}"/>
              </a:ext>
            </a:extLst>
          </p:cNvPr>
          <p:cNvCxnSpPr>
            <a:cxnSpLocks/>
          </p:cNvCxnSpPr>
          <p:nvPr userDrawn="1"/>
        </p:nvCxnSpPr>
        <p:spPr>
          <a:xfrm>
            <a:off x="8004588" y="3766451"/>
            <a:ext cx="7937" cy="1990725"/>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1" name="Straight Connector 10">
            <a:extLst>
              <a:ext uri="{FF2B5EF4-FFF2-40B4-BE49-F238E27FC236}">
                <a16:creationId xmlns:a16="http://schemas.microsoft.com/office/drawing/2014/main" id="{03F1CA78-3547-5512-F36A-2F1EEF65A0E0}"/>
              </a:ext>
            </a:extLst>
          </p:cNvPr>
          <p:cNvCxnSpPr/>
          <p:nvPr userDrawn="1"/>
        </p:nvCxnSpPr>
        <p:spPr>
          <a:xfrm>
            <a:off x="4197968" y="1401902"/>
            <a:ext cx="7937" cy="1990725"/>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6" name="Straight Connector 15">
            <a:extLst>
              <a:ext uri="{FF2B5EF4-FFF2-40B4-BE49-F238E27FC236}">
                <a16:creationId xmlns:a16="http://schemas.microsoft.com/office/drawing/2014/main" id="{7561E445-AB46-12BB-71E4-C5DB6124E6E7}"/>
              </a:ext>
            </a:extLst>
          </p:cNvPr>
          <p:cNvCxnSpPr>
            <a:cxnSpLocks/>
          </p:cNvCxnSpPr>
          <p:nvPr userDrawn="1"/>
        </p:nvCxnSpPr>
        <p:spPr>
          <a:xfrm>
            <a:off x="8004588" y="1401902"/>
            <a:ext cx="7937" cy="1990725"/>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40" name="Straight Connector 39">
            <a:extLst>
              <a:ext uri="{FF2B5EF4-FFF2-40B4-BE49-F238E27FC236}">
                <a16:creationId xmlns:a16="http://schemas.microsoft.com/office/drawing/2014/main" id="{278D58A8-BE28-DE7D-6C5A-A9A83475BCC9}"/>
              </a:ext>
            </a:extLst>
          </p:cNvPr>
          <p:cNvCxnSpPr/>
          <p:nvPr userDrawn="1"/>
        </p:nvCxnSpPr>
        <p:spPr>
          <a:xfrm>
            <a:off x="684000" y="3507452"/>
            <a:ext cx="3251413" cy="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41" name="Straight Connector 40">
            <a:extLst>
              <a:ext uri="{FF2B5EF4-FFF2-40B4-BE49-F238E27FC236}">
                <a16:creationId xmlns:a16="http://schemas.microsoft.com/office/drawing/2014/main" id="{5B27A369-CAEB-07CB-E8C4-BB5EE7BE8F47}"/>
              </a:ext>
            </a:extLst>
          </p:cNvPr>
          <p:cNvCxnSpPr/>
          <p:nvPr userDrawn="1"/>
        </p:nvCxnSpPr>
        <p:spPr>
          <a:xfrm>
            <a:off x="4464631" y="3507452"/>
            <a:ext cx="3251413" cy="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42" name="Straight Connector 41">
            <a:extLst>
              <a:ext uri="{FF2B5EF4-FFF2-40B4-BE49-F238E27FC236}">
                <a16:creationId xmlns:a16="http://schemas.microsoft.com/office/drawing/2014/main" id="{6F2B0CF4-4040-2F53-E5C0-3C48211F50AF}"/>
              </a:ext>
            </a:extLst>
          </p:cNvPr>
          <p:cNvCxnSpPr/>
          <p:nvPr userDrawn="1"/>
        </p:nvCxnSpPr>
        <p:spPr>
          <a:xfrm>
            <a:off x="8245262" y="3487606"/>
            <a:ext cx="3251413" cy="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sp>
        <p:nvSpPr>
          <p:cNvPr id="20" name="Text Placeholder 5">
            <a:extLst>
              <a:ext uri="{FF2B5EF4-FFF2-40B4-BE49-F238E27FC236}">
                <a16:creationId xmlns:a16="http://schemas.microsoft.com/office/drawing/2014/main" id="{0F3D2F0E-D3E5-7B98-5397-84AEC2794C94}"/>
              </a:ext>
            </a:extLst>
          </p:cNvPr>
          <p:cNvSpPr>
            <a:spLocks noGrp="1"/>
          </p:cNvSpPr>
          <p:nvPr>
            <p:ph type="body" sz="quarter" idx="26" hasCustomPrompt="1"/>
          </p:nvPr>
        </p:nvSpPr>
        <p:spPr>
          <a:xfrm>
            <a:off x="404392" y="3573779"/>
            <a:ext cx="3744000" cy="288000"/>
          </a:xfrm>
          <a:noFill/>
        </p:spPr>
        <p:txBody>
          <a:bodyPr lIns="0"/>
          <a:lstStyle>
            <a:lvl1pPr>
              <a:defRPr sz="1300"/>
            </a:lvl1pPr>
          </a:lstStyle>
          <a:p>
            <a:pPr lvl="0"/>
            <a:r>
              <a:rPr lang="en-US"/>
              <a:t>Chart headline</a:t>
            </a:r>
          </a:p>
        </p:txBody>
      </p:sp>
      <p:sp>
        <p:nvSpPr>
          <p:cNvPr id="21" name="Content Placeholder 7">
            <a:extLst>
              <a:ext uri="{FF2B5EF4-FFF2-40B4-BE49-F238E27FC236}">
                <a16:creationId xmlns:a16="http://schemas.microsoft.com/office/drawing/2014/main" id="{971D77E2-88CE-58A0-6008-DE30CB26C28B}"/>
              </a:ext>
            </a:extLst>
          </p:cNvPr>
          <p:cNvSpPr>
            <a:spLocks noGrp="1"/>
          </p:cNvSpPr>
          <p:nvPr>
            <p:ph sz="quarter" idx="27" hasCustomPrompt="1"/>
          </p:nvPr>
        </p:nvSpPr>
        <p:spPr>
          <a:xfrm>
            <a:off x="404856" y="3861779"/>
            <a:ext cx="3744000" cy="2115158"/>
          </a:xfrm>
          <a:noFill/>
        </p:spPr>
        <p:txBody>
          <a:bodyPr/>
          <a:lstStyle>
            <a:lvl1pPr algn="ctr">
              <a:defRPr/>
            </a:lvl1pPr>
            <a:lvl5pPr>
              <a:defRPr/>
            </a:lvl5pPr>
          </a:lstStyle>
          <a:p>
            <a:pPr lvl="0"/>
            <a:r>
              <a:rPr lang="en-US"/>
              <a:t>Insert Chart</a:t>
            </a:r>
            <a:endParaRPr lang="en-GB"/>
          </a:p>
        </p:txBody>
      </p:sp>
      <p:sp>
        <p:nvSpPr>
          <p:cNvPr id="46" name="Content Placeholder 7">
            <a:extLst>
              <a:ext uri="{FF2B5EF4-FFF2-40B4-BE49-F238E27FC236}">
                <a16:creationId xmlns:a16="http://schemas.microsoft.com/office/drawing/2014/main" id="{20C3AFE5-880A-7181-B13D-75B1901632C8}"/>
              </a:ext>
            </a:extLst>
          </p:cNvPr>
          <p:cNvSpPr>
            <a:spLocks noGrp="1"/>
          </p:cNvSpPr>
          <p:nvPr>
            <p:ph sz="quarter" idx="29" hasCustomPrompt="1"/>
          </p:nvPr>
        </p:nvSpPr>
        <p:spPr>
          <a:xfrm>
            <a:off x="4232322" y="3861779"/>
            <a:ext cx="3744000" cy="2115158"/>
          </a:xfrm>
          <a:noFill/>
        </p:spPr>
        <p:txBody>
          <a:bodyPr/>
          <a:lstStyle>
            <a:lvl1pPr algn="ctr">
              <a:defRPr/>
            </a:lvl1pPr>
            <a:lvl5pPr>
              <a:defRPr/>
            </a:lvl5pPr>
          </a:lstStyle>
          <a:p>
            <a:pPr lvl="0"/>
            <a:r>
              <a:rPr lang="en-US"/>
              <a:t>Insert Chart</a:t>
            </a:r>
            <a:endParaRPr lang="en-GB"/>
          </a:p>
        </p:txBody>
      </p:sp>
      <p:sp>
        <p:nvSpPr>
          <p:cNvPr id="48" name="Content Placeholder 7">
            <a:extLst>
              <a:ext uri="{FF2B5EF4-FFF2-40B4-BE49-F238E27FC236}">
                <a16:creationId xmlns:a16="http://schemas.microsoft.com/office/drawing/2014/main" id="{C667DFCA-F390-1C45-7A51-50ACE5867206}"/>
              </a:ext>
            </a:extLst>
          </p:cNvPr>
          <p:cNvSpPr>
            <a:spLocks noGrp="1"/>
          </p:cNvSpPr>
          <p:nvPr>
            <p:ph sz="quarter" idx="31" hasCustomPrompt="1"/>
          </p:nvPr>
        </p:nvSpPr>
        <p:spPr>
          <a:xfrm>
            <a:off x="8048294" y="3861779"/>
            <a:ext cx="3744000" cy="2115158"/>
          </a:xfrm>
          <a:noFill/>
        </p:spPr>
        <p:txBody>
          <a:bodyPr/>
          <a:lstStyle>
            <a:lvl1pPr algn="ctr">
              <a:defRPr/>
            </a:lvl1pPr>
            <a:lvl5pPr>
              <a:defRPr/>
            </a:lvl5pPr>
          </a:lstStyle>
          <a:p>
            <a:pPr lvl="0"/>
            <a:r>
              <a:rPr lang="en-US"/>
              <a:t>Insert Chart</a:t>
            </a:r>
            <a:endParaRPr lang="en-GB"/>
          </a:p>
        </p:txBody>
      </p:sp>
      <p:sp>
        <p:nvSpPr>
          <p:cNvPr id="45" name="Text Placeholder 5">
            <a:extLst>
              <a:ext uri="{FF2B5EF4-FFF2-40B4-BE49-F238E27FC236}">
                <a16:creationId xmlns:a16="http://schemas.microsoft.com/office/drawing/2014/main" id="{ADA5F841-55DA-1FCD-C282-B9CA8543085D}"/>
              </a:ext>
            </a:extLst>
          </p:cNvPr>
          <p:cNvSpPr>
            <a:spLocks noGrp="1"/>
          </p:cNvSpPr>
          <p:nvPr>
            <p:ph type="body" sz="quarter" idx="28" hasCustomPrompt="1"/>
          </p:nvPr>
        </p:nvSpPr>
        <p:spPr>
          <a:xfrm>
            <a:off x="4231859" y="3573779"/>
            <a:ext cx="3744000" cy="288000"/>
          </a:xfrm>
          <a:noFill/>
        </p:spPr>
        <p:txBody>
          <a:bodyPr lIns="0"/>
          <a:lstStyle>
            <a:lvl1pPr>
              <a:defRPr sz="1300"/>
            </a:lvl1pPr>
          </a:lstStyle>
          <a:p>
            <a:pPr lvl="0"/>
            <a:r>
              <a:rPr lang="en-US"/>
              <a:t>Chart headline</a:t>
            </a:r>
          </a:p>
        </p:txBody>
      </p:sp>
      <p:sp>
        <p:nvSpPr>
          <p:cNvPr id="47" name="Text Placeholder 5">
            <a:extLst>
              <a:ext uri="{FF2B5EF4-FFF2-40B4-BE49-F238E27FC236}">
                <a16:creationId xmlns:a16="http://schemas.microsoft.com/office/drawing/2014/main" id="{BA67EBEF-FA44-93E3-1434-5D506670F1CE}"/>
              </a:ext>
            </a:extLst>
          </p:cNvPr>
          <p:cNvSpPr>
            <a:spLocks noGrp="1"/>
          </p:cNvSpPr>
          <p:nvPr>
            <p:ph type="body" sz="quarter" idx="30" hasCustomPrompt="1"/>
          </p:nvPr>
        </p:nvSpPr>
        <p:spPr>
          <a:xfrm>
            <a:off x="8047830" y="3573779"/>
            <a:ext cx="3744000" cy="288000"/>
          </a:xfrm>
          <a:noFill/>
        </p:spPr>
        <p:txBody>
          <a:bodyPr lIns="0"/>
          <a:lstStyle>
            <a:lvl1pPr>
              <a:defRPr sz="1300"/>
            </a:lvl1pPr>
          </a:lstStyle>
          <a:p>
            <a:pPr lvl="0"/>
            <a:r>
              <a:rPr lang="en-US"/>
              <a:t>Chart headline</a:t>
            </a:r>
          </a:p>
        </p:txBody>
      </p:sp>
      <p:sp>
        <p:nvSpPr>
          <p:cNvPr id="5" name="Rectangle 4">
            <a:extLst>
              <a:ext uri="{FF2B5EF4-FFF2-40B4-BE49-F238E27FC236}">
                <a16:creationId xmlns:a16="http://schemas.microsoft.com/office/drawing/2014/main" id="{29D2FD6C-7917-BDDB-84E8-26FEA8EBF56B}"/>
              </a:ext>
            </a:extLst>
          </p:cNvPr>
          <p:cNvSpPr/>
          <p:nvPr userDrawn="1"/>
        </p:nvSpPr>
        <p:spPr>
          <a:xfrm>
            <a:off x="10273" y="20548"/>
            <a:ext cx="1335640" cy="19520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245397476"/>
      </p:ext>
    </p:extLst>
  </p:cSld>
  <p:clrMapOvr>
    <a:masterClrMapping/>
  </p:clrMapOvr>
  <p:extLst>
    <p:ext uri="{DCECCB84-F9BA-43D5-87BE-67443E8EF086}">
      <p15:sldGuideLst xmlns:p15="http://schemas.microsoft.com/office/powerpoint/2012/main">
        <p15:guide id="1" pos="551">
          <p15:clr>
            <a:srgbClr val="5ACBF0"/>
          </p15:clr>
        </p15:guide>
        <p15:guide id="2" pos="2479">
          <p15:clr>
            <a:srgbClr val="5ACBF0"/>
          </p15:clr>
        </p15:guide>
        <p15:guide id="3" pos="2955">
          <p15:clr>
            <a:srgbClr val="5ACBF0"/>
          </p15:clr>
        </p15:guide>
        <p15:guide id="4" pos="4861">
          <p15:clr>
            <a:srgbClr val="5ACBF0"/>
          </p15:clr>
        </p15:guide>
        <p15:guide id="5" pos="7242">
          <p15:clr>
            <a:srgbClr val="5ACBF0"/>
          </p15:clr>
        </p15:guide>
        <p15:guide id="6" pos="5337">
          <p15:clr>
            <a:srgbClr val="5ACBF0"/>
          </p15:clr>
        </p15:guide>
        <p15:guide id="7" orient="horz" pos="1094">
          <p15:clr>
            <a:srgbClr val="5ACBF0"/>
          </p15:clr>
        </p15:guide>
        <p15:guide id="8" orient="horz" pos="1933">
          <p15:clr>
            <a:srgbClr val="5ACBF0"/>
          </p15:clr>
        </p15:guide>
        <p15:guide id="9" orient="horz" pos="799">
          <p15:clr>
            <a:srgbClr val="F26B43"/>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E7B26-88FC-3260-D8DB-AE16A1862260}"/>
              </a:ext>
            </a:extLst>
          </p:cNvPr>
          <p:cNvSpPr>
            <a:spLocks noGrp="1"/>
          </p:cNvSpPr>
          <p:nvPr>
            <p:ph type="title"/>
          </p:nvPr>
        </p:nvSpPr>
        <p:spPr>
          <a:xfrm>
            <a:off x="1504800" y="252000"/>
            <a:ext cx="9954000" cy="741600"/>
          </a:xfrm>
          <a:prstGeom prst="rect">
            <a:avLst/>
          </a:prstGeom>
        </p:spPr>
        <p:txBody>
          <a:bodyPr anchor="ctr"/>
          <a:lstStyle/>
          <a:p>
            <a:r>
              <a:rPr lang="en-US"/>
              <a:t>Click to edit Master title style</a:t>
            </a:r>
            <a:endParaRPr lang="en-GB"/>
          </a:p>
        </p:txBody>
      </p:sp>
      <p:sp>
        <p:nvSpPr>
          <p:cNvPr id="3" name="Footer Placeholder 2">
            <a:extLst>
              <a:ext uri="{FF2B5EF4-FFF2-40B4-BE49-F238E27FC236}">
                <a16:creationId xmlns:a16="http://schemas.microsoft.com/office/drawing/2014/main" id="{2FC67B72-A3A4-B10F-C99A-20DF6C229A86}"/>
              </a:ext>
            </a:extLst>
          </p:cNvPr>
          <p:cNvSpPr>
            <a:spLocks noGrp="1"/>
          </p:cNvSpPr>
          <p:nvPr>
            <p:ph type="ftr" sz="quarter" idx="10"/>
          </p:nvPr>
        </p:nvSpPr>
        <p:spPr>
          <a:xfrm>
            <a:off x="7350369" y="6429965"/>
            <a:ext cx="3176758" cy="307777"/>
          </a:xfrm>
          <a:prstGeom prst="rect">
            <a:avLst/>
          </a:prstGeom>
        </p:spPr>
        <p:txBody>
          <a:bodyPr/>
          <a:lstStyle>
            <a:lvl1pPr>
              <a:defRPr/>
            </a:lvl1pPr>
          </a:lstStyle>
          <a:p>
            <a:r>
              <a:rPr lang="en-GB"/>
              <a:t>Cobalt Market Outlook</a:t>
            </a:r>
          </a:p>
        </p:txBody>
      </p:sp>
      <p:sp>
        <p:nvSpPr>
          <p:cNvPr id="4" name="Rectangle: Rounded Corners 3">
            <a:extLst>
              <a:ext uri="{FF2B5EF4-FFF2-40B4-BE49-F238E27FC236}">
                <a16:creationId xmlns:a16="http://schemas.microsoft.com/office/drawing/2014/main" id="{A40665E9-5DFF-F339-AD81-E2EA1ED76D58}"/>
              </a:ext>
            </a:extLst>
          </p:cNvPr>
          <p:cNvSpPr/>
          <p:nvPr userDrawn="1"/>
        </p:nvSpPr>
        <p:spPr>
          <a:xfrm>
            <a:off x="367800" y="1282192"/>
            <a:ext cx="2876811" cy="1488767"/>
          </a:xfrm>
          <a:prstGeom prst="roundRect">
            <a:avLst/>
          </a:prstGeom>
          <a:ln>
            <a:solidFill>
              <a:srgbClr val="00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sp>
        <p:nvSpPr>
          <p:cNvPr id="5" name="Picture Placeholder 35">
            <a:extLst>
              <a:ext uri="{FF2B5EF4-FFF2-40B4-BE49-F238E27FC236}">
                <a16:creationId xmlns:a16="http://schemas.microsoft.com/office/drawing/2014/main" id="{3232AE05-2F4F-928C-3DE7-8CE37B0D8E78}"/>
              </a:ext>
            </a:extLst>
          </p:cNvPr>
          <p:cNvSpPr>
            <a:spLocks noGrp="1"/>
          </p:cNvSpPr>
          <p:nvPr>
            <p:ph type="pic" sz="quarter" idx="22" hasCustomPrompt="1"/>
          </p:nvPr>
        </p:nvSpPr>
        <p:spPr>
          <a:xfrm>
            <a:off x="473059" y="1373234"/>
            <a:ext cx="709809" cy="636319"/>
          </a:xfrm>
          <a:prstGeom prst="roundRect">
            <a:avLst/>
          </a:prstGeom>
        </p:spPr>
        <p:txBody>
          <a:bodyPr/>
          <a:lstStyle>
            <a:lvl1pPr algn="ctr">
              <a:defRPr/>
            </a:lvl1pPr>
          </a:lstStyle>
          <a:p>
            <a:r>
              <a:rPr lang="en-US"/>
              <a:t>Add photo</a:t>
            </a:r>
            <a:endParaRPr lang="en-GB"/>
          </a:p>
        </p:txBody>
      </p:sp>
      <p:sp>
        <p:nvSpPr>
          <p:cNvPr id="6" name="Content Placeholder 16">
            <a:extLst>
              <a:ext uri="{FF2B5EF4-FFF2-40B4-BE49-F238E27FC236}">
                <a16:creationId xmlns:a16="http://schemas.microsoft.com/office/drawing/2014/main" id="{25A42ECA-6EDB-8210-C488-8B501A21BAF5}"/>
              </a:ext>
            </a:extLst>
          </p:cNvPr>
          <p:cNvSpPr>
            <a:spLocks noGrp="1"/>
          </p:cNvSpPr>
          <p:nvPr>
            <p:ph sz="quarter" idx="36" hasCustomPrompt="1"/>
          </p:nvPr>
        </p:nvSpPr>
        <p:spPr>
          <a:xfrm>
            <a:off x="1298853" y="1373234"/>
            <a:ext cx="1828799" cy="636319"/>
          </a:xfrm>
          <a:prstGeom prst="rect">
            <a:avLst/>
          </a:prstGeom>
          <a:solidFill>
            <a:schemeClr val="bg1"/>
          </a:solidFill>
        </p:spPr>
        <p:txBody>
          <a:bodyPr anchor="ctr"/>
          <a:lstStyle>
            <a:lvl1pPr>
              <a:defRPr sz="1600" i="0">
                <a:solidFill>
                  <a:schemeClr val="tx1"/>
                </a:solidFill>
              </a:defRPr>
            </a:lvl1pPr>
            <a:lvl2pPr>
              <a:defRPr/>
            </a:lvl2pPr>
          </a:lstStyle>
          <a:p>
            <a:r>
              <a:rPr lang="en-GB" b="1"/>
              <a:t>Forename Surname</a:t>
            </a:r>
          </a:p>
        </p:txBody>
      </p:sp>
      <p:sp>
        <p:nvSpPr>
          <p:cNvPr id="7" name="Content Placeholder 16">
            <a:extLst>
              <a:ext uri="{FF2B5EF4-FFF2-40B4-BE49-F238E27FC236}">
                <a16:creationId xmlns:a16="http://schemas.microsoft.com/office/drawing/2014/main" id="{4B6D69B0-642E-6126-8A4C-7F69FBE4C25B}"/>
              </a:ext>
            </a:extLst>
          </p:cNvPr>
          <p:cNvSpPr>
            <a:spLocks noGrp="1"/>
          </p:cNvSpPr>
          <p:nvPr>
            <p:ph sz="quarter" idx="37" hasCustomPrompt="1"/>
          </p:nvPr>
        </p:nvSpPr>
        <p:spPr>
          <a:xfrm>
            <a:off x="473059" y="2137143"/>
            <a:ext cx="2633329" cy="531629"/>
          </a:xfrm>
          <a:prstGeom prst="rect">
            <a:avLst/>
          </a:prstGeom>
          <a:solidFill>
            <a:schemeClr val="bg1"/>
          </a:solidFill>
        </p:spPr>
        <p:txBody>
          <a:bodyPr/>
          <a:lstStyle>
            <a:lvl1pPr>
              <a:spcBef>
                <a:spcPts val="0"/>
              </a:spcBef>
              <a:defRPr sz="1000">
                <a:solidFill>
                  <a:schemeClr val="tx1"/>
                </a:solidFill>
              </a:defRPr>
            </a:lvl1pPr>
            <a:lvl2pPr>
              <a:defRPr/>
            </a:lvl2pPr>
          </a:lstStyle>
          <a:p>
            <a:pPr marL="0" marR="0" lvl="0" indent="0" algn="l" defTabSz="919569" rtl="0" eaLnBrk="1" fontAlgn="auto" latinLnBrk="0" hangingPunct="1">
              <a:lnSpc>
                <a:spcPct val="100000"/>
              </a:lnSpc>
              <a:spcBef>
                <a:spcPts val="800"/>
              </a:spcBef>
              <a:spcAft>
                <a:spcPts val="0"/>
              </a:spcAft>
              <a:buClrTx/>
              <a:buSzTx/>
              <a:buFont typeface="Arial" panose="020B0604020202020204" pitchFamily="34" charset="0"/>
              <a:buNone/>
              <a:tabLst/>
              <a:defRPr/>
            </a:pPr>
            <a:r>
              <a:rPr lang="en-GB" sz="1050"/>
              <a:t>Title</a:t>
            </a:r>
            <a:br>
              <a:rPr lang="en-GB" sz="1050"/>
            </a:br>
            <a:r>
              <a:rPr lang="en-GB" sz="1050"/>
              <a:t>+44 20 7903 ####</a:t>
            </a:r>
            <a:br>
              <a:rPr lang="en-GB" sz="1050"/>
            </a:br>
            <a:r>
              <a:rPr lang="en-GB" sz="1050">
                <a:hlinkClick r:id="rId2">
                  <a:extLst>
                    <a:ext uri="{A12FA001-AC4F-418D-AE19-62706E023703}">
                      <ahyp:hlinkClr xmlns:ahyp="http://schemas.microsoft.com/office/drawing/2018/hyperlinkcolor" xmlns="" val="tx"/>
                    </a:ext>
                  </a:extLst>
                </a:hlinkClick>
              </a:rPr>
              <a:t>forename.surname@crugroup.com</a:t>
            </a:r>
            <a:endParaRPr lang="en-GB" sz="1050"/>
          </a:p>
        </p:txBody>
      </p:sp>
      <p:sp>
        <p:nvSpPr>
          <p:cNvPr id="8" name="Rectangle: Rounded Corners 7">
            <a:extLst>
              <a:ext uri="{FF2B5EF4-FFF2-40B4-BE49-F238E27FC236}">
                <a16:creationId xmlns:a16="http://schemas.microsoft.com/office/drawing/2014/main" id="{E6F89DBE-1ADD-21F4-B987-DA15BA74CC15}"/>
              </a:ext>
            </a:extLst>
          </p:cNvPr>
          <p:cNvSpPr/>
          <p:nvPr userDrawn="1"/>
        </p:nvSpPr>
        <p:spPr>
          <a:xfrm>
            <a:off x="3310222" y="1282192"/>
            <a:ext cx="2876811" cy="1488767"/>
          </a:xfrm>
          <a:prstGeom prst="roundRect">
            <a:avLst/>
          </a:prstGeom>
          <a:ln>
            <a:solidFill>
              <a:srgbClr val="00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sp>
        <p:nvSpPr>
          <p:cNvPr id="9" name="Picture Placeholder 35">
            <a:extLst>
              <a:ext uri="{FF2B5EF4-FFF2-40B4-BE49-F238E27FC236}">
                <a16:creationId xmlns:a16="http://schemas.microsoft.com/office/drawing/2014/main" id="{B30B5D47-4D00-98E8-1434-30844FADE493}"/>
              </a:ext>
            </a:extLst>
          </p:cNvPr>
          <p:cNvSpPr>
            <a:spLocks noGrp="1"/>
          </p:cNvSpPr>
          <p:nvPr>
            <p:ph type="pic" sz="quarter" idx="38" hasCustomPrompt="1"/>
          </p:nvPr>
        </p:nvSpPr>
        <p:spPr>
          <a:xfrm>
            <a:off x="3415481" y="1373234"/>
            <a:ext cx="709809" cy="636319"/>
          </a:xfrm>
          <a:prstGeom prst="roundRect">
            <a:avLst/>
          </a:prstGeom>
        </p:spPr>
        <p:txBody>
          <a:bodyPr/>
          <a:lstStyle>
            <a:lvl1pPr algn="ctr">
              <a:defRPr/>
            </a:lvl1pPr>
          </a:lstStyle>
          <a:p>
            <a:r>
              <a:rPr lang="en-US"/>
              <a:t>Add photo</a:t>
            </a:r>
            <a:endParaRPr lang="en-GB"/>
          </a:p>
        </p:txBody>
      </p:sp>
      <p:sp>
        <p:nvSpPr>
          <p:cNvPr id="10" name="Content Placeholder 16">
            <a:extLst>
              <a:ext uri="{FF2B5EF4-FFF2-40B4-BE49-F238E27FC236}">
                <a16:creationId xmlns:a16="http://schemas.microsoft.com/office/drawing/2014/main" id="{AC9AA341-AC60-0744-CF74-816C43CC9BA2}"/>
              </a:ext>
            </a:extLst>
          </p:cNvPr>
          <p:cNvSpPr>
            <a:spLocks noGrp="1"/>
          </p:cNvSpPr>
          <p:nvPr>
            <p:ph sz="quarter" idx="39" hasCustomPrompt="1"/>
          </p:nvPr>
        </p:nvSpPr>
        <p:spPr>
          <a:xfrm>
            <a:off x="4241275" y="1373234"/>
            <a:ext cx="1828799" cy="636319"/>
          </a:xfrm>
          <a:prstGeom prst="rect">
            <a:avLst/>
          </a:prstGeom>
          <a:solidFill>
            <a:schemeClr val="bg1"/>
          </a:solidFill>
        </p:spPr>
        <p:txBody>
          <a:bodyPr anchor="ctr"/>
          <a:lstStyle>
            <a:lvl1pPr>
              <a:defRPr sz="1600" i="0">
                <a:solidFill>
                  <a:schemeClr val="tx1"/>
                </a:solidFill>
              </a:defRPr>
            </a:lvl1pPr>
            <a:lvl2pPr>
              <a:defRPr/>
            </a:lvl2pPr>
          </a:lstStyle>
          <a:p>
            <a:r>
              <a:rPr lang="en-GB" b="1"/>
              <a:t>Forename Surname</a:t>
            </a:r>
          </a:p>
        </p:txBody>
      </p:sp>
      <p:sp>
        <p:nvSpPr>
          <p:cNvPr id="11" name="Content Placeholder 16">
            <a:extLst>
              <a:ext uri="{FF2B5EF4-FFF2-40B4-BE49-F238E27FC236}">
                <a16:creationId xmlns:a16="http://schemas.microsoft.com/office/drawing/2014/main" id="{E5689BC6-F55D-02F3-66B2-7C7C112207D1}"/>
              </a:ext>
            </a:extLst>
          </p:cNvPr>
          <p:cNvSpPr>
            <a:spLocks noGrp="1"/>
          </p:cNvSpPr>
          <p:nvPr>
            <p:ph sz="quarter" idx="40" hasCustomPrompt="1"/>
          </p:nvPr>
        </p:nvSpPr>
        <p:spPr>
          <a:xfrm>
            <a:off x="3415481" y="2137143"/>
            <a:ext cx="2633329" cy="531629"/>
          </a:xfrm>
          <a:prstGeom prst="rect">
            <a:avLst/>
          </a:prstGeom>
          <a:solidFill>
            <a:schemeClr val="bg1"/>
          </a:solidFill>
        </p:spPr>
        <p:txBody>
          <a:bodyPr/>
          <a:lstStyle>
            <a:lvl1pPr>
              <a:spcBef>
                <a:spcPts val="0"/>
              </a:spcBef>
              <a:defRPr sz="1000">
                <a:solidFill>
                  <a:schemeClr val="tx1"/>
                </a:solidFill>
              </a:defRPr>
            </a:lvl1pPr>
            <a:lvl2pPr>
              <a:defRPr/>
            </a:lvl2pPr>
          </a:lstStyle>
          <a:p>
            <a:pPr marL="0" marR="0" lvl="0" indent="0" algn="l" defTabSz="919569" rtl="0" eaLnBrk="1" fontAlgn="auto" latinLnBrk="0" hangingPunct="1">
              <a:lnSpc>
                <a:spcPct val="100000"/>
              </a:lnSpc>
              <a:spcBef>
                <a:spcPts val="800"/>
              </a:spcBef>
              <a:spcAft>
                <a:spcPts val="0"/>
              </a:spcAft>
              <a:buClrTx/>
              <a:buSzTx/>
              <a:buFont typeface="Arial" panose="020B0604020202020204" pitchFamily="34" charset="0"/>
              <a:buNone/>
              <a:tabLst/>
              <a:defRPr/>
            </a:pPr>
            <a:r>
              <a:rPr lang="en-GB" sz="1050"/>
              <a:t>Title</a:t>
            </a:r>
            <a:br>
              <a:rPr lang="en-GB" sz="1050"/>
            </a:br>
            <a:r>
              <a:rPr lang="en-GB" sz="1050"/>
              <a:t>+44 20 7903 ####</a:t>
            </a:r>
            <a:br>
              <a:rPr lang="en-GB" sz="1050"/>
            </a:br>
            <a:r>
              <a:rPr lang="en-GB" sz="1050">
                <a:hlinkClick r:id="rId2">
                  <a:extLst>
                    <a:ext uri="{A12FA001-AC4F-418D-AE19-62706E023703}">
                      <ahyp:hlinkClr xmlns:ahyp="http://schemas.microsoft.com/office/drawing/2018/hyperlinkcolor" xmlns="" val="tx"/>
                    </a:ext>
                  </a:extLst>
                </a:hlinkClick>
              </a:rPr>
              <a:t>forename.surname@crugroup.com</a:t>
            </a:r>
            <a:endParaRPr lang="en-GB" sz="1050"/>
          </a:p>
        </p:txBody>
      </p:sp>
      <p:sp>
        <p:nvSpPr>
          <p:cNvPr id="12" name="Rectangle: Rounded Corners 11">
            <a:extLst>
              <a:ext uri="{FF2B5EF4-FFF2-40B4-BE49-F238E27FC236}">
                <a16:creationId xmlns:a16="http://schemas.microsoft.com/office/drawing/2014/main" id="{F50F336C-B351-73CD-F405-5E624D0815CD}"/>
              </a:ext>
            </a:extLst>
          </p:cNvPr>
          <p:cNvSpPr/>
          <p:nvPr userDrawn="1"/>
        </p:nvSpPr>
        <p:spPr>
          <a:xfrm>
            <a:off x="6252829" y="1282192"/>
            <a:ext cx="2876811" cy="1488767"/>
          </a:xfrm>
          <a:prstGeom prst="roundRect">
            <a:avLst/>
          </a:prstGeom>
          <a:ln>
            <a:solidFill>
              <a:srgbClr val="00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sp>
        <p:nvSpPr>
          <p:cNvPr id="13" name="Picture Placeholder 35">
            <a:extLst>
              <a:ext uri="{FF2B5EF4-FFF2-40B4-BE49-F238E27FC236}">
                <a16:creationId xmlns:a16="http://schemas.microsoft.com/office/drawing/2014/main" id="{28D7B3D0-001A-6102-3848-0D26C870B01C}"/>
              </a:ext>
            </a:extLst>
          </p:cNvPr>
          <p:cNvSpPr>
            <a:spLocks noGrp="1"/>
          </p:cNvSpPr>
          <p:nvPr>
            <p:ph type="pic" sz="quarter" idx="41" hasCustomPrompt="1"/>
          </p:nvPr>
        </p:nvSpPr>
        <p:spPr>
          <a:xfrm>
            <a:off x="6358088" y="1373234"/>
            <a:ext cx="709809" cy="636319"/>
          </a:xfrm>
          <a:prstGeom prst="roundRect">
            <a:avLst/>
          </a:prstGeom>
        </p:spPr>
        <p:txBody>
          <a:bodyPr/>
          <a:lstStyle>
            <a:lvl1pPr algn="ctr">
              <a:defRPr/>
            </a:lvl1pPr>
          </a:lstStyle>
          <a:p>
            <a:r>
              <a:rPr lang="en-US"/>
              <a:t>Add photo</a:t>
            </a:r>
            <a:endParaRPr lang="en-GB"/>
          </a:p>
        </p:txBody>
      </p:sp>
      <p:sp>
        <p:nvSpPr>
          <p:cNvPr id="14" name="Content Placeholder 16">
            <a:extLst>
              <a:ext uri="{FF2B5EF4-FFF2-40B4-BE49-F238E27FC236}">
                <a16:creationId xmlns:a16="http://schemas.microsoft.com/office/drawing/2014/main" id="{8038A79D-887F-41EB-4F1F-50A84B261443}"/>
              </a:ext>
            </a:extLst>
          </p:cNvPr>
          <p:cNvSpPr>
            <a:spLocks noGrp="1"/>
          </p:cNvSpPr>
          <p:nvPr>
            <p:ph sz="quarter" idx="42" hasCustomPrompt="1"/>
          </p:nvPr>
        </p:nvSpPr>
        <p:spPr>
          <a:xfrm>
            <a:off x="7183882" y="1373234"/>
            <a:ext cx="1828799" cy="636319"/>
          </a:xfrm>
          <a:prstGeom prst="rect">
            <a:avLst/>
          </a:prstGeom>
          <a:solidFill>
            <a:schemeClr val="bg1"/>
          </a:solidFill>
        </p:spPr>
        <p:txBody>
          <a:bodyPr anchor="ctr"/>
          <a:lstStyle>
            <a:lvl1pPr>
              <a:defRPr sz="1600" i="0">
                <a:solidFill>
                  <a:schemeClr val="tx1"/>
                </a:solidFill>
              </a:defRPr>
            </a:lvl1pPr>
            <a:lvl2pPr>
              <a:defRPr/>
            </a:lvl2pPr>
          </a:lstStyle>
          <a:p>
            <a:r>
              <a:rPr lang="en-GB" b="1"/>
              <a:t>Forename Surname</a:t>
            </a:r>
          </a:p>
        </p:txBody>
      </p:sp>
      <p:sp>
        <p:nvSpPr>
          <p:cNvPr id="15" name="Content Placeholder 16">
            <a:extLst>
              <a:ext uri="{FF2B5EF4-FFF2-40B4-BE49-F238E27FC236}">
                <a16:creationId xmlns:a16="http://schemas.microsoft.com/office/drawing/2014/main" id="{73D29D24-277F-FEA6-BEC5-AD652C19DD03}"/>
              </a:ext>
            </a:extLst>
          </p:cNvPr>
          <p:cNvSpPr>
            <a:spLocks noGrp="1"/>
          </p:cNvSpPr>
          <p:nvPr>
            <p:ph sz="quarter" idx="43" hasCustomPrompt="1"/>
          </p:nvPr>
        </p:nvSpPr>
        <p:spPr>
          <a:xfrm>
            <a:off x="6358088" y="2137143"/>
            <a:ext cx="2633329" cy="531629"/>
          </a:xfrm>
          <a:prstGeom prst="rect">
            <a:avLst/>
          </a:prstGeom>
          <a:solidFill>
            <a:schemeClr val="bg1"/>
          </a:solidFill>
        </p:spPr>
        <p:txBody>
          <a:bodyPr/>
          <a:lstStyle>
            <a:lvl1pPr>
              <a:spcBef>
                <a:spcPts val="0"/>
              </a:spcBef>
              <a:defRPr sz="1000">
                <a:solidFill>
                  <a:schemeClr val="tx1"/>
                </a:solidFill>
              </a:defRPr>
            </a:lvl1pPr>
            <a:lvl2pPr>
              <a:defRPr/>
            </a:lvl2pPr>
          </a:lstStyle>
          <a:p>
            <a:pPr marL="0" marR="0" lvl="0" indent="0" algn="l" defTabSz="919569" rtl="0" eaLnBrk="1" fontAlgn="auto" latinLnBrk="0" hangingPunct="1">
              <a:lnSpc>
                <a:spcPct val="100000"/>
              </a:lnSpc>
              <a:spcBef>
                <a:spcPts val="800"/>
              </a:spcBef>
              <a:spcAft>
                <a:spcPts val="0"/>
              </a:spcAft>
              <a:buClrTx/>
              <a:buSzTx/>
              <a:buFont typeface="Arial" panose="020B0604020202020204" pitchFamily="34" charset="0"/>
              <a:buNone/>
              <a:tabLst/>
              <a:defRPr/>
            </a:pPr>
            <a:r>
              <a:rPr lang="en-GB" sz="1050"/>
              <a:t>Title</a:t>
            </a:r>
            <a:br>
              <a:rPr lang="en-GB" sz="1050"/>
            </a:br>
            <a:r>
              <a:rPr lang="en-GB" sz="1050"/>
              <a:t>+44 20 7903 ####</a:t>
            </a:r>
            <a:br>
              <a:rPr lang="en-GB" sz="1050"/>
            </a:br>
            <a:r>
              <a:rPr lang="en-GB" sz="1050">
                <a:hlinkClick r:id="rId2">
                  <a:extLst>
                    <a:ext uri="{A12FA001-AC4F-418D-AE19-62706E023703}">
                      <ahyp:hlinkClr xmlns:ahyp="http://schemas.microsoft.com/office/drawing/2018/hyperlinkcolor" xmlns="" val="tx"/>
                    </a:ext>
                  </a:extLst>
                </a:hlinkClick>
              </a:rPr>
              <a:t>forename.surname@crugroup.com</a:t>
            </a:r>
            <a:endParaRPr lang="en-GB" sz="1050"/>
          </a:p>
        </p:txBody>
      </p:sp>
      <p:sp>
        <p:nvSpPr>
          <p:cNvPr id="16" name="Rectangle: Rounded Corners 15">
            <a:extLst>
              <a:ext uri="{FF2B5EF4-FFF2-40B4-BE49-F238E27FC236}">
                <a16:creationId xmlns:a16="http://schemas.microsoft.com/office/drawing/2014/main" id="{33481F76-301B-610D-6E43-D70748DB4D29}"/>
              </a:ext>
            </a:extLst>
          </p:cNvPr>
          <p:cNvSpPr/>
          <p:nvPr userDrawn="1"/>
        </p:nvSpPr>
        <p:spPr>
          <a:xfrm>
            <a:off x="9179582" y="1282192"/>
            <a:ext cx="2876811" cy="1488767"/>
          </a:xfrm>
          <a:prstGeom prst="roundRect">
            <a:avLst/>
          </a:prstGeom>
          <a:ln>
            <a:solidFill>
              <a:srgbClr val="00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sp>
        <p:nvSpPr>
          <p:cNvPr id="17" name="Picture Placeholder 35">
            <a:extLst>
              <a:ext uri="{FF2B5EF4-FFF2-40B4-BE49-F238E27FC236}">
                <a16:creationId xmlns:a16="http://schemas.microsoft.com/office/drawing/2014/main" id="{808420F4-3C68-7FF1-C813-D7E8EC7BCAFF}"/>
              </a:ext>
            </a:extLst>
          </p:cNvPr>
          <p:cNvSpPr>
            <a:spLocks noGrp="1"/>
          </p:cNvSpPr>
          <p:nvPr>
            <p:ph type="pic" sz="quarter" idx="44" hasCustomPrompt="1"/>
          </p:nvPr>
        </p:nvSpPr>
        <p:spPr>
          <a:xfrm>
            <a:off x="9284841" y="1373234"/>
            <a:ext cx="709809" cy="636319"/>
          </a:xfrm>
          <a:prstGeom prst="roundRect">
            <a:avLst/>
          </a:prstGeom>
        </p:spPr>
        <p:txBody>
          <a:bodyPr/>
          <a:lstStyle>
            <a:lvl1pPr algn="ctr">
              <a:defRPr/>
            </a:lvl1pPr>
          </a:lstStyle>
          <a:p>
            <a:r>
              <a:rPr lang="en-US"/>
              <a:t>Add photo</a:t>
            </a:r>
            <a:endParaRPr lang="en-GB"/>
          </a:p>
        </p:txBody>
      </p:sp>
      <p:sp>
        <p:nvSpPr>
          <p:cNvPr id="18" name="Content Placeholder 16">
            <a:extLst>
              <a:ext uri="{FF2B5EF4-FFF2-40B4-BE49-F238E27FC236}">
                <a16:creationId xmlns:a16="http://schemas.microsoft.com/office/drawing/2014/main" id="{F4C62556-49A0-34F9-E3E3-D5165857D9FF}"/>
              </a:ext>
            </a:extLst>
          </p:cNvPr>
          <p:cNvSpPr>
            <a:spLocks noGrp="1"/>
          </p:cNvSpPr>
          <p:nvPr>
            <p:ph sz="quarter" idx="45" hasCustomPrompt="1"/>
          </p:nvPr>
        </p:nvSpPr>
        <p:spPr>
          <a:xfrm>
            <a:off x="10110635" y="1373234"/>
            <a:ext cx="1828799" cy="636319"/>
          </a:xfrm>
          <a:prstGeom prst="rect">
            <a:avLst/>
          </a:prstGeom>
          <a:solidFill>
            <a:schemeClr val="bg1"/>
          </a:solidFill>
        </p:spPr>
        <p:txBody>
          <a:bodyPr anchor="ctr"/>
          <a:lstStyle>
            <a:lvl1pPr>
              <a:defRPr sz="1600" i="0">
                <a:solidFill>
                  <a:schemeClr val="tx1"/>
                </a:solidFill>
              </a:defRPr>
            </a:lvl1pPr>
            <a:lvl2pPr>
              <a:defRPr/>
            </a:lvl2pPr>
          </a:lstStyle>
          <a:p>
            <a:r>
              <a:rPr lang="en-GB" b="1"/>
              <a:t>Forename Surname</a:t>
            </a:r>
          </a:p>
        </p:txBody>
      </p:sp>
      <p:sp>
        <p:nvSpPr>
          <p:cNvPr id="19" name="Content Placeholder 16">
            <a:extLst>
              <a:ext uri="{FF2B5EF4-FFF2-40B4-BE49-F238E27FC236}">
                <a16:creationId xmlns:a16="http://schemas.microsoft.com/office/drawing/2014/main" id="{9B36B99C-221F-0A04-8026-0BA44778EC04}"/>
              </a:ext>
            </a:extLst>
          </p:cNvPr>
          <p:cNvSpPr>
            <a:spLocks noGrp="1"/>
          </p:cNvSpPr>
          <p:nvPr>
            <p:ph sz="quarter" idx="46" hasCustomPrompt="1"/>
          </p:nvPr>
        </p:nvSpPr>
        <p:spPr>
          <a:xfrm>
            <a:off x="9284841" y="2137143"/>
            <a:ext cx="2633329" cy="531629"/>
          </a:xfrm>
          <a:prstGeom prst="rect">
            <a:avLst/>
          </a:prstGeom>
          <a:solidFill>
            <a:schemeClr val="bg1"/>
          </a:solidFill>
        </p:spPr>
        <p:txBody>
          <a:bodyPr/>
          <a:lstStyle>
            <a:lvl1pPr>
              <a:spcBef>
                <a:spcPts val="0"/>
              </a:spcBef>
              <a:defRPr sz="1000">
                <a:solidFill>
                  <a:schemeClr val="tx1"/>
                </a:solidFill>
              </a:defRPr>
            </a:lvl1pPr>
            <a:lvl2pPr>
              <a:defRPr/>
            </a:lvl2pPr>
          </a:lstStyle>
          <a:p>
            <a:pPr marL="0" marR="0" lvl="0" indent="0" algn="l" defTabSz="919569" rtl="0" eaLnBrk="1" fontAlgn="auto" latinLnBrk="0" hangingPunct="1">
              <a:lnSpc>
                <a:spcPct val="100000"/>
              </a:lnSpc>
              <a:spcBef>
                <a:spcPts val="800"/>
              </a:spcBef>
              <a:spcAft>
                <a:spcPts val="0"/>
              </a:spcAft>
              <a:buClrTx/>
              <a:buSzTx/>
              <a:buFont typeface="Arial" panose="020B0604020202020204" pitchFamily="34" charset="0"/>
              <a:buNone/>
              <a:tabLst/>
              <a:defRPr/>
            </a:pPr>
            <a:r>
              <a:rPr lang="en-GB" sz="1050"/>
              <a:t>Title</a:t>
            </a:r>
            <a:br>
              <a:rPr lang="en-GB" sz="1050"/>
            </a:br>
            <a:r>
              <a:rPr lang="en-GB" sz="1050"/>
              <a:t>+44 20 7903 ####</a:t>
            </a:r>
            <a:br>
              <a:rPr lang="en-GB" sz="1050"/>
            </a:br>
            <a:r>
              <a:rPr lang="en-GB" sz="1050">
                <a:hlinkClick r:id="rId2">
                  <a:extLst>
                    <a:ext uri="{A12FA001-AC4F-418D-AE19-62706E023703}">
                      <ahyp:hlinkClr xmlns:ahyp="http://schemas.microsoft.com/office/drawing/2018/hyperlinkcolor" xmlns="" val="tx"/>
                    </a:ext>
                  </a:extLst>
                </a:hlinkClick>
              </a:rPr>
              <a:t>forename.surname@crugroup.com</a:t>
            </a:r>
            <a:endParaRPr lang="en-GB" sz="1050"/>
          </a:p>
        </p:txBody>
      </p:sp>
      <p:sp>
        <p:nvSpPr>
          <p:cNvPr id="20" name="Rectangle: Rounded Corners 19">
            <a:extLst>
              <a:ext uri="{FF2B5EF4-FFF2-40B4-BE49-F238E27FC236}">
                <a16:creationId xmlns:a16="http://schemas.microsoft.com/office/drawing/2014/main" id="{C32007C5-4152-7C87-128E-1CFD65E320FE}"/>
              </a:ext>
            </a:extLst>
          </p:cNvPr>
          <p:cNvSpPr/>
          <p:nvPr userDrawn="1"/>
        </p:nvSpPr>
        <p:spPr>
          <a:xfrm>
            <a:off x="367800" y="2878384"/>
            <a:ext cx="2876811" cy="1488767"/>
          </a:xfrm>
          <a:prstGeom prst="roundRect">
            <a:avLst/>
          </a:prstGeom>
          <a:ln>
            <a:solidFill>
              <a:srgbClr val="00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sp>
        <p:nvSpPr>
          <p:cNvPr id="21" name="Picture Placeholder 35">
            <a:extLst>
              <a:ext uri="{FF2B5EF4-FFF2-40B4-BE49-F238E27FC236}">
                <a16:creationId xmlns:a16="http://schemas.microsoft.com/office/drawing/2014/main" id="{C9BB9644-1790-E56D-E195-0DFD2482D2C8}"/>
              </a:ext>
            </a:extLst>
          </p:cNvPr>
          <p:cNvSpPr>
            <a:spLocks noGrp="1"/>
          </p:cNvSpPr>
          <p:nvPr>
            <p:ph type="pic" sz="quarter" idx="47" hasCustomPrompt="1"/>
          </p:nvPr>
        </p:nvSpPr>
        <p:spPr>
          <a:xfrm>
            <a:off x="473059" y="2969426"/>
            <a:ext cx="709809" cy="636319"/>
          </a:xfrm>
          <a:prstGeom prst="roundRect">
            <a:avLst/>
          </a:prstGeom>
        </p:spPr>
        <p:txBody>
          <a:bodyPr/>
          <a:lstStyle>
            <a:lvl1pPr algn="ctr">
              <a:defRPr/>
            </a:lvl1pPr>
          </a:lstStyle>
          <a:p>
            <a:r>
              <a:rPr lang="en-US"/>
              <a:t>Add photo</a:t>
            </a:r>
            <a:endParaRPr lang="en-GB"/>
          </a:p>
        </p:txBody>
      </p:sp>
      <p:sp>
        <p:nvSpPr>
          <p:cNvPr id="22" name="Content Placeholder 16">
            <a:extLst>
              <a:ext uri="{FF2B5EF4-FFF2-40B4-BE49-F238E27FC236}">
                <a16:creationId xmlns:a16="http://schemas.microsoft.com/office/drawing/2014/main" id="{8CF69B77-8112-6130-9331-88A28D710A45}"/>
              </a:ext>
            </a:extLst>
          </p:cNvPr>
          <p:cNvSpPr>
            <a:spLocks noGrp="1"/>
          </p:cNvSpPr>
          <p:nvPr>
            <p:ph sz="quarter" idx="48" hasCustomPrompt="1"/>
          </p:nvPr>
        </p:nvSpPr>
        <p:spPr>
          <a:xfrm>
            <a:off x="1298853" y="2969426"/>
            <a:ext cx="1828799" cy="636319"/>
          </a:xfrm>
          <a:prstGeom prst="rect">
            <a:avLst/>
          </a:prstGeom>
          <a:solidFill>
            <a:schemeClr val="bg1"/>
          </a:solidFill>
        </p:spPr>
        <p:txBody>
          <a:bodyPr anchor="ctr"/>
          <a:lstStyle>
            <a:lvl1pPr>
              <a:defRPr sz="1600" i="0">
                <a:solidFill>
                  <a:schemeClr val="tx1"/>
                </a:solidFill>
              </a:defRPr>
            </a:lvl1pPr>
            <a:lvl2pPr>
              <a:defRPr/>
            </a:lvl2pPr>
          </a:lstStyle>
          <a:p>
            <a:r>
              <a:rPr lang="en-GB" b="1"/>
              <a:t>Forename Surname</a:t>
            </a:r>
          </a:p>
        </p:txBody>
      </p:sp>
      <p:sp>
        <p:nvSpPr>
          <p:cNvPr id="23" name="Content Placeholder 16">
            <a:extLst>
              <a:ext uri="{FF2B5EF4-FFF2-40B4-BE49-F238E27FC236}">
                <a16:creationId xmlns:a16="http://schemas.microsoft.com/office/drawing/2014/main" id="{D1A5FCF1-FD3E-8EED-FB71-E63D18738D8E}"/>
              </a:ext>
            </a:extLst>
          </p:cNvPr>
          <p:cNvSpPr>
            <a:spLocks noGrp="1"/>
          </p:cNvSpPr>
          <p:nvPr>
            <p:ph sz="quarter" idx="49" hasCustomPrompt="1"/>
          </p:nvPr>
        </p:nvSpPr>
        <p:spPr>
          <a:xfrm>
            <a:off x="473059" y="3765139"/>
            <a:ext cx="2633329" cy="531629"/>
          </a:xfrm>
          <a:prstGeom prst="rect">
            <a:avLst/>
          </a:prstGeom>
          <a:solidFill>
            <a:schemeClr val="bg1"/>
          </a:solidFill>
        </p:spPr>
        <p:txBody>
          <a:bodyPr/>
          <a:lstStyle>
            <a:lvl1pPr>
              <a:spcBef>
                <a:spcPts val="0"/>
              </a:spcBef>
              <a:defRPr sz="1000">
                <a:solidFill>
                  <a:schemeClr val="tx1"/>
                </a:solidFill>
              </a:defRPr>
            </a:lvl1pPr>
            <a:lvl2pPr>
              <a:defRPr/>
            </a:lvl2pPr>
          </a:lstStyle>
          <a:p>
            <a:pPr marL="0" marR="0" lvl="0" indent="0" algn="l" defTabSz="919569" rtl="0" eaLnBrk="1" fontAlgn="auto" latinLnBrk="0" hangingPunct="1">
              <a:lnSpc>
                <a:spcPct val="100000"/>
              </a:lnSpc>
              <a:spcBef>
                <a:spcPts val="800"/>
              </a:spcBef>
              <a:spcAft>
                <a:spcPts val="0"/>
              </a:spcAft>
              <a:buClrTx/>
              <a:buSzTx/>
              <a:buFont typeface="Arial" panose="020B0604020202020204" pitchFamily="34" charset="0"/>
              <a:buNone/>
              <a:tabLst/>
              <a:defRPr/>
            </a:pPr>
            <a:r>
              <a:rPr lang="en-GB" sz="1050"/>
              <a:t>Title</a:t>
            </a:r>
            <a:br>
              <a:rPr lang="en-GB" sz="1050"/>
            </a:br>
            <a:r>
              <a:rPr lang="en-GB" sz="1050"/>
              <a:t>+44 20 7903 ####</a:t>
            </a:r>
            <a:br>
              <a:rPr lang="en-GB" sz="1050"/>
            </a:br>
            <a:r>
              <a:rPr lang="en-GB" sz="1050">
                <a:hlinkClick r:id="rId2">
                  <a:extLst>
                    <a:ext uri="{A12FA001-AC4F-418D-AE19-62706E023703}">
                      <ahyp:hlinkClr xmlns:ahyp="http://schemas.microsoft.com/office/drawing/2018/hyperlinkcolor" xmlns="" val="tx"/>
                    </a:ext>
                  </a:extLst>
                </a:hlinkClick>
              </a:rPr>
              <a:t>forename.surname@crugroup.com</a:t>
            </a:r>
            <a:endParaRPr lang="en-GB" sz="1050"/>
          </a:p>
        </p:txBody>
      </p:sp>
      <p:sp>
        <p:nvSpPr>
          <p:cNvPr id="24" name="Rectangle: Rounded Corners 23">
            <a:extLst>
              <a:ext uri="{FF2B5EF4-FFF2-40B4-BE49-F238E27FC236}">
                <a16:creationId xmlns:a16="http://schemas.microsoft.com/office/drawing/2014/main" id="{C397F6BF-F80E-A0F7-1422-B767B06A3011}"/>
              </a:ext>
            </a:extLst>
          </p:cNvPr>
          <p:cNvSpPr/>
          <p:nvPr userDrawn="1"/>
        </p:nvSpPr>
        <p:spPr>
          <a:xfrm>
            <a:off x="3310222" y="2878384"/>
            <a:ext cx="2876811" cy="1488767"/>
          </a:xfrm>
          <a:prstGeom prst="roundRect">
            <a:avLst/>
          </a:prstGeom>
          <a:ln>
            <a:solidFill>
              <a:srgbClr val="00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sp>
        <p:nvSpPr>
          <p:cNvPr id="25" name="Picture Placeholder 35">
            <a:extLst>
              <a:ext uri="{FF2B5EF4-FFF2-40B4-BE49-F238E27FC236}">
                <a16:creationId xmlns:a16="http://schemas.microsoft.com/office/drawing/2014/main" id="{4A9E53A8-A8FE-55EB-A1CC-42186E7CB034}"/>
              </a:ext>
            </a:extLst>
          </p:cNvPr>
          <p:cNvSpPr>
            <a:spLocks noGrp="1"/>
          </p:cNvSpPr>
          <p:nvPr>
            <p:ph type="pic" sz="quarter" idx="50" hasCustomPrompt="1"/>
          </p:nvPr>
        </p:nvSpPr>
        <p:spPr>
          <a:xfrm>
            <a:off x="3415481" y="2969426"/>
            <a:ext cx="709809" cy="636319"/>
          </a:xfrm>
          <a:prstGeom prst="roundRect">
            <a:avLst/>
          </a:prstGeom>
        </p:spPr>
        <p:txBody>
          <a:bodyPr/>
          <a:lstStyle>
            <a:lvl1pPr algn="ctr">
              <a:defRPr/>
            </a:lvl1pPr>
          </a:lstStyle>
          <a:p>
            <a:r>
              <a:rPr lang="en-US"/>
              <a:t>Add photo</a:t>
            </a:r>
            <a:endParaRPr lang="en-GB"/>
          </a:p>
        </p:txBody>
      </p:sp>
      <p:sp>
        <p:nvSpPr>
          <p:cNvPr id="26" name="Content Placeholder 16">
            <a:extLst>
              <a:ext uri="{FF2B5EF4-FFF2-40B4-BE49-F238E27FC236}">
                <a16:creationId xmlns:a16="http://schemas.microsoft.com/office/drawing/2014/main" id="{36C2BCF7-09C8-3A05-16FA-A35CB3152D8B}"/>
              </a:ext>
            </a:extLst>
          </p:cNvPr>
          <p:cNvSpPr>
            <a:spLocks noGrp="1"/>
          </p:cNvSpPr>
          <p:nvPr>
            <p:ph sz="quarter" idx="51" hasCustomPrompt="1"/>
          </p:nvPr>
        </p:nvSpPr>
        <p:spPr>
          <a:xfrm>
            <a:off x="4241275" y="2969426"/>
            <a:ext cx="1828799" cy="636319"/>
          </a:xfrm>
          <a:prstGeom prst="rect">
            <a:avLst/>
          </a:prstGeom>
          <a:solidFill>
            <a:schemeClr val="bg1"/>
          </a:solidFill>
        </p:spPr>
        <p:txBody>
          <a:bodyPr anchor="ctr"/>
          <a:lstStyle>
            <a:lvl1pPr>
              <a:defRPr sz="1600" i="0">
                <a:solidFill>
                  <a:schemeClr val="tx1"/>
                </a:solidFill>
              </a:defRPr>
            </a:lvl1pPr>
            <a:lvl2pPr>
              <a:defRPr/>
            </a:lvl2pPr>
          </a:lstStyle>
          <a:p>
            <a:r>
              <a:rPr lang="en-GB" b="1"/>
              <a:t>Forename Surname</a:t>
            </a:r>
          </a:p>
        </p:txBody>
      </p:sp>
      <p:sp>
        <p:nvSpPr>
          <p:cNvPr id="27" name="Content Placeholder 16">
            <a:extLst>
              <a:ext uri="{FF2B5EF4-FFF2-40B4-BE49-F238E27FC236}">
                <a16:creationId xmlns:a16="http://schemas.microsoft.com/office/drawing/2014/main" id="{6430A049-C5E3-2EA6-E84D-E15EC5F286CF}"/>
              </a:ext>
            </a:extLst>
          </p:cNvPr>
          <p:cNvSpPr>
            <a:spLocks noGrp="1"/>
          </p:cNvSpPr>
          <p:nvPr>
            <p:ph sz="quarter" idx="52" hasCustomPrompt="1"/>
          </p:nvPr>
        </p:nvSpPr>
        <p:spPr>
          <a:xfrm>
            <a:off x="3415481" y="3765139"/>
            <a:ext cx="2633329" cy="531629"/>
          </a:xfrm>
          <a:prstGeom prst="rect">
            <a:avLst/>
          </a:prstGeom>
          <a:solidFill>
            <a:schemeClr val="bg1"/>
          </a:solidFill>
        </p:spPr>
        <p:txBody>
          <a:bodyPr/>
          <a:lstStyle>
            <a:lvl1pPr>
              <a:spcBef>
                <a:spcPts val="0"/>
              </a:spcBef>
              <a:defRPr sz="1000">
                <a:solidFill>
                  <a:schemeClr val="tx1"/>
                </a:solidFill>
              </a:defRPr>
            </a:lvl1pPr>
            <a:lvl2pPr>
              <a:defRPr/>
            </a:lvl2pPr>
          </a:lstStyle>
          <a:p>
            <a:pPr marL="0" marR="0" lvl="0" indent="0" algn="l" defTabSz="919569" rtl="0" eaLnBrk="1" fontAlgn="auto" latinLnBrk="0" hangingPunct="1">
              <a:lnSpc>
                <a:spcPct val="100000"/>
              </a:lnSpc>
              <a:spcBef>
                <a:spcPts val="800"/>
              </a:spcBef>
              <a:spcAft>
                <a:spcPts val="0"/>
              </a:spcAft>
              <a:buClrTx/>
              <a:buSzTx/>
              <a:buFont typeface="Arial" panose="020B0604020202020204" pitchFamily="34" charset="0"/>
              <a:buNone/>
              <a:tabLst/>
              <a:defRPr/>
            </a:pPr>
            <a:r>
              <a:rPr lang="en-GB" sz="1050"/>
              <a:t>Title</a:t>
            </a:r>
            <a:br>
              <a:rPr lang="en-GB" sz="1050"/>
            </a:br>
            <a:r>
              <a:rPr lang="en-GB" sz="1050"/>
              <a:t>+44 20 7903 ####</a:t>
            </a:r>
            <a:br>
              <a:rPr lang="en-GB" sz="1050"/>
            </a:br>
            <a:r>
              <a:rPr lang="en-GB" sz="1050">
                <a:hlinkClick r:id="rId2">
                  <a:extLst>
                    <a:ext uri="{A12FA001-AC4F-418D-AE19-62706E023703}">
                      <ahyp:hlinkClr xmlns:ahyp="http://schemas.microsoft.com/office/drawing/2018/hyperlinkcolor" xmlns="" val="tx"/>
                    </a:ext>
                  </a:extLst>
                </a:hlinkClick>
              </a:rPr>
              <a:t>forename.surname@crugroup.com</a:t>
            </a:r>
            <a:endParaRPr lang="en-GB" sz="1050"/>
          </a:p>
        </p:txBody>
      </p:sp>
      <p:sp>
        <p:nvSpPr>
          <p:cNvPr id="28" name="Rectangle: Rounded Corners 27">
            <a:extLst>
              <a:ext uri="{FF2B5EF4-FFF2-40B4-BE49-F238E27FC236}">
                <a16:creationId xmlns:a16="http://schemas.microsoft.com/office/drawing/2014/main" id="{5A55BAAD-4D77-08CF-A6E3-EB3624D6DB0A}"/>
              </a:ext>
            </a:extLst>
          </p:cNvPr>
          <p:cNvSpPr/>
          <p:nvPr userDrawn="1"/>
        </p:nvSpPr>
        <p:spPr>
          <a:xfrm>
            <a:off x="6252829" y="2878384"/>
            <a:ext cx="2876811" cy="1488767"/>
          </a:xfrm>
          <a:prstGeom prst="roundRect">
            <a:avLst/>
          </a:prstGeom>
          <a:ln>
            <a:solidFill>
              <a:srgbClr val="00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sp>
        <p:nvSpPr>
          <p:cNvPr id="29" name="Picture Placeholder 35">
            <a:extLst>
              <a:ext uri="{FF2B5EF4-FFF2-40B4-BE49-F238E27FC236}">
                <a16:creationId xmlns:a16="http://schemas.microsoft.com/office/drawing/2014/main" id="{FB749911-500D-2FCC-EF68-0F904191723C}"/>
              </a:ext>
            </a:extLst>
          </p:cNvPr>
          <p:cNvSpPr>
            <a:spLocks noGrp="1"/>
          </p:cNvSpPr>
          <p:nvPr>
            <p:ph type="pic" sz="quarter" idx="53" hasCustomPrompt="1"/>
          </p:nvPr>
        </p:nvSpPr>
        <p:spPr>
          <a:xfrm>
            <a:off x="6358088" y="2969426"/>
            <a:ext cx="709809" cy="636319"/>
          </a:xfrm>
          <a:prstGeom prst="roundRect">
            <a:avLst/>
          </a:prstGeom>
        </p:spPr>
        <p:txBody>
          <a:bodyPr/>
          <a:lstStyle>
            <a:lvl1pPr algn="ctr">
              <a:defRPr/>
            </a:lvl1pPr>
          </a:lstStyle>
          <a:p>
            <a:r>
              <a:rPr lang="en-US"/>
              <a:t>Add photo</a:t>
            </a:r>
            <a:endParaRPr lang="en-GB"/>
          </a:p>
        </p:txBody>
      </p:sp>
      <p:sp>
        <p:nvSpPr>
          <p:cNvPr id="30" name="Content Placeholder 16">
            <a:extLst>
              <a:ext uri="{FF2B5EF4-FFF2-40B4-BE49-F238E27FC236}">
                <a16:creationId xmlns:a16="http://schemas.microsoft.com/office/drawing/2014/main" id="{D746C92E-98E3-AE5C-8197-AAC9CDBD0A48}"/>
              </a:ext>
            </a:extLst>
          </p:cNvPr>
          <p:cNvSpPr>
            <a:spLocks noGrp="1"/>
          </p:cNvSpPr>
          <p:nvPr>
            <p:ph sz="quarter" idx="54" hasCustomPrompt="1"/>
          </p:nvPr>
        </p:nvSpPr>
        <p:spPr>
          <a:xfrm>
            <a:off x="7183882" y="2969426"/>
            <a:ext cx="1828799" cy="636319"/>
          </a:xfrm>
          <a:prstGeom prst="rect">
            <a:avLst/>
          </a:prstGeom>
          <a:solidFill>
            <a:schemeClr val="bg1"/>
          </a:solidFill>
        </p:spPr>
        <p:txBody>
          <a:bodyPr anchor="ctr"/>
          <a:lstStyle>
            <a:lvl1pPr>
              <a:defRPr sz="1600" i="0">
                <a:solidFill>
                  <a:schemeClr val="tx1"/>
                </a:solidFill>
              </a:defRPr>
            </a:lvl1pPr>
            <a:lvl2pPr>
              <a:defRPr/>
            </a:lvl2pPr>
          </a:lstStyle>
          <a:p>
            <a:r>
              <a:rPr lang="en-GB" b="1"/>
              <a:t>Forename Surname</a:t>
            </a:r>
          </a:p>
        </p:txBody>
      </p:sp>
      <p:sp>
        <p:nvSpPr>
          <p:cNvPr id="31" name="Content Placeholder 16">
            <a:extLst>
              <a:ext uri="{FF2B5EF4-FFF2-40B4-BE49-F238E27FC236}">
                <a16:creationId xmlns:a16="http://schemas.microsoft.com/office/drawing/2014/main" id="{8FE49FA2-1B10-9F26-3CA9-7D865A819EEB}"/>
              </a:ext>
            </a:extLst>
          </p:cNvPr>
          <p:cNvSpPr>
            <a:spLocks noGrp="1"/>
          </p:cNvSpPr>
          <p:nvPr>
            <p:ph sz="quarter" idx="55" hasCustomPrompt="1"/>
          </p:nvPr>
        </p:nvSpPr>
        <p:spPr>
          <a:xfrm>
            <a:off x="6358088" y="3765139"/>
            <a:ext cx="2633329" cy="531629"/>
          </a:xfrm>
          <a:prstGeom prst="rect">
            <a:avLst/>
          </a:prstGeom>
          <a:solidFill>
            <a:schemeClr val="bg1"/>
          </a:solidFill>
        </p:spPr>
        <p:txBody>
          <a:bodyPr/>
          <a:lstStyle>
            <a:lvl1pPr>
              <a:spcBef>
                <a:spcPts val="0"/>
              </a:spcBef>
              <a:defRPr sz="1000">
                <a:solidFill>
                  <a:schemeClr val="tx1"/>
                </a:solidFill>
              </a:defRPr>
            </a:lvl1pPr>
            <a:lvl2pPr>
              <a:defRPr/>
            </a:lvl2pPr>
          </a:lstStyle>
          <a:p>
            <a:pPr marL="0" marR="0" lvl="0" indent="0" algn="l" defTabSz="919569" rtl="0" eaLnBrk="1" fontAlgn="auto" latinLnBrk="0" hangingPunct="1">
              <a:lnSpc>
                <a:spcPct val="100000"/>
              </a:lnSpc>
              <a:spcBef>
                <a:spcPts val="800"/>
              </a:spcBef>
              <a:spcAft>
                <a:spcPts val="0"/>
              </a:spcAft>
              <a:buClrTx/>
              <a:buSzTx/>
              <a:buFont typeface="Arial" panose="020B0604020202020204" pitchFamily="34" charset="0"/>
              <a:buNone/>
              <a:tabLst/>
              <a:defRPr/>
            </a:pPr>
            <a:r>
              <a:rPr lang="en-GB" sz="1050"/>
              <a:t>Title</a:t>
            </a:r>
            <a:br>
              <a:rPr lang="en-GB" sz="1050"/>
            </a:br>
            <a:r>
              <a:rPr lang="en-GB" sz="1050"/>
              <a:t>+44 20 7903 ####</a:t>
            </a:r>
            <a:br>
              <a:rPr lang="en-GB" sz="1050"/>
            </a:br>
            <a:r>
              <a:rPr lang="en-GB" sz="1050">
                <a:hlinkClick r:id="rId2">
                  <a:extLst>
                    <a:ext uri="{A12FA001-AC4F-418D-AE19-62706E023703}">
                      <ahyp:hlinkClr xmlns:ahyp="http://schemas.microsoft.com/office/drawing/2018/hyperlinkcolor" xmlns="" val="tx"/>
                    </a:ext>
                  </a:extLst>
                </a:hlinkClick>
              </a:rPr>
              <a:t>forename.surname@crugroup.com</a:t>
            </a:r>
            <a:endParaRPr lang="en-GB" sz="1050"/>
          </a:p>
        </p:txBody>
      </p:sp>
      <p:sp>
        <p:nvSpPr>
          <p:cNvPr id="32" name="Rectangle: Rounded Corners 31">
            <a:extLst>
              <a:ext uri="{FF2B5EF4-FFF2-40B4-BE49-F238E27FC236}">
                <a16:creationId xmlns:a16="http://schemas.microsoft.com/office/drawing/2014/main" id="{283D7489-4ACE-2405-B728-51A158D427FE}"/>
              </a:ext>
            </a:extLst>
          </p:cNvPr>
          <p:cNvSpPr/>
          <p:nvPr userDrawn="1"/>
        </p:nvSpPr>
        <p:spPr>
          <a:xfrm>
            <a:off x="9179582" y="2878384"/>
            <a:ext cx="2876811" cy="1488767"/>
          </a:xfrm>
          <a:prstGeom prst="roundRect">
            <a:avLst/>
          </a:prstGeom>
          <a:ln>
            <a:solidFill>
              <a:srgbClr val="00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sp>
        <p:nvSpPr>
          <p:cNvPr id="33" name="Picture Placeholder 35">
            <a:extLst>
              <a:ext uri="{FF2B5EF4-FFF2-40B4-BE49-F238E27FC236}">
                <a16:creationId xmlns:a16="http://schemas.microsoft.com/office/drawing/2014/main" id="{7A9F52CE-D1D8-4ACD-3FAC-5C8C2F349EE8}"/>
              </a:ext>
            </a:extLst>
          </p:cNvPr>
          <p:cNvSpPr>
            <a:spLocks noGrp="1"/>
          </p:cNvSpPr>
          <p:nvPr>
            <p:ph type="pic" sz="quarter" idx="56" hasCustomPrompt="1"/>
          </p:nvPr>
        </p:nvSpPr>
        <p:spPr>
          <a:xfrm>
            <a:off x="9284841" y="2969426"/>
            <a:ext cx="709809" cy="636319"/>
          </a:xfrm>
          <a:prstGeom prst="roundRect">
            <a:avLst/>
          </a:prstGeom>
        </p:spPr>
        <p:txBody>
          <a:bodyPr/>
          <a:lstStyle>
            <a:lvl1pPr algn="ctr">
              <a:defRPr/>
            </a:lvl1pPr>
          </a:lstStyle>
          <a:p>
            <a:r>
              <a:rPr lang="en-US"/>
              <a:t>Add photo</a:t>
            </a:r>
            <a:endParaRPr lang="en-GB"/>
          </a:p>
        </p:txBody>
      </p:sp>
      <p:sp>
        <p:nvSpPr>
          <p:cNvPr id="34" name="Content Placeholder 16">
            <a:extLst>
              <a:ext uri="{FF2B5EF4-FFF2-40B4-BE49-F238E27FC236}">
                <a16:creationId xmlns:a16="http://schemas.microsoft.com/office/drawing/2014/main" id="{F6C222DE-96EC-7398-8F85-772469AF57F6}"/>
              </a:ext>
            </a:extLst>
          </p:cNvPr>
          <p:cNvSpPr>
            <a:spLocks noGrp="1"/>
          </p:cNvSpPr>
          <p:nvPr>
            <p:ph sz="quarter" idx="57" hasCustomPrompt="1"/>
          </p:nvPr>
        </p:nvSpPr>
        <p:spPr>
          <a:xfrm>
            <a:off x="10110635" y="2969426"/>
            <a:ext cx="1828799" cy="636319"/>
          </a:xfrm>
          <a:prstGeom prst="rect">
            <a:avLst/>
          </a:prstGeom>
          <a:solidFill>
            <a:schemeClr val="bg1"/>
          </a:solidFill>
        </p:spPr>
        <p:txBody>
          <a:bodyPr anchor="ctr"/>
          <a:lstStyle>
            <a:lvl1pPr>
              <a:defRPr sz="1600" i="0">
                <a:solidFill>
                  <a:schemeClr val="tx1"/>
                </a:solidFill>
              </a:defRPr>
            </a:lvl1pPr>
            <a:lvl2pPr>
              <a:defRPr/>
            </a:lvl2pPr>
          </a:lstStyle>
          <a:p>
            <a:r>
              <a:rPr lang="en-GB" b="1"/>
              <a:t>Forename Surname</a:t>
            </a:r>
          </a:p>
        </p:txBody>
      </p:sp>
      <p:sp>
        <p:nvSpPr>
          <p:cNvPr id="35" name="Content Placeholder 16">
            <a:extLst>
              <a:ext uri="{FF2B5EF4-FFF2-40B4-BE49-F238E27FC236}">
                <a16:creationId xmlns:a16="http://schemas.microsoft.com/office/drawing/2014/main" id="{792838F4-8369-C13B-B486-537756569141}"/>
              </a:ext>
            </a:extLst>
          </p:cNvPr>
          <p:cNvSpPr>
            <a:spLocks noGrp="1"/>
          </p:cNvSpPr>
          <p:nvPr>
            <p:ph sz="quarter" idx="58" hasCustomPrompt="1"/>
          </p:nvPr>
        </p:nvSpPr>
        <p:spPr>
          <a:xfrm>
            <a:off x="9284841" y="3765139"/>
            <a:ext cx="2633329" cy="531629"/>
          </a:xfrm>
          <a:prstGeom prst="rect">
            <a:avLst/>
          </a:prstGeom>
          <a:solidFill>
            <a:schemeClr val="bg1"/>
          </a:solidFill>
        </p:spPr>
        <p:txBody>
          <a:bodyPr/>
          <a:lstStyle>
            <a:lvl1pPr>
              <a:spcBef>
                <a:spcPts val="0"/>
              </a:spcBef>
              <a:defRPr sz="1000">
                <a:solidFill>
                  <a:schemeClr val="tx1"/>
                </a:solidFill>
              </a:defRPr>
            </a:lvl1pPr>
            <a:lvl2pPr>
              <a:defRPr/>
            </a:lvl2pPr>
          </a:lstStyle>
          <a:p>
            <a:pPr marL="0" marR="0" lvl="0" indent="0" algn="l" defTabSz="919569" rtl="0" eaLnBrk="1" fontAlgn="auto" latinLnBrk="0" hangingPunct="1">
              <a:lnSpc>
                <a:spcPct val="100000"/>
              </a:lnSpc>
              <a:spcBef>
                <a:spcPts val="800"/>
              </a:spcBef>
              <a:spcAft>
                <a:spcPts val="0"/>
              </a:spcAft>
              <a:buClrTx/>
              <a:buSzTx/>
              <a:buFont typeface="Arial" panose="020B0604020202020204" pitchFamily="34" charset="0"/>
              <a:buNone/>
              <a:tabLst/>
              <a:defRPr/>
            </a:pPr>
            <a:r>
              <a:rPr lang="en-GB" sz="1050"/>
              <a:t>Title</a:t>
            </a:r>
            <a:br>
              <a:rPr lang="en-GB" sz="1050"/>
            </a:br>
            <a:r>
              <a:rPr lang="en-GB" sz="1050"/>
              <a:t>+44 20 7903 ####</a:t>
            </a:r>
            <a:br>
              <a:rPr lang="en-GB" sz="1050"/>
            </a:br>
            <a:r>
              <a:rPr lang="en-GB" sz="1050">
                <a:hlinkClick r:id="rId2">
                  <a:extLst>
                    <a:ext uri="{A12FA001-AC4F-418D-AE19-62706E023703}">
                      <ahyp:hlinkClr xmlns:ahyp="http://schemas.microsoft.com/office/drawing/2018/hyperlinkcolor" xmlns="" val="tx"/>
                    </a:ext>
                  </a:extLst>
                </a:hlinkClick>
              </a:rPr>
              <a:t>forename.surname@crugroup.com</a:t>
            </a:r>
            <a:endParaRPr lang="en-GB" sz="1050"/>
          </a:p>
        </p:txBody>
      </p:sp>
      <p:sp>
        <p:nvSpPr>
          <p:cNvPr id="36" name="Rectangle: Rounded Corners 35">
            <a:extLst>
              <a:ext uri="{FF2B5EF4-FFF2-40B4-BE49-F238E27FC236}">
                <a16:creationId xmlns:a16="http://schemas.microsoft.com/office/drawing/2014/main" id="{02C5F67B-E545-59C1-3DF4-5E84C1BA8F70}"/>
              </a:ext>
            </a:extLst>
          </p:cNvPr>
          <p:cNvSpPr/>
          <p:nvPr userDrawn="1"/>
        </p:nvSpPr>
        <p:spPr>
          <a:xfrm>
            <a:off x="367800" y="4503857"/>
            <a:ext cx="2876811" cy="1488767"/>
          </a:xfrm>
          <a:prstGeom prst="roundRect">
            <a:avLst/>
          </a:prstGeom>
          <a:ln>
            <a:solidFill>
              <a:srgbClr val="00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b="1">
              <a:solidFill>
                <a:schemeClr val="tx1"/>
              </a:solidFill>
            </a:endParaRPr>
          </a:p>
        </p:txBody>
      </p:sp>
      <p:sp>
        <p:nvSpPr>
          <p:cNvPr id="37" name="Picture Placeholder 35">
            <a:extLst>
              <a:ext uri="{FF2B5EF4-FFF2-40B4-BE49-F238E27FC236}">
                <a16:creationId xmlns:a16="http://schemas.microsoft.com/office/drawing/2014/main" id="{217D30D2-7237-7EA0-E638-03B64929EBFD}"/>
              </a:ext>
            </a:extLst>
          </p:cNvPr>
          <p:cNvSpPr>
            <a:spLocks noGrp="1"/>
          </p:cNvSpPr>
          <p:nvPr>
            <p:ph type="pic" sz="quarter" idx="59" hasCustomPrompt="1"/>
          </p:nvPr>
        </p:nvSpPr>
        <p:spPr>
          <a:xfrm>
            <a:off x="473059" y="4594899"/>
            <a:ext cx="709809" cy="636319"/>
          </a:xfrm>
          <a:prstGeom prst="roundRect">
            <a:avLst/>
          </a:prstGeom>
        </p:spPr>
        <p:txBody>
          <a:bodyPr/>
          <a:lstStyle>
            <a:lvl1pPr algn="ctr">
              <a:defRPr b="0"/>
            </a:lvl1pPr>
          </a:lstStyle>
          <a:p>
            <a:r>
              <a:rPr lang="en-US"/>
              <a:t>Add photo</a:t>
            </a:r>
            <a:endParaRPr lang="en-GB"/>
          </a:p>
        </p:txBody>
      </p:sp>
      <p:sp>
        <p:nvSpPr>
          <p:cNvPr id="38" name="Content Placeholder 16">
            <a:extLst>
              <a:ext uri="{FF2B5EF4-FFF2-40B4-BE49-F238E27FC236}">
                <a16:creationId xmlns:a16="http://schemas.microsoft.com/office/drawing/2014/main" id="{B84A8470-1395-171A-D3A0-D5E4A7C1DD74}"/>
              </a:ext>
            </a:extLst>
          </p:cNvPr>
          <p:cNvSpPr>
            <a:spLocks noGrp="1"/>
          </p:cNvSpPr>
          <p:nvPr>
            <p:ph sz="quarter" idx="60" hasCustomPrompt="1"/>
          </p:nvPr>
        </p:nvSpPr>
        <p:spPr>
          <a:xfrm>
            <a:off x="1298853" y="4594899"/>
            <a:ext cx="1828799" cy="636319"/>
          </a:xfrm>
          <a:prstGeom prst="rect">
            <a:avLst/>
          </a:prstGeom>
          <a:solidFill>
            <a:schemeClr val="bg1"/>
          </a:solidFill>
        </p:spPr>
        <p:txBody>
          <a:bodyPr anchor="ctr"/>
          <a:lstStyle>
            <a:lvl1pPr>
              <a:defRPr sz="1600" b="1" i="0">
                <a:solidFill>
                  <a:schemeClr val="tx1"/>
                </a:solidFill>
              </a:defRPr>
            </a:lvl1pPr>
            <a:lvl2pPr>
              <a:defRPr/>
            </a:lvl2pPr>
          </a:lstStyle>
          <a:p>
            <a:r>
              <a:rPr lang="en-GB" b="1"/>
              <a:t>Forename Surname</a:t>
            </a:r>
          </a:p>
        </p:txBody>
      </p:sp>
      <p:sp>
        <p:nvSpPr>
          <p:cNvPr id="39" name="Content Placeholder 16">
            <a:extLst>
              <a:ext uri="{FF2B5EF4-FFF2-40B4-BE49-F238E27FC236}">
                <a16:creationId xmlns:a16="http://schemas.microsoft.com/office/drawing/2014/main" id="{286BE7A7-A117-6167-5F24-FA6345DBDF59}"/>
              </a:ext>
            </a:extLst>
          </p:cNvPr>
          <p:cNvSpPr>
            <a:spLocks noGrp="1"/>
          </p:cNvSpPr>
          <p:nvPr>
            <p:ph sz="quarter" idx="61" hasCustomPrompt="1"/>
          </p:nvPr>
        </p:nvSpPr>
        <p:spPr>
          <a:xfrm>
            <a:off x="473059" y="5358808"/>
            <a:ext cx="2633329" cy="531629"/>
          </a:xfrm>
          <a:prstGeom prst="rect">
            <a:avLst/>
          </a:prstGeom>
          <a:solidFill>
            <a:schemeClr val="bg1"/>
          </a:solidFill>
        </p:spPr>
        <p:txBody>
          <a:bodyPr/>
          <a:lstStyle>
            <a:lvl1pPr>
              <a:spcBef>
                <a:spcPts val="0"/>
              </a:spcBef>
              <a:defRPr sz="1000" b="0">
                <a:solidFill>
                  <a:schemeClr val="tx1"/>
                </a:solidFill>
              </a:defRPr>
            </a:lvl1pPr>
            <a:lvl2pPr>
              <a:defRPr/>
            </a:lvl2pPr>
          </a:lstStyle>
          <a:p>
            <a:pPr marL="0" marR="0" lvl="0" indent="0" algn="l" defTabSz="919569" rtl="0" eaLnBrk="1" fontAlgn="auto" latinLnBrk="0" hangingPunct="1">
              <a:lnSpc>
                <a:spcPct val="100000"/>
              </a:lnSpc>
              <a:spcBef>
                <a:spcPts val="800"/>
              </a:spcBef>
              <a:spcAft>
                <a:spcPts val="0"/>
              </a:spcAft>
              <a:buClrTx/>
              <a:buSzTx/>
              <a:buFont typeface="Arial" panose="020B0604020202020204" pitchFamily="34" charset="0"/>
              <a:buNone/>
              <a:tabLst/>
              <a:defRPr/>
            </a:pPr>
            <a:r>
              <a:rPr lang="en-GB" sz="1050"/>
              <a:t>Title</a:t>
            </a:r>
            <a:br>
              <a:rPr lang="en-GB" sz="1050"/>
            </a:br>
            <a:r>
              <a:rPr lang="en-GB" sz="1050"/>
              <a:t>+44 20 7903 ####</a:t>
            </a:r>
            <a:br>
              <a:rPr lang="en-GB" sz="1050"/>
            </a:br>
            <a:r>
              <a:rPr lang="en-GB" sz="1050">
                <a:hlinkClick r:id="rId2">
                  <a:extLst>
                    <a:ext uri="{A12FA001-AC4F-418D-AE19-62706E023703}">
                      <ahyp:hlinkClr xmlns:ahyp="http://schemas.microsoft.com/office/drawing/2018/hyperlinkcolor" xmlns="" val="tx"/>
                    </a:ext>
                  </a:extLst>
                </a:hlinkClick>
              </a:rPr>
              <a:t>forename.surname@crugroup.com</a:t>
            </a:r>
            <a:endParaRPr lang="en-GB" sz="1050"/>
          </a:p>
        </p:txBody>
      </p:sp>
      <p:cxnSp>
        <p:nvCxnSpPr>
          <p:cNvPr id="52" name="Straight Connector 51">
            <a:extLst>
              <a:ext uri="{FF2B5EF4-FFF2-40B4-BE49-F238E27FC236}">
                <a16:creationId xmlns:a16="http://schemas.microsoft.com/office/drawing/2014/main" id="{03BF13B1-7CA6-17FF-4FFA-820346E9B903}"/>
              </a:ext>
            </a:extLst>
          </p:cNvPr>
          <p:cNvCxnSpPr>
            <a:cxnSpLocks/>
          </p:cNvCxnSpPr>
          <p:nvPr userDrawn="1"/>
        </p:nvCxnSpPr>
        <p:spPr>
          <a:xfrm>
            <a:off x="361310" y="2076728"/>
            <a:ext cx="2876811"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B6012023-889F-4DA6-079A-8EF67A009E32}"/>
              </a:ext>
            </a:extLst>
          </p:cNvPr>
          <p:cNvCxnSpPr>
            <a:cxnSpLocks/>
          </p:cNvCxnSpPr>
          <p:nvPr userDrawn="1"/>
        </p:nvCxnSpPr>
        <p:spPr>
          <a:xfrm>
            <a:off x="354684" y="3677590"/>
            <a:ext cx="2876811"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4A268B6-6151-2F51-9258-B4AB6E888F80}"/>
              </a:ext>
            </a:extLst>
          </p:cNvPr>
          <p:cNvCxnSpPr>
            <a:cxnSpLocks/>
          </p:cNvCxnSpPr>
          <p:nvPr userDrawn="1"/>
        </p:nvCxnSpPr>
        <p:spPr>
          <a:xfrm>
            <a:off x="354683" y="5299593"/>
            <a:ext cx="2876811"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E66B849-99F1-CE0E-FC87-327ABF10A719}"/>
              </a:ext>
            </a:extLst>
          </p:cNvPr>
          <p:cNvCxnSpPr>
            <a:cxnSpLocks/>
          </p:cNvCxnSpPr>
          <p:nvPr userDrawn="1"/>
        </p:nvCxnSpPr>
        <p:spPr>
          <a:xfrm>
            <a:off x="6259821" y="2076728"/>
            <a:ext cx="2876811"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43D3364D-9A78-68FA-FB76-8327115F0C64}"/>
              </a:ext>
            </a:extLst>
          </p:cNvPr>
          <p:cNvCxnSpPr>
            <a:cxnSpLocks/>
          </p:cNvCxnSpPr>
          <p:nvPr userDrawn="1"/>
        </p:nvCxnSpPr>
        <p:spPr>
          <a:xfrm>
            <a:off x="3313895" y="2076728"/>
            <a:ext cx="2876811"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456DC5E-FC3B-89DE-7D07-64126C04F2A7}"/>
              </a:ext>
            </a:extLst>
          </p:cNvPr>
          <p:cNvCxnSpPr>
            <a:cxnSpLocks/>
          </p:cNvCxnSpPr>
          <p:nvPr userDrawn="1"/>
        </p:nvCxnSpPr>
        <p:spPr>
          <a:xfrm>
            <a:off x="9174005" y="2076728"/>
            <a:ext cx="2876811"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03246ED-D74F-C76E-BCEE-D12066B15196}"/>
              </a:ext>
            </a:extLst>
          </p:cNvPr>
          <p:cNvCxnSpPr>
            <a:cxnSpLocks/>
          </p:cNvCxnSpPr>
          <p:nvPr userDrawn="1"/>
        </p:nvCxnSpPr>
        <p:spPr>
          <a:xfrm>
            <a:off x="3313894" y="3677590"/>
            <a:ext cx="2876811"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9D19A92E-0657-D078-0808-DCFD5488B865}"/>
              </a:ext>
            </a:extLst>
          </p:cNvPr>
          <p:cNvCxnSpPr>
            <a:cxnSpLocks/>
          </p:cNvCxnSpPr>
          <p:nvPr userDrawn="1"/>
        </p:nvCxnSpPr>
        <p:spPr>
          <a:xfrm>
            <a:off x="6262471" y="3677590"/>
            <a:ext cx="2876811"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3C34136B-0236-DB91-3D05-A64CD6EA727E}"/>
              </a:ext>
            </a:extLst>
          </p:cNvPr>
          <p:cNvCxnSpPr>
            <a:cxnSpLocks/>
          </p:cNvCxnSpPr>
          <p:nvPr userDrawn="1"/>
        </p:nvCxnSpPr>
        <p:spPr>
          <a:xfrm>
            <a:off x="9167379" y="3677590"/>
            <a:ext cx="2876811"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Rounded Corners 39">
            <a:extLst>
              <a:ext uri="{FF2B5EF4-FFF2-40B4-BE49-F238E27FC236}">
                <a16:creationId xmlns:a16="http://schemas.microsoft.com/office/drawing/2014/main" id="{7578EC27-45CC-61B3-03DC-C48776EC8D7A}"/>
              </a:ext>
            </a:extLst>
          </p:cNvPr>
          <p:cNvSpPr/>
          <p:nvPr userDrawn="1"/>
        </p:nvSpPr>
        <p:spPr>
          <a:xfrm>
            <a:off x="3310222" y="4503857"/>
            <a:ext cx="2876811" cy="1488767"/>
          </a:xfrm>
          <a:prstGeom prst="roundRect">
            <a:avLst/>
          </a:prstGeom>
          <a:ln>
            <a:solidFill>
              <a:srgbClr val="00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b="1">
              <a:solidFill>
                <a:schemeClr val="tx1"/>
              </a:solidFill>
            </a:endParaRPr>
          </a:p>
        </p:txBody>
      </p:sp>
      <p:sp>
        <p:nvSpPr>
          <p:cNvPr id="41" name="Picture Placeholder 35">
            <a:extLst>
              <a:ext uri="{FF2B5EF4-FFF2-40B4-BE49-F238E27FC236}">
                <a16:creationId xmlns:a16="http://schemas.microsoft.com/office/drawing/2014/main" id="{5041FB16-87DA-A2F5-8D96-EF0AAAFF80D6}"/>
              </a:ext>
            </a:extLst>
          </p:cNvPr>
          <p:cNvSpPr>
            <a:spLocks noGrp="1"/>
          </p:cNvSpPr>
          <p:nvPr>
            <p:ph type="pic" sz="quarter" idx="62" hasCustomPrompt="1"/>
          </p:nvPr>
        </p:nvSpPr>
        <p:spPr>
          <a:xfrm>
            <a:off x="3415481" y="4594899"/>
            <a:ext cx="709809" cy="636319"/>
          </a:xfrm>
          <a:prstGeom prst="roundRect">
            <a:avLst/>
          </a:prstGeom>
        </p:spPr>
        <p:txBody>
          <a:bodyPr/>
          <a:lstStyle>
            <a:lvl1pPr algn="ctr">
              <a:defRPr b="0"/>
            </a:lvl1pPr>
          </a:lstStyle>
          <a:p>
            <a:r>
              <a:rPr lang="en-US"/>
              <a:t>Add photo</a:t>
            </a:r>
            <a:endParaRPr lang="en-GB"/>
          </a:p>
        </p:txBody>
      </p:sp>
      <p:sp>
        <p:nvSpPr>
          <p:cNvPr id="42" name="Content Placeholder 16">
            <a:extLst>
              <a:ext uri="{FF2B5EF4-FFF2-40B4-BE49-F238E27FC236}">
                <a16:creationId xmlns:a16="http://schemas.microsoft.com/office/drawing/2014/main" id="{F6E5BE44-029C-0C01-EA6B-2E56D4892E01}"/>
              </a:ext>
            </a:extLst>
          </p:cNvPr>
          <p:cNvSpPr>
            <a:spLocks noGrp="1"/>
          </p:cNvSpPr>
          <p:nvPr>
            <p:ph sz="quarter" idx="63" hasCustomPrompt="1"/>
          </p:nvPr>
        </p:nvSpPr>
        <p:spPr>
          <a:xfrm>
            <a:off x="4241275" y="4594899"/>
            <a:ext cx="1828799" cy="636319"/>
          </a:xfrm>
          <a:prstGeom prst="rect">
            <a:avLst/>
          </a:prstGeom>
          <a:solidFill>
            <a:schemeClr val="bg1"/>
          </a:solidFill>
        </p:spPr>
        <p:txBody>
          <a:bodyPr anchor="ctr"/>
          <a:lstStyle>
            <a:lvl1pPr>
              <a:defRPr sz="1600" b="1" i="0">
                <a:solidFill>
                  <a:schemeClr val="tx1"/>
                </a:solidFill>
              </a:defRPr>
            </a:lvl1pPr>
            <a:lvl2pPr>
              <a:defRPr/>
            </a:lvl2pPr>
          </a:lstStyle>
          <a:p>
            <a:r>
              <a:rPr lang="en-GB" b="1"/>
              <a:t>Forename Surname</a:t>
            </a:r>
          </a:p>
        </p:txBody>
      </p:sp>
      <p:sp>
        <p:nvSpPr>
          <p:cNvPr id="43" name="Content Placeholder 16">
            <a:extLst>
              <a:ext uri="{FF2B5EF4-FFF2-40B4-BE49-F238E27FC236}">
                <a16:creationId xmlns:a16="http://schemas.microsoft.com/office/drawing/2014/main" id="{F319B1A9-6BAF-F2D2-91D1-7DF9D977305C}"/>
              </a:ext>
            </a:extLst>
          </p:cNvPr>
          <p:cNvSpPr>
            <a:spLocks noGrp="1"/>
          </p:cNvSpPr>
          <p:nvPr>
            <p:ph sz="quarter" idx="64" hasCustomPrompt="1"/>
          </p:nvPr>
        </p:nvSpPr>
        <p:spPr>
          <a:xfrm>
            <a:off x="3415481" y="5358808"/>
            <a:ext cx="2633329" cy="531629"/>
          </a:xfrm>
          <a:prstGeom prst="rect">
            <a:avLst/>
          </a:prstGeom>
          <a:solidFill>
            <a:schemeClr val="bg1"/>
          </a:solidFill>
        </p:spPr>
        <p:txBody>
          <a:bodyPr/>
          <a:lstStyle>
            <a:lvl1pPr>
              <a:spcBef>
                <a:spcPts val="0"/>
              </a:spcBef>
              <a:defRPr sz="1000" b="0">
                <a:solidFill>
                  <a:schemeClr val="tx1"/>
                </a:solidFill>
              </a:defRPr>
            </a:lvl1pPr>
            <a:lvl2pPr>
              <a:defRPr/>
            </a:lvl2pPr>
          </a:lstStyle>
          <a:p>
            <a:pPr marL="0" marR="0" lvl="0" indent="0" algn="l" defTabSz="919569" rtl="0" eaLnBrk="1" fontAlgn="auto" latinLnBrk="0" hangingPunct="1">
              <a:lnSpc>
                <a:spcPct val="100000"/>
              </a:lnSpc>
              <a:spcBef>
                <a:spcPts val="800"/>
              </a:spcBef>
              <a:spcAft>
                <a:spcPts val="0"/>
              </a:spcAft>
              <a:buClrTx/>
              <a:buSzTx/>
              <a:buFont typeface="Arial" panose="020B0604020202020204" pitchFamily="34" charset="0"/>
              <a:buNone/>
              <a:tabLst/>
              <a:defRPr/>
            </a:pPr>
            <a:r>
              <a:rPr lang="en-GB" sz="1050"/>
              <a:t>Title</a:t>
            </a:r>
            <a:br>
              <a:rPr lang="en-GB" sz="1050"/>
            </a:br>
            <a:r>
              <a:rPr lang="en-GB" sz="1050"/>
              <a:t>+44 20 7903 ####</a:t>
            </a:r>
            <a:br>
              <a:rPr lang="en-GB" sz="1050"/>
            </a:br>
            <a:r>
              <a:rPr lang="en-GB" sz="1050">
                <a:hlinkClick r:id="rId2">
                  <a:extLst>
                    <a:ext uri="{A12FA001-AC4F-418D-AE19-62706E023703}">
                      <ahyp:hlinkClr xmlns:ahyp="http://schemas.microsoft.com/office/drawing/2018/hyperlinkcolor" xmlns="" val="tx"/>
                    </a:ext>
                  </a:extLst>
                </a:hlinkClick>
              </a:rPr>
              <a:t>forename.surname@crugroup.com</a:t>
            </a:r>
            <a:endParaRPr lang="en-GB" sz="1050"/>
          </a:p>
        </p:txBody>
      </p:sp>
      <p:cxnSp>
        <p:nvCxnSpPr>
          <p:cNvPr id="44" name="Straight Connector 43">
            <a:extLst>
              <a:ext uri="{FF2B5EF4-FFF2-40B4-BE49-F238E27FC236}">
                <a16:creationId xmlns:a16="http://schemas.microsoft.com/office/drawing/2014/main" id="{865795FC-BBAE-461B-3A99-C35CD94EC5D6}"/>
              </a:ext>
            </a:extLst>
          </p:cNvPr>
          <p:cNvCxnSpPr>
            <a:cxnSpLocks/>
          </p:cNvCxnSpPr>
          <p:nvPr userDrawn="1"/>
        </p:nvCxnSpPr>
        <p:spPr>
          <a:xfrm>
            <a:off x="3297105" y="5299593"/>
            <a:ext cx="2876811"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060948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eam P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581E154-12C6-B32E-8C4E-90F758005B0D}"/>
              </a:ext>
            </a:extLst>
          </p:cNvPr>
          <p:cNvGraphicFramePr>
            <a:graphicFrameLocks noChangeAspect="1"/>
          </p:cNvGraphicFramePr>
          <p:nvPr userDrawn="1">
            <p:custDataLst>
              <p:tags r:id="rId2"/>
            </p:custDataLst>
            <p:extLst>
              <p:ext uri="{D42A27DB-BD31-4B8C-83A1-F6EECF244321}">
                <p14:modId xmlns:p14="http://schemas.microsoft.com/office/powerpoint/2010/main" val="620071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4" imgW="351" imgH="351" progId="TCLayout.ActiveDocument.1">
                  <p:embed/>
                </p:oleObj>
              </mc:Choice>
              <mc:Fallback>
                <p:oleObj name="think-cell Slide" r:id="rId4" imgW="351" imgH="351" progId="TCLayout.ActiveDocument.1">
                  <p:embed/>
                  <p:pic>
                    <p:nvPicPr>
                      <p:cNvPr id="5" name="Object 4" hidden="1">
                        <a:extLst>
                          <a:ext uri="{FF2B5EF4-FFF2-40B4-BE49-F238E27FC236}">
                            <a16:creationId xmlns:a16="http://schemas.microsoft.com/office/drawing/2014/main" id="{E581E154-12C6-B32E-8C4E-90F758005B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Rounded Corners 9">
            <a:extLst>
              <a:ext uri="{FF2B5EF4-FFF2-40B4-BE49-F238E27FC236}">
                <a16:creationId xmlns:a16="http://schemas.microsoft.com/office/drawing/2014/main" id="{FAE624B0-5547-F5EA-E417-94D7B3A020E3}"/>
              </a:ext>
            </a:extLst>
          </p:cNvPr>
          <p:cNvSpPr/>
          <p:nvPr userDrawn="1"/>
        </p:nvSpPr>
        <p:spPr>
          <a:xfrm>
            <a:off x="536240" y="1324723"/>
            <a:ext cx="3200873" cy="1488767"/>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Picture Placeholder 35">
            <a:extLst>
              <a:ext uri="{FF2B5EF4-FFF2-40B4-BE49-F238E27FC236}">
                <a16:creationId xmlns:a16="http://schemas.microsoft.com/office/drawing/2014/main" id="{316DD513-D78D-1467-2CE4-9E3E97407AC1}"/>
              </a:ext>
            </a:extLst>
          </p:cNvPr>
          <p:cNvSpPr>
            <a:spLocks noGrp="1"/>
          </p:cNvSpPr>
          <p:nvPr>
            <p:ph type="pic" sz="quarter" idx="22" hasCustomPrompt="1"/>
          </p:nvPr>
        </p:nvSpPr>
        <p:spPr>
          <a:xfrm>
            <a:off x="646043" y="1405826"/>
            <a:ext cx="617260" cy="631696"/>
          </a:xfrm>
          <a:prstGeom prst="roundRect">
            <a:avLst>
              <a:gd name="adj" fmla="val 0"/>
            </a:avLst>
          </a:prstGeom>
        </p:spPr>
        <p:txBody>
          <a:bodyPr>
            <a:normAutofit/>
          </a:bodyPr>
          <a:lstStyle>
            <a:lvl1pPr algn="ctr">
              <a:defRPr sz="900"/>
            </a:lvl1pPr>
          </a:lstStyle>
          <a:p>
            <a:r>
              <a:rPr lang="en-US"/>
              <a:t>Add photo</a:t>
            </a:r>
            <a:endParaRPr lang="en-GB"/>
          </a:p>
        </p:txBody>
      </p:sp>
      <p:sp>
        <p:nvSpPr>
          <p:cNvPr id="34" name="Content Placeholder 16">
            <a:extLst>
              <a:ext uri="{FF2B5EF4-FFF2-40B4-BE49-F238E27FC236}">
                <a16:creationId xmlns:a16="http://schemas.microsoft.com/office/drawing/2014/main" id="{C68F7F20-C153-6BBF-D4F1-1B5EFF3660D3}"/>
              </a:ext>
            </a:extLst>
          </p:cNvPr>
          <p:cNvSpPr>
            <a:spLocks noGrp="1"/>
          </p:cNvSpPr>
          <p:nvPr>
            <p:ph sz="quarter" idx="36" hasCustomPrompt="1"/>
          </p:nvPr>
        </p:nvSpPr>
        <p:spPr>
          <a:xfrm>
            <a:off x="655982" y="2067340"/>
            <a:ext cx="2971800" cy="694304"/>
          </a:xfrm>
        </p:spPr>
        <p:txBody>
          <a:bodyPr>
            <a:noAutofit/>
          </a:bodyPr>
          <a:lstStyle>
            <a:lvl1pPr>
              <a:lnSpc>
                <a:spcPct val="100000"/>
              </a:lnSpc>
              <a:spcBef>
                <a:spcPts val="0"/>
              </a:spcBef>
              <a:defRPr sz="900" b="0">
                <a:solidFill>
                  <a:schemeClr val="tx1"/>
                </a:solidFill>
              </a:defRPr>
            </a:lvl1pPr>
            <a:lvl2pPr>
              <a:defRPr/>
            </a:lvl2pPr>
          </a:lstStyle>
          <a:p>
            <a:pPr>
              <a:spcAft>
                <a:spcPts val="0"/>
              </a:spcAft>
            </a:pPr>
            <a:r>
              <a:rPr lang="en-GB" sz="1050"/>
              <a:t>Title</a:t>
            </a:r>
          </a:p>
          <a:p>
            <a:pPr>
              <a:spcAft>
                <a:spcPts val="0"/>
              </a:spcAft>
            </a:pPr>
            <a:r>
              <a:rPr lang="en-GB" sz="1050"/>
              <a:t>+44 20 7903 ####</a:t>
            </a:r>
            <a:br>
              <a:rPr lang="en-GB" sz="1050"/>
            </a:br>
            <a:r>
              <a:rPr lang="en-GB" sz="1050">
                <a:hlinkClick r:id="rId6">
                  <a:extLst>
                    <a:ext uri="{A12FA001-AC4F-418D-AE19-62706E023703}">
                      <ahyp:hlinkClr xmlns:ahyp="http://schemas.microsoft.com/office/drawing/2018/hyperlinkcolor" xmlns="" val="tx"/>
                    </a:ext>
                  </a:extLst>
                </a:hlinkClick>
              </a:rPr>
              <a:t>forename.surname@crugroup.com</a:t>
            </a:r>
            <a:endParaRPr lang="en-GB" sz="1050"/>
          </a:p>
        </p:txBody>
      </p:sp>
      <p:sp>
        <p:nvSpPr>
          <p:cNvPr id="35" name="Title 1">
            <a:extLst>
              <a:ext uri="{FF2B5EF4-FFF2-40B4-BE49-F238E27FC236}">
                <a16:creationId xmlns:a16="http://schemas.microsoft.com/office/drawing/2014/main" id="{820141C6-811C-1496-E441-5E0335BD5F2B}"/>
              </a:ext>
            </a:extLst>
          </p:cNvPr>
          <p:cNvSpPr>
            <a:spLocks noGrp="1"/>
          </p:cNvSpPr>
          <p:nvPr>
            <p:ph type="ctrTitle" hasCustomPrompt="1"/>
          </p:nvPr>
        </p:nvSpPr>
        <p:spPr>
          <a:xfrm>
            <a:off x="1076400" y="329400"/>
            <a:ext cx="10386000" cy="648000"/>
          </a:xfrm>
          <a:prstGeom prst="rect">
            <a:avLst/>
          </a:prstGeom>
        </p:spPr>
        <p:txBody>
          <a:bodyPr vert="horz" lIns="36000" anchor="ctr" anchorCtr="0">
            <a:normAutofit/>
          </a:bodyPr>
          <a:lstStyle>
            <a:lvl1pPr algn="l">
              <a:defRPr sz="2400" b="0">
                <a:solidFill>
                  <a:schemeClr val="accent6"/>
                </a:solidFill>
              </a:defRPr>
            </a:lvl1pPr>
          </a:lstStyle>
          <a:p>
            <a:r>
              <a:rPr lang="en-GB"/>
              <a:t>Team</a:t>
            </a:r>
          </a:p>
        </p:txBody>
      </p:sp>
      <p:sp>
        <p:nvSpPr>
          <p:cNvPr id="6" name="Content Placeholder 16">
            <a:extLst>
              <a:ext uri="{FF2B5EF4-FFF2-40B4-BE49-F238E27FC236}">
                <a16:creationId xmlns:a16="http://schemas.microsoft.com/office/drawing/2014/main" id="{A66053A2-6C75-499D-D45E-B5863D4524A5}"/>
              </a:ext>
            </a:extLst>
          </p:cNvPr>
          <p:cNvSpPr>
            <a:spLocks noGrp="1"/>
          </p:cNvSpPr>
          <p:nvPr>
            <p:ph sz="quarter" idx="39" hasCustomPrompt="1"/>
          </p:nvPr>
        </p:nvSpPr>
        <p:spPr>
          <a:xfrm>
            <a:off x="1315278" y="1404731"/>
            <a:ext cx="2302565" cy="624731"/>
          </a:xfrm>
        </p:spPr>
        <p:txBody>
          <a:bodyPr anchor="ctr">
            <a:noAutofit/>
          </a:bodyPr>
          <a:lstStyle>
            <a:lvl1pPr>
              <a:defRPr sz="1600">
                <a:solidFill>
                  <a:schemeClr val="tx1"/>
                </a:solidFill>
              </a:defRPr>
            </a:lvl1pPr>
            <a:lvl2pPr>
              <a:defRPr/>
            </a:lvl2pPr>
          </a:lstStyle>
          <a:p>
            <a:r>
              <a:rPr lang="en-GB" b="1"/>
              <a:t>Forename Surname</a:t>
            </a:r>
          </a:p>
        </p:txBody>
      </p:sp>
      <p:cxnSp>
        <p:nvCxnSpPr>
          <p:cNvPr id="8" name="Straight Connector 7">
            <a:extLst>
              <a:ext uri="{FF2B5EF4-FFF2-40B4-BE49-F238E27FC236}">
                <a16:creationId xmlns:a16="http://schemas.microsoft.com/office/drawing/2014/main" id="{3A80A350-EF92-135F-4301-688D3A079558}"/>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924A05CC-2FEE-853D-7F8F-6500D93D85A2}"/>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3EB130DC-0D21-1E15-E0C6-0E896C32BCFA}"/>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0B6B9D07-B0CA-DB18-CB71-2D01C232952A}"/>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tx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tx1"/>
                </a:solidFill>
                <a:latin typeface="Garamond" panose="02020404030301010803" pitchFamily="18" charset="0"/>
                <a:ea typeface="Helvetica Neue UltraLight" panose="02000206000000020004" pitchFamily="2" charset="0"/>
              </a:rPr>
              <a:t>expert</a:t>
            </a:r>
            <a:r>
              <a:rPr lang="en-GB" sz="1000" b="0" i="0">
                <a:solidFill>
                  <a:schemeClr val="tx1"/>
                </a:solidFill>
                <a:latin typeface="Helvetica Neue UltraLight" panose="02000206000000020004" pitchFamily="2" charset="0"/>
                <a:ea typeface="Helvetica Neue UltraLight" panose="02000206000000020004" pitchFamily="2" charset="0"/>
              </a:rPr>
              <a:t> </a:t>
            </a:r>
            <a:r>
              <a:rPr lang="en-GB" sz="1000" b="0" i="0">
                <a:solidFill>
                  <a:schemeClr val="tx1"/>
                </a:solidFill>
                <a:latin typeface="Arial" panose="020B0604020202020204" pitchFamily="34" charset="0"/>
                <a:ea typeface="Helvetica Neue Thin" panose="020B0403020202020204" pitchFamily="34" charset="0"/>
                <a:cs typeface="Arial" panose="020B0604020202020204" pitchFamily="34" charset="0"/>
              </a:rPr>
              <a:t>intelligence</a:t>
            </a:r>
          </a:p>
        </p:txBody>
      </p:sp>
      <p:cxnSp>
        <p:nvCxnSpPr>
          <p:cNvPr id="14" name="Straight Connector 13">
            <a:extLst>
              <a:ext uri="{FF2B5EF4-FFF2-40B4-BE49-F238E27FC236}">
                <a16:creationId xmlns:a16="http://schemas.microsoft.com/office/drawing/2014/main" id="{AB546CAA-7358-0DA5-002D-443820B17593}"/>
              </a:ext>
            </a:extLst>
          </p:cNvPr>
          <p:cNvCxnSpPr>
            <a:cxnSpLocks/>
          </p:cNvCxnSpPr>
          <p:nvPr userDrawn="1"/>
        </p:nvCxnSpPr>
        <p:spPr>
          <a:xfrm>
            <a:off x="27036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00148053-661C-1878-27DA-50B22FA392D2}"/>
              </a:ext>
            </a:extLst>
          </p:cNvPr>
          <p:cNvCxnSpPr>
            <a:cxnSpLocks/>
          </p:cNvCxnSpPr>
          <p:nvPr userDrawn="1"/>
        </p:nvCxnSpPr>
        <p:spPr>
          <a:xfrm>
            <a:off x="54900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DF0CE452-C855-0C56-0130-7FFC627A2009}"/>
              </a:ext>
            </a:extLst>
          </p:cNvPr>
          <p:cNvCxnSpPr>
            <a:cxnSpLocks/>
          </p:cNvCxnSpPr>
          <p:nvPr userDrawn="1"/>
        </p:nvCxnSpPr>
        <p:spPr>
          <a:xfrm>
            <a:off x="74124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EF81B579-3519-62E8-7C39-8031991E0EBC}"/>
              </a:ext>
            </a:extLst>
          </p:cNvPr>
          <p:cNvSpPr txBox="1"/>
          <p:nvPr userDrawn="1"/>
        </p:nvSpPr>
        <p:spPr>
          <a:xfrm>
            <a:off x="11682742" y="6458310"/>
            <a:ext cx="409669" cy="276999"/>
          </a:xfrm>
          <a:prstGeom prst="rect">
            <a:avLst/>
          </a:prstGeom>
          <a:noFill/>
        </p:spPr>
        <p:txBody>
          <a:bodyPr wrap="square" anchor="ctr">
            <a:spAutoFit/>
          </a:bodyPr>
          <a:lstStyle/>
          <a:p>
            <a:fld id="{562BA7E0-5F5E-EE41-AE8D-BD30ED9E17AD}" type="slidenum">
              <a:rPr lang="en-GB" sz="1200" smtClean="0">
                <a:solidFill>
                  <a:schemeClr val="tx1"/>
                </a:solidFill>
                <a:latin typeface="Arial" panose="020B0604020202020204" pitchFamily="34" charset="0"/>
                <a:cs typeface="Arial" panose="020B0604020202020204" pitchFamily="34" charset="0"/>
              </a:rPr>
              <a:pPr/>
              <a:t>‹#›</a:t>
            </a:fld>
            <a:endParaRPr lang="en-GB" sz="1200">
              <a:solidFill>
                <a:schemeClr val="tx1"/>
              </a:solidFill>
              <a:latin typeface="Arial" panose="020B0604020202020204" pitchFamily="34" charset="0"/>
              <a:cs typeface="Arial" panose="020B0604020202020204" pitchFamily="34" charset="0"/>
            </a:endParaRPr>
          </a:p>
        </p:txBody>
      </p:sp>
      <p:pic>
        <p:nvPicPr>
          <p:cNvPr id="19" name="Picture 18" descr="A logo on a black background&#10;&#10;Description automatically generated">
            <a:extLst>
              <a:ext uri="{FF2B5EF4-FFF2-40B4-BE49-F238E27FC236}">
                <a16:creationId xmlns:a16="http://schemas.microsoft.com/office/drawing/2014/main" id="{C0F5C329-0EEB-0B51-D6DA-616C688658C9}"/>
              </a:ext>
            </a:extLst>
          </p:cNvPr>
          <p:cNvPicPr>
            <a:picLocks noChangeAspect="1"/>
          </p:cNvPicPr>
          <p:nvPr userDrawn="1"/>
        </p:nvPicPr>
        <p:blipFill rotWithShape="1">
          <a:blip r:embed="rId7"/>
          <a:srcRect l="7819" t="33017" r="74362" b="36885"/>
          <a:stretch/>
        </p:blipFill>
        <p:spPr>
          <a:xfrm>
            <a:off x="263816" y="329400"/>
            <a:ext cx="682031" cy="648000"/>
          </a:xfrm>
          <a:prstGeom prst="rect">
            <a:avLst/>
          </a:prstGeom>
        </p:spPr>
      </p:pic>
      <p:sp>
        <p:nvSpPr>
          <p:cNvPr id="3" name="Footer Placeholder 4">
            <a:extLst>
              <a:ext uri="{FF2B5EF4-FFF2-40B4-BE49-F238E27FC236}">
                <a16:creationId xmlns:a16="http://schemas.microsoft.com/office/drawing/2014/main" id="{F9C4B2B8-F44A-8FDA-C1AD-6424EE0D5B90}"/>
              </a:ext>
            </a:extLst>
          </p:cNvPr>
          <p:cNvSpPr>
            <a:spLocks noGrp="1"/>
          </p:cNvSpPr>
          <p:nvPr>
            <p:ph type="ftr" sz="quarter" idx="3"/>
          </p:nvPr>
        </p:nvSpPr>
        <p:spPr>
          <a:xfrm>
            <a:off x="7350369" y="6429964"/>
            <a:ext cx="3176758" cy="309600"/>
          </a:xfrm>
          <a:prstGeom prst="rect">
            <a:avLst/>
          </a:prstGeom>
          <a:ln>
            <a:noFill/>
          </a:ln>
        </p:spPr>
        <p:txBody>
          <a:bodyPr vert="horz" lIns="91440" tIns="45720" rIns="91440" bIns="45720" rtlCol="0" anchor="ctr"/>
          <a:lstStyle>
            <a:lvl1pPr algn="l">
              <a:defRPr sz="1000" b="0" i="0">
                <a:solidFill>
                  <a:schemeClr val="tx1"/>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Battery Value Chain Outlook</a:t>
            </a:r>
            <a:endParaRPr lang="en-GB"/>
          </a:p>
        </p:txBody>
      </p:sp>
      <p:sp>
        <p:nvSpPr>
          <p:cNvPr id="7" name="TextBox 6">
            <a:extLst>
              <a:ext uri="{FF2B5EF4-FFF2-40B4-BE49-F238E27FC236}">
                <a16:creationId xmlns:a16="http://schemas.microsoft.com/office/drawing/2014/main" id="{61C21230-0854-6359-BC4D-8832DDBED263}"/>
              </a:ext>
            </a:extLst>
          </p:cNvPr>
          <p:cNvSpPr txBox="1"/>
          <p:nvPr userDrawn="1"/>
        </p:nvSpPr>
        <p:spPr>
          <a:xfrm>
            <a:off x="5476126" y="6429964"/>
            <a:ext cx="1286726" cy="276999"/>
          </a:xfrm>
          <a:prstGeom prst="rect">
            <a:avLst/>
          </a:prstGeom>
          <a:noFill/>
          <a:ln>
            <a:noFill/>
          </a:ln>
        </p:spPr>
        <p:txBody>
          <a:bodyPr wrap="square">
            <a:spAutoFit/>
          </a:bodyPr>
          <a:lstStyle/>
          <a:p>
            <a:pPr algn="ctr"/>
            <a:r>
              <a:rPr lang="en-GB" sz="1200" b="0" i="1">
                <a:solidFill>
                  <a:schemeClr val="tx1">
                    <a:lumMod val="50000"/>
                  </a:schemeClr>
                </a:solidFill>
                <a:latin typeface="Garamond" panose="02020404030301010803" pitchFamily="18" charset="0"/>
                <a:ea typeface="Helvetica Neue Thin" panose="020B0403020202020204" pitchFamily="34" charset="0"/>
                <a:cs typeface="Arial" panose="020B0604020202020204" pitchFamily="34" charset="0"/>
              </a:rPr>
              <a:t>March 2025</a:t>
            </a:r>
          </a:p>
        </p:txBody>
      </p:sp>
    </p:spTree>
    <p:extLst>
      <p:ext uri="{BB962C8B-B14F-4D97-AF65-F5344CB8AC3E}">
        <p14:creationId xmlns:p14="http://schemas.microsoft.com/office/powerpoint/2010/main" val="216614354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581E154-12C6-B32E-8C4E-90F758005B0D}"/>
              </a:ext>
            </a:extLst>
          </p:cNvPr>
          <p:cNvGraphicFramePr>
            <a:graphicFrameLocks noChangeAspect="1"/>
          </p:cNvGraphicFramePr>
          <p:nvPr userDrawn="1">
            <p:custDataLst>
              <p:tags r:id="rId2"/>
            </p:custDataLst>
            <p:extLst>
              <p:ext uri="{D42A27DB-BD31-4B8C-83A1-F6EECF244321}">
                <p14:modId xmlns:p14="http://schemas.microsoft.com/office/powerpoint/2010/main" val="620071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4" imgW="351" imgH="351" progId="TCLayout.ActiveDocument.1">
                  <p:embed/>
                </p:oleObj>
              </mc:Choice>
              <mc:Fallback>
                <p:oleObj name="think-cell Slide" r:id="rId4" imgW="351" imgH="351" progId="TCLayout.ActiveDocument.1">
                  <p:embed/>
                  <p:pic>
                    <p:nvPicPr>
                      <p:cNvPr id="5" name="Object 4" hidden="1">
                        <a:extLst>
                          <a:ext uri="{FF2B5EF4-FFF2-40B4-BE49-F238E27FC236}">
                            <a16:creationId xmlns:a16="http://schemas.microsoft.com/office/drawing/2014/main" id="{E581E154-12C6-B32E-8C4E-90F758005B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Picture Placeholder 5">
            <a:extLst>
              <a:ext uri="{FF2B5EF4-FFF2-40B4-BE49-F238E27FC236}">
                <a16:creationId xmlns:a16="http://schemas.microsoft.com/office/drawing/2014/main" id="{36DA5A59-BF83-DE0C-5917-402DFEFB8C38}"/>
              </a:ext>
            </a:extLst>
          </p:cNvPr>
          <p:cNvSpPr>
            <a:spLocks noGrp="1" noChangeAspect="1"/>
          </p:cNvSpPr>
          <p:nvPr>
            <p:ph type="pic" sz="quarter" idx="18" hasCustomPrompt="1"/>
          </p:nvPr>
        </p:nvSpPr>
        <p:spPr>
          <a:xfrm>
            <a:off x="422367" y="1549106"/>
            <a:ext cx="2738486" cy="1224000"/>
          </a:xfrm>
        </p:spPr>
        <p:txBody>
          <a:bodyPr/>
          <a:lstStyle>
            <a:lvl1pPr algn="ctr">
              <a:defRPr b="0"/>
            </a:lvl1pPr>
          </a:lstStyle>
          <a:p>
            <a:r>
              <a:rPr lang="en-US"/>
              <a:t>Drag n drop section slide</a:t>
            </a:r>
            <a:endParaRPr lang="en-GB"/>
          </a:p>
        </p:txBody>
      </p:sp>
      <p:sp>
        <p:nvSpPr>
          <p:cNvPr id="7" name="Picture Placeholder 7">
            <a:extLst>
              <a:ext uri="{FF2B5EF4-FFF2-40B4-BE49-F238E27FC236}">
                <a16:creationId xmlns:a16="http://schemas.microsoft.com/office/drawing/2014/main" id="{50662AE9-18DD-C207-B02D-8ABAE44B1083}"/>
              </a:ext>
            </a:extLst>
          </p:cNvPr>
          <p:cNvSpPr>
            <a:spLocks noGrp="1" noChangeAspect="1"/>
          </p:cNvSpPr>
          <p:nvPr>
            <p:ph type="pic" sz="quarter" idx="19" hasCustomPrompt="1"/>
          </p:nvPr>
        </p:nvSpPr>
        <p:spPr>
          <a:xfrm>
            <a:off x="3254114" y="1549106"/>
            <a:ext cx="2839907" cy="1224000"/>
          </a:xfrm>
        </p:spPr>
        <p:txBody>
          <a:bodyPr/>
          <a:lstStyle>
            <a:lvl1pPr algn="ctr">
              <a:defRPr b="0"/>
            </a:lvl1pPr>
          </a:lstStyle>
          <a:p>
            <a:r>
              <a:rPr lang="en-US"/>
              <a:t>Drag n drop section slide</a:t>
            </a:r>
            <a:endParaRPr lang="en-GB"/>
          </a:p>
        </p:txBody>
      </p:sp>
      <p:sp>
        <p:nvSpPr>
          <p:cNvPr id="8" name="Picture Placeholder 7">
            <a:extLst>
              <a:ext uri="{FF2B5EF4-FFF2-40B4-BE49-F238E27FC236}">
                <a16:creationId xmlns:a16="http://schemas.microsoft.com/office/drawing/2014/main" id="{8C715289-9D6C-7FA2-0770-999CDEF06C80}"/>
              </a:ext>
            </a:extLst>
          </p:cNvPr>
          <p:cNvSpPr>
            <a:spLocks noGrp="1" noChangeAspect="1"/>
          </p:cNvSpPr>
          <p:nvPr>
            <p:ph type="pic" sz="quarter" idx="20" hasCustomPrompt="1"/>
          </p:nvPr>
        </p:nvSpPr>
        <p:spPr>
          <a:xfrm>
            <a:off x="6184145" y="1549106"/>
            <a:ext cx="2839907" cy="1224000"/>
          </a:xfrm>
        </p:spPr>
        <p:txBody>
          <a:bodyPr/>
          <a:lstStyle>
            <a:lvl1pPr algn="ctr">
              <a:defRPr b="0"/>
            </a:lvl1pPr>
          </a:lstStyle>
          <a:p>
            <a:r>
              <a:rPr lang="en-US"/>
              <a:t>Drag n drop section slide</a:t>
            </a:r>
            <a:endParaRPr lang="en-GB"/>
          </a:p>
        </p:txBody>
      </p:sp>
      <p:sp>
        <p:nvSpPr>
          <p:cNvPr id="9" name="Picture Placeholder 7">
            <a:extLst>
              <a:ext uri="{FF2B5EF4-FFF2-40B4-BE49-F238E27FC236}">
                <a16:creationId xmlns:a16="http://schemas.microsoft.com/office/drawing/2014/main" id="{81D0CD92-68B7-E0B2-74A8-FBFD382598FA}"/>
              </a:ext>
            </a:extLst>
          </p:cNvPr>
          <p:cNvSpPr>
            <a:spLocks noGrp="1" noChangeAspect="1"/>
          </p:cNvSpPr>
          <p:nvPr>
            <p:ph type="pic" sz="quarter" idx="21" hasCustomPrompt="1"/>
          </p:nvPr>
        </p:nvSpPr>
        <p:spPr>
          <a:xfrm>
            <a:off x="9114177" y="1549106"/>
            <a:ext cx="2839907" cy="1224000"/>
          </a:xfrm>
        </p:spPr>
        <p:txBody>
          <a:bodyPr/>
          <a:lstStyle>
            <a:lvl1pPr algn="ctr">
              <a:defRPr b="0"/>
            </a:lvl1pPr>
          </a:lstStyle>
          <a:p>
            <a:r>
              <a:rPr lang="en-US"/>
              <a:t>Drag n drop section slide</a:t>
            </a:r>
            <a:endParaRPr lang="en-GB"/>
          </a:p>
        </p:txBody>
      </p:sp>
      <p:pic>
        <p:nvPicPr>
          <p:cNvPr id="3" name="Picture 2">
            <a:extLst>
              <a:ext uri="{FF2B5EF4-FFF2-40B4-BE49-F238E27FC236}">
                <a16:creationId xmlns:a16="http://schemas.microsoft.com/office/drawing/2014/main" id="{1E9453E1-634C-4A45-A6C2-46A9F05D3C6D}"/>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22368" y="6210000"/>
            <a:ext cx="606504" cy="576000"/>
          </a:xfrm>
          <a:prstGeom prst="rect">
            <a:avLst/>
          </a:prstGeom>
        </p:spPr>
      </p:pic>
      <p:sp>
        <p:nvSpPr>
          <p:cNvPr id="16" name="Title 1">
            <a:extLst>
              <a:ext uri="{FF2B5EF4-FFF2-40B4-BE49-F238E27FC236}">
                <a16:creationId xmlns:a16="http://schemas.microsoft.com/office/drawing/2014/main" id="{F687563E-6141-7CD2-D650-D6DAC2DBC9D8}"/>
              </a:ext>
            </a:extLst>
          </p:cNvPr>
          <p:cNvSpPr>
            <a:spLocks noGrp="1"/>
          </p:cNvSpPr>
          <p:nvPr>
            <p:ph type="ctrTitle" hasCustomPrompt="1"/>
          </p:nvPr>
        </p:nvSpPr>
        <p:spPr>
          <a:xfrm>
            <a:off x="1076400" y="329400"/>
            <a:ext cx="10386000" cy="648000"/>
          </a:xfrm>
          <a:prstGeom prst="rect">
            <a:avLst/>
          </a:prstGeom>
        </p:spPr>
        <p:txBody>
          <a:bodyPr vert="horz" lIns="36000" anchor="ctr" anchorCtr="0">
            <a:normAutofit/>
          </a:bodyPr>
          <a:lstStyle>
            <a:lvl1pPr algn="l">
              <a:defRPr sz="2400" b="0">
                <a:solidFill>
                  <a:schemeClr val="accent6"/>
                </a:solidFill>
              </a:defRPr>
            </a:lvl1pPr>
          </a:lstStyle>
          <a:p>
            <a:r>
              <a:rPr lang="en-GB"/>
              <a:t>Contents</a:t>
            </a:r>
          </a:p>
        </p:txBody>
      </p:sp>
      <p:cxnSp>
        <p:nvCxnSpPr>
          <p:cNvPr id="18" name="Straight Connector 17">
            <a:extLst>
              <a:ext uri="{FF2B5EF4-FFF2-40B4-BE49-F238E27FC236}">
                <a16:creationId xmlns:a16="http://schemas.microsoft.com/office/drawing/2014/main" id="{7F719F48-EE31-3F7E-3424-7AC85470B969}"/>
              </a:ext>
            </a:extLst>
          </p:cNvPr>
          <p:cNvCxnSpPr>
            <a:cxnSpLocks/>
          </p:cNvCxnSpPr>
          <p:nvPr userDrawn="1"/>
        </p:nvCxnSpPr>
        <p:spPr>
          <a:xfrm>
            <a:off x="2702950"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4BBE08DB-2638-CD5E-4BBC-BB24AEFF1FF9}"/>
              </a:ext>
            </a:extLst>
          </p:cNvPr>
          <p:cNvCxnSpPr>
            <a:cxnSpLocks/>
          </p:cNvCxnSpPr>
          <p:nvPr userDrawn="1"/>
        </p:nvCxnSpPr>
        <p:spPr>
          <a:xfrm>
            <a:off x="5488473"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5024E3DE-3AE9-ED05-E144-EB3C0635DA95}"/>
              </a:ext>
            </a:extLst>
          </p:cNvPr>
          <p:cNvCxnSpPr>
            <a:cxnSpLocks/>
          </p:cNvCxnSpPr>
          <p:nvPr userDrawn="1"/>
        </p:nvCxnSpPr>
        <p:spPr>
          <a:xfrm>
            <a:off x="7411982"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6BA4DEDC-C5AB-F3EA-4ABF-927FBEDCAB98}"/>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tx1">
                    <a:lumMod val="50000"/>
                  </a:schemeClr>
                </a:solidFill>
                <a:latin typeface="Garamond" panose="02020404030301010803" pitchFamily="18" charset="0"/>
                <a:ea typeface="Helvetica Neue UltraLight" panose="02000206000000020004" pitchFamily="2" charset="0"/>
              </a:rPr>
              <a:t>expert</a:t>
            </a:r>
            <a:r>
              <a:rPr lang="en-GB" sz="1000" b="0" i="0">
                <a:solidFill>
                  <a:schemeClr val="tx1">
                    <a:lumMod val="50000"/>
                  </a:schemeClr>
                </a:solidFill>
                <a:latin typeface="Helvetica Neue UltraLight" panose="02000206000000020004" pitchFamily="2" charset="0"/>
                <a:ea typeface="Helvetica Neue UltraLight" panose="02000206000000020004" pitchFamily="2" charset="0"/>
              </a:rPr>
              <a:t> </a:t>
            </a:r>
            <a:r>
              <a:rPr lang="en-GB"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2" name="Picture Placeholder 5">
            <a:extLst>
              <a:ext uri="{FF2B5EF4-FFF2-40B4-BE49-F238E27FC236}">
                <a16:creationId xmlns:a16="http://schemas.microsoft.com/office/drawing/2014/main" id="{E31E5DA5-564E-9086-9805-71AE5E0941E0}"/>
              </a:ext>
            </a:extLst>
          </p:cNvPr>
          <p:cNvSpPr>
            <a:spLocks noGrp="1" noChangeAspect="1"/>
          </p:cNvSpPr>
          <p:nvPr>
            <p:ph type="pic" sz="quarter" idx="22" hasCustomPrompt="1"/>
          </p:nvPr>
        </p:nvSpPr>
        <p:spPr>
          <a:xfrm>
            <a:off x="415742" y="2900276"/>
            <a:ext cx="2738486" cy="1224000"/>
          </a:xfrm>
        </p:spPr>
        <p:txBody>
          <a:bodyPr/>
          <a:lstStyle>
            <a:lvl1pPr algn="ctr">
              <a:defRPr b="0"/>
            </a:lvl1pPr>
          </a:lstStyle>
          <a:p>
            <a:r>
              <a:rPr lang="en-US"/>
              <a:t>Drag n drop section slide</a:t>
            </a:r>
            <a:endParaRPr lang="en-GB"/>
          </a:p>
        </p:txBody>
      </p:sp>
      <p:sp>
        <p:nvSpPr>
          <p:cNvPr id="17" name="Picture Placeholder 7">
            <a:extLst>
              <a:ext uri="{FF2B5EF4-FFF2-40B4-BE49-F238E27FC236}">
                <a16:creationId xmlns:a16="http://schemas.microsoft.com/office/drawing/2014/main" id="{9C8C18EE-D4A7-5652-5C56-CA3376D5792A}"/>
              </a:ext>
            </a:extLst>
          </p:cNvPr>
          <p:cNvSpPr>
            <a:spLocks noGrp="1" noChangeAspect="1"/>
          </p:cNvSpPr>
          <p:nvPr>
            <p:ph type="pic" sz="quarter" idx="23" hasCustomPrompt="1"/>
          </p:nvPr>
        </p:nvSpPr>
        <p:spPr>
          <a:xfrm>
            <a:off x="3247489" y="2900276"/>
            <a:ext cx="2839907" cy="1224000"/>
          </a:xfrm>
        </p:spPr>
        <p:txBody>
          <a:bodyPr/>
          <a:lstStyle>
            <a:lvl1pPr algn="ctr">
              <a:defRPr b="0"/>
            </a:lvl1pPr>
          </a:lstStyle>
          <a:p>
            <a:r>
              <a:rPr lang="en-US"/>
              <a:t>Drag n drop section slide</a:t>
            </a:r>
            <a:endParaRPr lang="en-GB"/>
          </a:p>
        </p:txBody>
      </p:sp>
      <p:sp>
        <p:nvSpPr>
          <p:cNvPr id="22" name="Picture Placeholder 7">
            <a:extLst>
              <a:ext uri="{FF2B5EF4-FFF2-40B4-BE49-F238E27FC236}">
                <a16:creationId xmlns:a16="http://schemas.microsoft.com/office/drawing/2014/main" id="{C611C755-0FB9-25C3-F957-E7E7490CC8F1}"/>
              </a:ext>
            </a:extLst>
          </p:cNvPr>
          <p:cNvSpPr>
            <a:spLocks noGrp="1" noChangeAspect="1"/>
          </p:cNvSpPr>
          <p:nvPr>
            <p:ph type="pic" sz="quarter" idx="24" hasCustomPrompt="1"/>
          </p:nvPr>
        </p:nvSpPr>
        <p:spPr>
          <a:xfrm>
            <a:off x="6177520" y="2900276"/>
            <a:ext cx="2839907" cy="1224000"/>
          </a:xfrm>
        </p:spPr>
        <p:txBody>
          <a:bodyPr/>
          <a:lstStyle>
            <a:lvl1pPr algn="ctr">
              <a:defRPr b="0"/>
            </a:lvl1pPr>
          </a:lstStyle>
          <a:p>
            <a:r>
              <a:rPr lang="en-US"/>
              <a:t>Drag n drop section slide</a:t>
            </a:r>
            <a:endParaRPr lang="en-GB"/>
          </a:p>
        </p:txBody>
      </p:sp>
      <p:sp>
        <p:nvSpPr>
          <p:cNvPr id="23" name="Picture Placeholder 7">
            <a:extLst>
              <a:ext uri="{FF2B5EF4-FFF2-40B4-BE49-F238E27FC236}">
                <a16:creationId xmlns:a16="http://schemas.microsoft.com/office/drawing/2014/main" id="{623E7F9A-E663-E8EA-3D49-8CA69F84BEF7}"/>
              </a:ext>
            </a:extLst>
          </p:cNvPr>
          <p:cNvSpPr>
            <a:spLocks noGrp="1" noChangeAspect="1"/>
          </p:cNvSpPr>
          <p:nvPr>
            <p:ph type="pic" sz="quarter" idx="25" hasCustomPrompt="1"/>
          </p:nvPr>
        </p:nvSpPr>
        <p:spPr>
          <a:xfrm>
            <a:off x="9107552" y="2900276"/>
            <a:ext cx="2839907" cy="1224000"/>
          </a:xfrm>
        </p:spPr>
        <p:txBody>
          <a:bodyPr/>
          <a:lstStyle>
            <a:lvl1pPr algn="ctr">
              <a:defRPr b="0"/>
            </a:lvl1pPr>
          </a:lstStyle>
          <a:p>
            <a:r>
              <a:rPr lang="en-US"/>
              <a:t>Drag n drop section slide</a:t>
            </a:r>
            <a:endParaRPr lang="en-GB"/>
          </a:p>
        </p:txBody>
      </p:sp>
      <p:sp>
        <p:nvSpPr>
          <p:cNvPr id="24" name="Picture Placeholder 5">
            <a:extLst>
              <a:ext uri="{FF2B5EF4-FFF2-40B4-BE49-F238E27FC236}">
                <a16:creationId xmlns:a16="http://schemas.microsoft.com/office/drawing/2014/main" id="{1087F912-FFF1-F6EE-0BDB-72B934075D45}"/>
              </a:ext>
            </a:extLst>
          </p:cNvPr>
          <p:cNvSpPr>
            <a:spLocks noGrp="1" noChangeAspect="1"/>
          </p:cNvSpPr>
          <p:nvPr>
            <p:ph type="pic" sz="quarter" idx="26" hasCustomPrompt="1"/>
          </p:nvPr>
        </p:nvSpPr>
        <p:spPr>
          <a:xfrm>
            <a:off x="448873" y="4242328"/>
            <a:ext cx="2738486" cy="1224000"/>
          </a:xfrm>
        </p:spPr>
        <p:txBody>
          <a:bodyPr/>
          <a:lstStyle>
            <a:lvl1pPr algn="ctr">
              <a:defRPr b="0"/>
            </a:lvl1pPr>
          </a:lstStyle>
          <a:p>
            <a:r>
              <a:rPr lang="en-US"/>
              <a:t>Drag n drop section slide</a:t>
            </a:r>
            <a:endParaRPr lang="en-GB"/>
          </a:p>
        </p:txBody>
      </p:sp>
      <p:sp>
        <p:nvSpPr>
          <p:cNvPr id="25" name="Picture Placeholder 7">
            <a:extLst>
              <a:ext uri="{FF2B5EF4-FFF2-40B4-BE49-F238E27FC236}">
                <a16:creationId xmlns:a16="http://schemas.microsoft.com/office/drawing/2014/main" id="{7AEB131A-D0CA-47B3-6D4D-B1ADEF9171B2}"/>
              </a:ext>
            </a:extLst>
          </p:cNvPr>
          <p:cNvSpPr>
            <a:spLocks noGrp="1" noChangeAspect="1"/>
          </p:cNvSpPr>
          <p:nvPr>
            <p:ph type="pic" sz="quarter" idx="27" hasCustomPrompt="1"/>
          </p:nvPr>
        </p:nvSpPr>
        <p:spPr>
          <a:xfrm>
            <a:off x="3280620" y="4242328"/>
            <a:ext cx="2839907" cy="1224000"/>
          </a:xfrm>
        </p:spPr>
        <p:txBody>
          <a:bodyPr/>
          <a:lstStyle>
            <a:lvl1pPr algn="ctr">
              <a:defRPr b="0"/>
            </a:lvl1pPr>
          </a:lstStyle>
          <a:p>
            <a:r>
              <a:rPr lang="en-US"/>
              <a:t>Drag n drop section slide</a:t>
            </a:r>
            <a:endParaRPr lang="en-GB"/>
          </a:p>
        </p:txBody>
      </p:sp>
      <p:sp>
        <p:nvSpPr>
          <p:cNvPr id="26" name="Picture Placeholder 7">
            <a:extLst>
              <a:ext uri="{FF2B5EF4-FFF2-40B4-BE49-F238E27FC236}">
                <a16:creationId xmlns:a16="http://schemas.microsoft.com/office/drawing/2014/main" id="{A308A6DB-E97A-0D6C-D897-21551C0ECDEE}"/>
              </a:ext>
            </a:extLst>
          </p:cNvPr>
          <p:cNvSpPr>
            <a:spLocks noGrp="1" noChangeAspect="1"/>
          </p:cNvSpPr>
          <p:nvPr>
            <p:ph type="pic" sz="quarter" idx="28" hasCustomPrompt="1"/>
          </p:nvPr>
        </p:nvSpPr>
        <p:spPr>
          <a:xfrm>
            <a:off x="6210651" y="4242328"/>
            <a:ext cx="2839907" cy="1224000"/>
          </a:xfrm>
        </p:spPr>
        <p:txBody>
          <a:bodyPr/>
          <a:lstStyle>
            <a:lvl1pPr algn="ctr">
              <a:defRPr b="0"/>
            </a:lvl1pPr>
          </a:lstStyle>
          <a:p>
            <a:r>
              <a:rPr lang="en-US"/>
              <a:t>Drag n drop section slide</a:t>
            </a:r>
            <a:endParaRPr lang="en-GB"/>
          </a:p>
        </p:txBody>
      </p:sp>
      <p:sp>
        <p:nvSpPr>
          <p:cNvPr id="27" name="Picture Placeholder 7">
            <a:extLst>
              <a:ext uri="{FF2B5EF4-FFF2-40B4-BE49-F238E27FC236}">
                <a16:creationId xmlns:a16="http://schemas.microsoft.com/office/drawing/2014/main" id="{CD9BE19E-1E1D-7AA2-A17F-612AFE31BB53}"/>
              </a:ext>
            </a:extLst>
          </p:cNvPr>
          <p:cNvSpPr>
            <a:spLocks noGrp="1" noChangeAspect="1"/>
          </p:cNvSpPr>
          <p:nvPr>
            <p:ph type="pic" sz="quarter" idx="29" hasCustomPrompt="1"/>
          </p:nvPr>
        </p:nvSpPr>
        <p:spPr>
          <a:xfrm>
            <a:off x="9140683" y="4242328"/>
            <a:ext cx="2839907" cy="1224000"/>
          </a:xfrm>
        </p:spPr>
        <p:txBody>
          <a:bodyPr/>
          <a:lstStyle>
            <a:lvl1pPr algn="ctr">
              <a:defRPr b="0"/>
            </a:lvl1pPr>
          </a:lstStyle>
          <a:p>
            <a:r>
              <a:rPr lang="en-US"/>
              <a:t>Drag n drop section slide</a:t>
            </a:r>
            <a:endParaRPr lang="en-GB"/>
          </a:p>
        </p:txBody>
      </p:sp>
      <p:sp>
        <p:nvSpPr>
          <p:cNvPr id="10" name="TextBox 9">
            <a:extLst>
              <a:ext uri="{FF2B5EF4-FFF2-40B4-BE49-F238E27FC236}">
                <a16:creationId xmlns:a16="http://schemas.microsoft.com/office/drawing/2014/main" id="{F456025F-3F39-3336-9925-3C93CDDB158E}"/>
              </a:ext>
            </a:extLst>
          </p:cNvPr>
          <p:cNvSpPr txBox="1"/>
          <p:nvPr userDrawn="1"/>
        </p:nvSpPr>
        <p:spPr>
          <a:xfrm>
            <a:off x="11682742" y="6458310"/>
            <a:ext cx="409669" cy="276999"/>
          </a:xfrm>
          <a:prstGeom prst="rect">
            <a:avLst/>
          </a:prstGeom>
          <a:noFill/>
        </p:spPr>
        <p:txBody>
          <a:bodyPr wrap="square" anchor="ctr">
            <a:spAutoFit/>
          </a:bodyPr>
          <a:lstStyle/>
          <a:p>
            <a:fld id="{562BA7E0-5F5E-EE41-AE8D-BD30ED9E17AD}" type="slidenum">
              <a:rPr lang="en-GB" sz="1200" smtClean="0">
                <a:solidFill>
                  <a:schemeClr val="tx1"/>
                </a:solidFill>
                <a:latin typeface="Arial" panose="020B0604020202020204" pitchFamily="34" charset="0"/>
                <a:cs typeface="Arial" panose="020B0604020202020204" pitchFamily="34" charset="0"/>
              </a:rPr>
              <a:pPr/>
              <a:t>‹#›</a:t>
            </a:fld>
            <a:endParaRPr lang="en-GB" sz="1200">
              <a:solidFill>
                <a:schemeClr val="tx1"/>
              </a:solidFill>
              <a:latin typeface="Arial" panose="020B0604020202020204" pitchFamily="34" charset="0"/>
              <a:cs typeface="Arial" panose="020B0604020202020204" pitchFamily="34" charset="0"/>
            </a:endParaRPr>
          </a:p>
        </p:txBody>
      </p:sp>
      <p:pic>
        <p:nvPicPr>
          <p:cNvPr id="12" name="Picture 11" descr="A logo on a black background&#10;&#10;Description automatically generated">
            <a:extLst>
              <a:ext uri="{FF2B5EF4-FFF2-40B4-BE49-F238E27FC236}">
                <a16:creationId xmlns:a16="http://schemas.microsoft.com/office/drawing/2014/main" id="{4284300E-D272-2A48-0ADB-580BE8448E2D}"/>
              </a:ext>
            </a:extLst>
          </p:cNvPr>
          <p:cNvPicPr>
            <a:picLocks noChangeAspect="1"/>
          </p:cNvPicPr>
          <p:nvPr userDrawn="1"/>
        </p:nvPicPr>
        <p:blipFill rotWithShape="1">
          <a:blip r:embed="rId7"/>
          <a:srcRect l="7819" t="33017" r="74362" b="36885"/>
          <a:stretch/>
        </p:blipFill>
        <p:spPr>
          <a:xfrm>
            <a:off x="263816" y="329400"/>
            <a:ext cx="682031" cy="648000"/>
          </a:xfrm>
          <a:prstGeom prst="rect">
            <a:avLst/>
          </a:prstGeom>
        </p:spPr>
      </p:pic>
      <p:sp>
        <p:nvSpPr>
          <p:cNvPr id="11" name="Footer Placeholder 4">
            <a:extLst>
              <a:ext uri="{FF2B5EF4-FFF2-40B4-BE49-F238E27FC236}">
                <a16:creationId xmlns:a16="http://schemas.microsoft.com/office/drawing/2014/main" id="{BAD39FEC-C47C-3952-05B1-B2EC1C7825DF}"/>
              </a:ext>
            </a:extLst>
          </p:cNvPr>
          <p:cNvSpPr>
            <a:spLocks noGrp="1"/>
          </p:cNvSpPr>
          <p:nvPr>
            <p:ph type="ftr" sz="quarter" idx="3"/>
          </p:nvPr>
        </p:nvSpPr>
        <p:spPr>
          <a:xfrm>
            <a:off x="7350369" y="6429964"/>
            <a:ext cx="3176758" cy="309600"/>
          </a:xfrm>
          <a:prstGeom prst="rect">
            <a:avLst/>
          </a:prstGeom>
          <a:ln>
            <a:noFill/>
          </a:ln>
        </p:spPr>
        <p:txBody>
          <a:bodyPr vert="horz" lIns="91440" tIns="45720" rIns="91440" bIns="45720" rtlCol="0" anchor="ctr"/>
          <a:lstStyle>
            <a:lvl1pPr algn="l">
              <a:defRPr sz="1000" b="0" i="0">
                <a:solidFill>
                  <a:schemeClr val="tx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Battery Value Chain Outlook</a:t>
            </a:r>
          </a:p>
        </p:txBody>
      </p:sp>
      <p:sp>
        <p:nvSpPr>
          <p:cNvPr id="13" name="TextBox 12">
            <a:extLst>
              <a:ext uri="{FF2B5EF4-FFF2-40B4-BE49-F238E27FC236}">
                <a16:creationId xmlns:a16="http://schemas.microsoft.com/office/drawing/2014/main" id="{4AA0C791-0C91-D34F-A875-09C82EEA0F22}"/>
              </a:ext>
            </a:extLst>
          </p:cNvPr>
          <p:cNvSpPr txBox="1"/>
          <p:nvPr userDrawn="1"/>
        </p:nvSpPr>
        <p:spPr>
          <a:xfrm>
            <a:off x="5476126" y="6429964"/>
            <a:ext cx="1286726" cy="276999"/>
          </a:xfrm>
          <a:prstGeom prst="rect">
            <a:avLst/>
          </a:prstGeom>
          <a:noFill/>
          <a:ln>
            <a:noFill/>
          </a:ln>
        </p:spPr>
        <p:txBody>
          <a:bodyPr wrap="square">
            <a:spAutoFit/>
          </a:bodyPr>
          <a:lstStyle/>
          <a:p>
            <a:pPr algn="ctr"/>
            <a:r>
              <a:rPr lang="en-GB" sz="1200" b="0" i="1">
                <a:solidFill>
                  <a:schemeClr val="tx1">
                    <a:lumMod val="50000"/>
                  </a:schemeClr>
                </a:solidFill>
                <a:latin typeface="Garamond" panose="02020404030301010803" pitchFamily="18" charset="0"/>
                <a:ea typeface="Helvetica Neue Thin" panose="020B0403020202020204" pitchFamily="34" charset="0"/>
                <a:cs typeface="Arial" panose="020B0604020202020204" pitchFamily="34" charset="0"/>
              </a:rPr>
              <a:t>M</a:t>
            </a:r>
            <a:r>
              <a:rPr lang="en-US" altLang="zh-CN" sz="1200" b="0" i="1">
                <a:solidFill>
                  <a:schemeClr val="tx1">
                    <a:lumMod val="50000"/>
                  </a:schemeClr>
                </a:solidFill>
                <a:latin typeface="Garamond" panose="02020404030301010803" pitchFamily="18" charset="0"/>
                <a:ea typeface="Helvetica Neue Thin" panose="020B0403020202020204" pitchFamily="34" charset="0"/>
                <a:cs typeface="Arial" panose="020B0604020202020204" pitchFamily="34" charset="0"/>
              </a:rPr>
              <a:t>arch</a:t>
            </a:r>
            <a:r>
              <a:rPr lang="en-GB" sz="1200" b="0" i="1">
                <a:solidFill>
                  <a:schemeClr val="tx1">
                    <a:lumMod val="50000"/>
                  </a:schemeClr>
                </a:solidFill>
                <a:latin typeface="Garamond" panose="02020404030301010803" pitchFamily="18" charset="0"/>
                <a:ea typeface="Helvetica Neue Thin" panose="020B0403020202020204" pitchFamily="34" charset="0"/>
                <a:cs typeface="Arial" panose="020B0604020202020204" pitchFamily="34" charset="0"/>
              </a:rPr>
              <a:t> 2025</a:t>
            </a:r>
          </a:p>
        </p:txBody>
      </p:sp>
    </p:spTree>
    <p:extLst>
      <p:ext uri="{BB962C8B-B14F-4D97-AF65-F5344CB8AC3E}">
        <p14:creationId xmlns:p14="http://schemas.microsoft.com/office/powerpoint/2010/main" val="1383281309"/>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 Content + Text Summ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399" y="324000"/>
            <a:ext cx="10714547"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2750" y="1259992"/>
            <a:ext cx="5683250" cy="288000"/>
          </a:xfrm>
          <a:noFill/>
        </p:spPr>
        <p:txBody>
          <a:bodyPr lIns="0">
            <a:noAutofit/>
          </a:bodyPr>
          <a:lstStyle>
            <a:lvl1pPr>
              <a:defRPr sz="1300">
                <a:solidFill>
                  <a:schemeClr val="accent6"/>
                </a:solidFill>
              </a:defRPr>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2750" y="1624192"/>
            <a:ext cx="5683250" cy="4284000"/>
          </a:xfrm>
          <a:noFill/>
        </p:spPr>
        <p:txBody>
          <a:bodyPr/>
          <a:lstStyle>
            <a:lvl1pPr algn="ctr">
              <a:defRPr b="0"/>
            </a:lvl1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p:nvPr>
        </p:nvSpPr>
        <p:spPr>
          <a:xfrm>
            <a:off x="6223000" y="1258504"/>
            <a:ext cx="5555461" cy="4927600"/>
          </a:xfrm>
          <a:noFill/>
        </p:spPr>
        <p:txBody>
          <a:bodyPr lIns="252000" tIns="252000" rIns="252000" bIns="252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5683250" cy="215999"/>
          </a:xfrm>
          <a:noFill/>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16" name="Footer Placeholder 4">
            <a:extLst>
              <a:ext uri="{FF2B5EF4-FFF2-40B4-BE49-F238E27FC236}">
                <a16:creationId xmlns:a16="http://schemas.microsoft.com/office/drawing/2014/main" id="{7BA15D20-E912-9A43-DF16-3BEC7804E12F}"/>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Battery Value Chain Outlook</a:t>
            </a:r>
          </a:p>
        </p:txBody>
      </p:sp>
    </p:spTree>
    <p:extLst>
      <p:ext uri="{BB962C8B-B14F-4D97-AF65-F5344CB8AC3E}">
        <p14:creationId xmlns:p14="http://schemas.microsoft.com/office/powerpoint/2010/main" val="1783414035"/>
      </p:ext>
    </p:extLst>
  </p:cSld>
  <p:clrMapOvr>
    <a:masterClrMapping/>
  </p:clrMapOvr>
  <p:extLst>
    <p:ext uri="{DCECCB84-F9BA-43D5-87BE-67443E8EF086}">
      <p15:sldGuideLst xmlns:p15="http://schemas.microsoft.com/office/powerpoint/2012/main">
        <p15:guide id="1" orient="horz" pos="1344">
          <p15:clr>
            <a:srgbClr val="5ACBF0"/>
          </p15:clr>
        </p15:guide>
        <p15:guide id="2" orient="horz" pos="3249">
          <p15:clr>
            <a:srgbClr val="5ACBF0"/>
          </p15:clr>
        </p15:guide>
        <p15:guide id="3" pos="3613">
          <p15:clr>
            <a:srgbClr val="5ACBF0"/>
          </p15:clr>
        </p15:guide>
        <p15:guide id="4" pos="710">
          <p15:clr>
            <a:srgbClr val="5ACBF0"/>
          </p15:clr>
        </p15:guide>
        <p15:guide id="5" orient="horz" pos="913">
          <p15:clr>
            <a:srgbClr val="F26B43"/>
          </p15:clr>
        </p15:guide>
        <p15:guide id="6" orient="horz" pos="3702">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Content + Text Summ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399" y="324000"/>
            <a:ext cx="10714547"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2750" y="1259992"/>
            <a:ext cx="5683250" cy="288000"/>
          </a:xfrm>
          <a:noFill/>
        </p:spPr>
        <p:txBody>
          <a:bodyPr lIns="0">
            <a:noAutofit/>
          </a:bodyPr>
          <a:lstStyle>
            <a:lvl1pPr>
              <a:defRPr sz="1300">
                <a:solidFill>
                  <a:schemeClr val="accent6"/>
                </a:solidFill>
              </a:defRPr>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2750" y="1624192"/>
            <a:ext cx="5683250" cy="4284000"/>
          </a:xfrm>
          <a:noFill/>
        </p:spPr>
        <p:txBody>
          <a:bodyPr/>
          <a:lstStyle>
            <a:lvl1pPr algn="ctr">
              <a:defRPr b="0"/>
            </a:lvl1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p:nvPr>
        </p:nvSpPr>
        <p:spPr>
          <a:xfrm>
            <a:off x="6223000" y="1258504"/>
            <a:ext cx="5555461" cy="4927600"/>
          </a:xfrm>
          <a:noFill/>
        </p:spPr>
        <p:txBody>
          <a:bodyPr lIns="252000" tIns="252000" rIns="252000" bIns="252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5683250" cy="215999"/>
          </a:xfrm>
          <a:noFill/>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16" name="Footer Placeholder 4">
            <a:extLst>
              <a:ext uri="{FF2B5EF4-FFF2-40B4-BE49-F238E27FC236}">
                <a16:creationId xmlns:a16="http://schemas.microsoft.com/office/drawing/2014/main" id="{7BA15D20-E912-9A43-DF16-3BEC7804E12F}"/>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Tree>
    <p:extLst>
      <p:ext uri="{BB962C8B-B14F-4D97-AF65-F5344CB8AC3E}">
        <p14:creationId xmlns:p14="http://schemas.microsoft.com/office/powerpoint/2010/main" val="189069087"/>
      </p:ext>
    </p:extLst>
  </p:cSld>
  <p:clrMapOvr>
    <a:masterClrMapping/>
  </p:clrMapOvr>
  <p:extLst>
    <p:ext uri="{DCECCB84-F9BA-43D5-87BE-67443E8EF086}">
      <p15:sldGuideLst xmlns:p15="http://schemas.microsoft.com/office/powerpoint/2012/main">
        <p15:guide id="1" orient="horz" pos="1344">
          <p15:clr>
            <a:srgbClr val="5ACBF0"/>
          </p15:clr>
        </p15:guide>
        <p15:guide id="2" orient="horz" pos="3249">
          <p15:clr>
            <a:srgbClr val="5ACBF0"/>
          </p15:clr>
        </p15:guide>
        <p15:guide id="3" pos="3613">
          <p15:clr>
            <a:srgbClr val="5ACBF0"/>
          </p15:clr>
        </p15:guide>
        <p15:guide id="4" pos="710">
          <p15:clr>
            <a:srgbClr val="5ACBF0"/>
          </p15:clr>
        </p15:guide>
        <p15:guide id="5" orient="horz" pos="913">
          <p15:clr>
            <a:srgbClr val="F26B43"/>
          </p15:clr>
        </p15:guide>
        <p15:guide id="6" orient="horz" pos="3702">
          <p15:clr>
            <a:srgbClr val="F26B43"/>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 Content + Text Summ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702516"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3538" y="1258504"/>
            <a:ext cx="5683250" cy="288000"/>
          </a:xfrm>
          <a:noFill/>
        </p:spPr>
        <p:txBody>
          <a:bodyPr lIns="0">
            <a:noAutofit/>
          </a:bodyPr>
          <a:lstStyle>
            <a:lvl1pPr>
              <a:defRPr sz="1300">
                <a:solidFill>
                  <a:schemeClr val="accent6"/>
                </a:solidFill>
              </a:defRPr>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2749" y="1605156"/>
            <a:ext cx="5683250" cy="1980000"/>
          </a:xfrm>
          <a:noFill/>
        </p:spPr>
        <p:txBody>
          <a:bodyPr/>
          <a:lstStyle>
            <a:lvl1pPr algn="ctr">
              <a:defRPr b="0"/>
            </a:lvl1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p:nvPr>
        </p:nvSpPr>
        <p:spPr>
          <a:xfrm>
            <a:off x="6223000" y="1258504"/>
            <a:ext cx="5555461" cy="4928400"/>
          </a:xfrm>
          <a:noFill/>
          <a:effectLst/>
        </p:spPr>
        <p:txBody>
          <a:bodyPr vert="horz" lIns="252000" tIns="252000" rIns="252000" bIns="252000" rtlCol="0" anchor="ctr" anchorCtr="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5683250" cy="215999"/>
          </a:xfrm>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5" name="Text Placeholder 5">
            <a:extLst>
              <a:ext uri="{FF2B5EF4-FFF2-40B4-BE49-F238E27FC236}">
                <a16:creationId xmlns:a16="http://schemas.microsoft.com/office/drawing/2014/main" id="{6F3DB6FA-17D2-4D4B-9C68-7E57F40924D2}"/>
              </a:ext>
            </a:extLst>
          </p:cNvPr>
          <p:cNvSpPr>
            <a:spLocks noGrp="1"/>
          </p:cNvSpPr>
          <p:nvPr>
            <p:ph type="body" sz="quarter" idx="16" hasCustomPrompt="1"/>
          </p:nvPr>
        </p:nvSpPr>
        <p:spPr>
          <a:xfrm>
            <a:off x="412749" y="3645967"/>
            <a:ext cx="5683250" cy="288000"/>
          </a:xfrm>
          <a:noFill/>
        </p:spPr>
        <p:txBody>
          <a:bodyPr lIns="0">
            <a:noAutofit/>
          </a:bodyPr>
          <a:lstStyle>
            <a:lvl1pPr>
              <a:defRPr sz="1300">
                <a:solidFill>
                  <a:schemeClr val="accent6"/>
                </a:solidFill>
              </a:defRPr>
            </a:lvl1pPr>
          </a:lstStyle>
          <a:p>
            <a:pPr lvl="0"/>
            <a:r>
              <a:rPr lang="en-US"/>
              <a:t>Chart headline</a:t>
            </a:r>
          </a:p>
        </p:txBody>
      </p:sp>
      <p:sp>
        <p:nvSpPr>
          <p:cNvPr id="7" name="Content Placeholder 7">
            <a:extLst>
              <a:ext uri="{FF2B5EF4-FFF2-40B4-BE49-F238E27FC236}">
                <a16:creationId xmlns:a16="http://schemas.microsoft.com/office/drawing/2014/main" id="{C08AD70F-27D9-726E-A182-BA90022F5C6A}"/>
              </a:ext>
            </a:extLst>
          </p:cNvPr>
          <p:cNvSpPr>
            <a:spLocks noGrp="1"/>
          </p:cNvSpPr>
          <p:nvPr>
            <p:ph sz="quarter" idx="17" hasCustomPrompt="1"/>
          </p:nvPr>
        </p:nvSpPr>
        <p:spPr>
          <a:xfrm>
            <a:off x="412749" y="3977822"/>
            <a:ext cx="5683250" cy="1980000"/>
          </a:xfrm>
          <a:noFill/>
        </p:spPr>
        <p:txBody>
          <a:bodyPr/>
          <a:lstStyle>
            <a:lvl1pPr algn="ctr">
              <a:defRPr b="0"/>
            </a:lvl1pPr>
          </a:lstStyle>
          <a:p>
            <a:pPr lvl="0"/>
            <a:r>
              <a:rPr lang="en-US"/>
              <a:t>Insert Chart</a:t>
            </a:r>
            <a:endParaRPr lang="en-GB"/>
          </a:p>
        </p:txBody>
      </p:sp>
      <p:cxnSp>
        <p:nvCxnSpPr>
          <p:cNvPr id="14" name="Straight Connector 13">
            <a:extLst>
              <a:ext uri="{FF2B5EF4-FFF2-40B4-BE49-F238E27FC236}">
                <a16:creationId xmlns:a16="http://schemas.microsoft.com/office/drawing/2014/main" id="{99F03CBC-84CD-B420-8B01-8709221EF2D7}"/>
              </a:ext>
            </a:extLst>
          </p:cNvPr>
          <p:cNvCxnSpPr>
            <a:cxnSpLocks/>
          </p:cNvCxnSpPr>
          <p:nvPr userDrawn="1"/>
        </p:nvCxnSpPr>
        <p:spPr>
          <a:xfrm>
            <a:off x="2702950" y="6356350"/>
            <a:ext cx="1274379" cy="0"/>
          </a:xfrm>
          <a:prstGeom prst="line">
            <a:avLst/>
          </a:prstGeom>
          <a:ln w="6350">
            <a:no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F1FF571E-5F0D-6DE5-BAFA-37F40C5DB574}"/>
              </a:ext>
            </a:extLst>
          </p:cNvPr>
          <p:cNvCxnSpPr>
            <a:cxnSpLocks/>
          </p:cNvCxnSpPr>
          <p:nvPr userDrawn="1"/>
        </p:nvCxnSpPr>
        <p:spPr>
          <a:xfrm>
            <a:off x="5488473" y="6356350"/>
            <a:ext cx="1274379" cy="0"/>
          </a:xfrm>
          <a:prstGeom prst="line">
            <a:avLst/>
          </a:prstGeom>
          <a:ln w="6350">
            <a:no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6B2BEF9B-0C61-8243-085B-A71234DBE5AB}"/>
              </a:ext>
            </a:extLst>
          </p:cNvPr>
          <p:cNvCxnSpPr>
            <a:cxnSpLocks/>
          </p:cNvCxnSpPr>
          <p:nvPr userDrawn="1"/>
        </p:nvCxnSpPr>
        <p:spPr>
          <a:xfrm>
            <a:off x="7411982" y="6356350"/>
            <a:ext cx="1274379" cy="0"/>
          </a:xfrm>
          <a:prstGeom prst="line">
            <a:avLst/>
          </a:prstGeom>
          <a:ln w="6350">
            <a:noFill/>
          </a:ln>
        </p:spPr>
        <p:style>
          <a:lnRef idx="2">
            <a:schemeClr val="accent1"/>
          </a:lnRef>
          <a:fillRef idx="0">
            <a:schemeClr val="accent1"/>
          </a:fillRef>
          <a:effectRef idx="1">
            <a:schemeClr val="accent1"/>
          </a:effectRef>
          <a:fontRef idx="minor">
            <a:schemeClr val="tx1"/>
          </a:fontRef>
        </p:style>
      </p:cxnSp>
      <p:sp>
        <p:nvSpPr>
          <p:cNvPr id="18" name="Footer Placeholder 4">
            <a:extLst>
              <a:ext uri="{FF2B5EF4-FFF2-40B4-BE49-F238E27FC236}">
                <a16:creationId xmlns:a16="http://schemas.microsoft.com/office/drawing/2014/main" id="{52E70746-9160-C39A-1872-2ACD9DAB8314}"/>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Battery Value Chain Outlook</a:t>
            </a:r>
          </a:p>
        </p:txBody>
      </p:sp>
    </p:spTree>
    <p:extLst>
      <p:ext uri="{BB962C8B-B14F-4D97-AF65-F5344CB8AC3E}">
        <p14:creationId xmlns:p14="http://schemas.microsoft.com/office/powerpoint/2010/main" val="4004298510"/>
      </p:ext>
    </p:extLst>
  </p:cSld>
  <p:clrMapOvr>
    <a:masterClrMapping/>
  </p:clrMapOvr>
  <p:extLst>
    <p:ext uri="{DCECCB84-F9BA-43D5-87BE-67443E8EF086}">
      <p15:sldGuideLst xmlns:p15="http://schemas.microsoft.com/office/powerpoint/2012/main">
        <p15:guide id="1" pos="665">
          <p15:clr>
            <a:srgbClr val="5ACBF0"/>
          </p15:clr>
        </p15:guide>
        <p15:guide id="2" pos="3613">
          <p15:clr>
            <a:srgbClr val="5ACBF0"/>
          </p15:clr>
        </p15:guide>
        <p15:guide id="3" orient="horz" pos="1094">
          <p15:clr>
            <a:srgbClr val="5ACBF0"/>
          </p15:clr>
        </p15:guide>
        <p15:guide id="4" orient="horz" pos="1933">
          <p15:clr>
            <a:srgbClr val="5ACBF0"/>
          </p15:clr>
        </p15:guide>
        <p15:guide id="5" orient="horz" pos="3543">
          <p15:clr>
            <a:srgbClr val="5ACBF0"/>
          </p15:clr>
        </p15:guide>
        <p15:guide id="6" orient="horz" pos="2659">
          <p15:clr>
            <a:srgbClr val="5ACBF0"/>
          </p15:clr>
        </p15:guide>
        <p15:guide id="7" orient="horz" pos="799">
          <p15:clr>
            <a:srgbClr val="F26B43"/>
          </p15:clr>
        </p15:guide>
        <p15:guide id="8" orient="horz" pos="2387">
          <p15:clr>
            <a:srgbClr val="F26B43"/>
          </p15:clr>
        </p15:guide>
        <p15:guide id="9" orient="horz" pos="3770">
          <p15:clr>
            <a:srgbClr val="F26B43"/>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ummary Storybo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399" y="324000"/>
            <a:ext cx="10726579"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3537" y="1258504"/>
            <a:ext cx="2880000" cy="288000"/>
          </a:xfrm>
          <a:noFill/>
        </p:spPr>
        <p:txBody>
          <a:bodyPr lIns="0">
            <a:noAutofit/>
          </a:bodyPr>
          <a:lstStyle>
            <a:lvl1pPr>
              <a:defRPr sz="1300">
                <a:solidFill>
                  <a:schemeClr val="accent6"/>
                </a:solidFill>
              </a:defRPr>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4000" y="1625704"/>
            <a:ext cx="3780000" cy="2124000"/>
          </a:xfrm>
          <a:noFill/>
        </p:spPr>
        <p:txBody>
          <a:bodyPr/>
          <a:lstStyle>
            <a:lvl1pPr algn="ctr">
              <a:defRPr b="0"/>
            </a:lvl1pPr>
            <a:lvl5pPr>
              <a:defRPr/>
            </a:lvl5pPr>
          </a:lstStyle>
          <a:p>
            <a:pPr lvl="0"/>
            <a:r>
              <a:rPr lang="en-US"/>
              <a:t>Insert Char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11365200" cy="215999"/>
          </a:xfrm>
          <a:noFill/>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5" name="Text Placeholder 5">
            <a:extLst>
              <a:ext uri="{FF2B5EF4-FFF2-40B4-BE49-F238E27FC236}">
                <a16:creationId xmlns:a16="http://schemas.microsoft.com/office/drawing/2014/main" id="{D7616806-7E32-D88B-F740-18B7BC6A1ECE}"/>
              </a:ext>
            </a:extLst>
          </p:cNvPr>
          <p:cNvSpPr>
            <a:spLocks noGrp="1"/>
          </p:cNvSpPr>
          <p:nvPr>
            <p:ph type="body" sz="quarter" idx="16"/>
          </p:nvPr>
        </p:nvSpPr>
        <p:spPr>
          <a:xfrm>
            <a:off x="414000" y="3813276"/>
            <a:ext cx="3780000" cy="2124000"/>
          </a:xfrm>
          <a:noFill/>
          <a:effectLst/>
        </p:spPr>
        <p:txBody>
          <a:bodyPr vert="horz" lIns="72000" tIns="72000" rIns="72000" bIns="108000" rtlCol="0" anchor="t" anchorCtr="0">
            <a:noAutofit/>
          </a:bodyPr>
          <a:lstStyle>
            <a:lvl1pPr>
              <a:defRPr lang="en-US" sz="1300"/>
            </a:lvl1pPr>
            <a:lvl2pPr>
              <a:defRPr lang="en-US" sz="1100"/>
            </a:lvl2pPr>
            <a:lvl3pPr>
              <a:defRPr lang="en-US" sz="1100"/>
            </a:lvl3pPr>
            <a:lvl4pPr>
              <a:defRPr lang="en-US" sz="900"/>
            </a:lvl4pPr>
            <a:lvl5pPr>
              <a:defRPr lang="en-US"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41A38980-B6C7-2C12-669B-DF4E926D0985}"/>
              </a:ext>
            </a:extLst>
          </p:cNvPr>
          <p:cNvSpPr>
            <a:spLocks noGrp="1"/>
          </p:cNvSpPr>
          <p:nvPr>
            <p:ph type="body" sz="quarter" idx="18"/>
          </p:nvPr>
        </p:nvSpPr>
        <p:spPr>
          <a:xfrm>
            <a:off x="4212000" y="3813276"/>
            <a:ext cx="3780000" cy="2124000"/>
          </a:xfrm>
          <a:noFill/>
          <a:effectLst/>
        </p:spPr>
        <p:txBody>
          <a:bodyPr vert="horz" lIns="72000" tIns="72000" rIns="72000" bIns="108000" rtlCol="0" anchor="t" anchorCtr="0">
            <a:noAutofit/>
          </a:bodyPr>
          <a:lstStyle>
            <a:lvl1pPr>
              <a:defRPr lang="en-US" sz="1300"/>
            </a:lvl1pPr>
            <a:lvl2pPr>
              <a:defRPr lang="en-US" sz="1100"/>
            </a:lvl2pPr>
            <a:lvl3pPr>
              <a:defRPr lang="en-US" sz="1100"/>
            </a:lvl3pPr>
            <a:lvl4pPr>
              <a:defRPr lang="en-US" sz="900"/>
            </a:lvl4pPr>
            <a:lvl5pPr>
              <a:defRPr lang="en-US"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0F05E3CC-77D8-00D4-3892-43359D3D440D}"/>
              </a:ext>
            </a:extLst>
          </p:cNvPr>
          <p:cNvSpPr>
            <a:spLocks noGrp="1"/>
          </p:cNvSpPr>
          <p:nvPr>
            <p:ph type="body" sz="quarter" idx="20" hasCustomPrompt="1"/>
          </p:nvPr>
        </p:nvSpPr>
        <p:spPr>
          <a:xfrm>
            <a:off x="4212000" y="1258504"/>
            <a:ext cx="2880000" cy="288000"/>
          </a:xfrm>
          <a:noFill/>
        </p:spPr>
        <p:txBody>
          <a:bodyPr lIns="108000">
            <a:noAutofit/>
          </a:bodyPr>
          <a:lstStyle>
            <a:lvl1pPr>
              <a:defRPr sz="1300">
                <a:solidFill>
                  <a:schemeClr val="accent6"/>
                </a:solidFill>
              </a:defRPr>
            </a:lvl1pPr>
          </a:lstStyle>
          <a:p>
            <a:pPr lvl="0"/>
            <a:r>
              <a:rPr lang="en-US"/>
              <a:t>Chart headline</a:t>
            </a:r>
          </a:p>
        </p:txBody>
      </p:sp>
      <p:sp>
        <p:nvSpPr>
          <p:cNvPr id="14" name="Content Placeholder 7">
            <a:extLst>
              <a:ext uri="{FF2B5EF4-FFF2-40B4-BE49-F238E27FC236}">
                <a16:creationId xmlns:a16="http://schemas.microsoft.com/office/drawing/2014/main" id="{CB8F5FCB-FB91-1CC1-0B13-4616C17F6F8D}"/>
              </a:ext>
            </a:extLst>
          </p:cNvPr>
          <p:cNvSpPr>
            <a:spLocks noGrp="1"/>
          </p:cNvSpPr>
          <p:nvPr>
            <p:ph sz="quarter" idx="21" hasCustomPrompt="1"/>
          </p:nvPr>
        </p:nvSpPr>
        <p:spPr>
          <a:xfrm>
            <a:off x="4212000" y="1625704"/>
            <a:ext cx="3780000" cy="2124000"/>
          </a:xfrm>
          <a:noFill/>
        </p:spPr>
        <p:txBody>
          <a:bodyPr/>
          <a:lstStyle>
            <a:lvl1pPr algn="ctr">
              <a:defRPr b="0"/>
            </a:lvl1pPr>
            <a:lvl5pPr>
              <a:defRPr/>
            </a:lvl5pPr>
          </a:lstStyle>
          <a:p>
            <a:pPr lvl="0"/>
            <a:r>
              <a:rPr lang="en-US"/>
              <a:t>Insert Chart</a:t>
            </a:r>
            <a:endParaRPr lang="en-GB"/>
          </a:p>
        </p:txBody>
      </p:sp>
      <p:sp>
        <p:nvSpPr>
          <p:cNvPr id="15" name="Text Placeholder 5">
            <a:extLst>
              <a:ext uri="{FF2B5EF4-FFF2-40B4-BE49-F238E27FC236}">
                <a16:creationId xmlns:a16="http://schemas.microsoft.com/office/drawing/2014/main" id="{AC5DE7FF-9635-D689-F58B-811576F0D013}"/>
              </a:ext>
            </a:extLst>
          </p:cNvPr>
          <p:cNvSpPr>
            <a:spLocks noGrp="1"/>
          </p:cNvSpPr>
          <p:nvPr>
            <p:ph type="body" sz="quarter" idx="22"/>
          </p:nvPr>
        </p:nvSpPr>
        <p:spPr>
          <a:xfrm>
            <a:off x="8010000" y="3813276"/>
            <a:ext cx="3780000" cy="2124000"/>
          </a:xfrm>
          <a:noFill/>
          <a:effectLst/>
        </p:spPr>
        <p:txBody>
          <a:bodyPr vert="horz" lIns="72000" tIns="72000" rIns="72000" bIns="108000" rtlCol="0" anchor="t" anchorCtr="0">
            <a:noAutofit/>
          </a:bodyPr>
          <a:lstStyle>
            <a:lvl1pPr>
              <a:defRPr lang="en-US" sz="1300"/>
            </a:lvl1pPr>
            <a:lvl2pPr>
              <a:defRPr lang="en-US" sz="1100"/>
            </a:lvl2pPr>
            <a:lvl3pPr>
              <a:defRPr lang="en-US" sz="1100"/>
            </a:lvl3pPr>
            <a:lvl4pPr>
              <a:defRPr lang="en-US" sz="900"/>
            </a:lvl4pPr>
            <a:lvl5pPr>
              <a:defRPr lang="en-US"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5">
            <a:extLst>
              <a:ext uri="{FF2B5EF4-FFF2-40B4-BE49-F238E27FC236}">
                <a16:creationId xmlns:a16="http://schemas.microsoft.com/office/drawing/2014/main" id="{82725930-D425-C749-FEC9-D1707FF63950}"/>
              </a:ext>
            </a:extLst>
          </p:cNvPr>
          <p:cNvSpPr>
            <a:spLocks noGrp="1"/>
          </p:cNvSpPr>
          <p:nvPr>
            <p:ph type="body" sz="quarter" idx="24" hasCustomPrompt="1"/>
          </p:nvPr>
        </p:nvSpPr>
        <p:spPr>
          <a:xfrm>
            <a:off x="8010000" y="1258504"/>
            <a:ext cx="2880000" cy="288000"/>
          </a:xfrm>
          <a:noFill/>
        </p:spPr>
        <p:txBody>
          <a:bodyPr lIns="108000">
            <a:noAutofit/>
          </a:bodyPr>
          <a:lstStyle>
            <a:lvl1pPr>
              <a:defRPr sz="1300">
                <a:solidFill>
                  <a:schemeClr val="accent6"/>
                </a:solidFill>
              </a:defRPr>
            </a:lvl1pPr>
          </a:lstStyle>
          <a:p>
            <a:pPr lvl="0"/>
            <a:r>
              <a:rPr lang="en-US"/>
              <a:t>Chart headline</a:t>
            </a:r>
          </a:p>
        </p:txBody>
      </p:sp>
      <p:sp>
        <p:nvSpPr>
          <p:cNvPr id="18" name="Content Placeholder 7">
            <a:extLst>
              <a:ext uri="{FF2B5EF4-FFF2-40B4-BE49-F238E27FC236}">
                <a16:creationId xmlns:a16="http://schemas.microsoft.com/office/drawing/2014/main" id="{ECAB1B5D-539C-8387-B045-BAF0C5698A72}"/>
              </a:ext>
            </a:extLst>
          </p:cNvPr>
          <p:cNvSpPr>
            <a:spLocks noGrp="1"/>
          </p:cNvSpPr>
          <p:nvPr>
            <p:ph sz="quarter" idx="25" hasCustomPrompt="1"/>
          </p:nvPr>
        </p:nvSpPr>
        <p:spPr>
          <a:xfrm>
            <a:off x="8010000" y="1625704"/>
            <a:ext cx="3780000" cy="2124000"/>
          </a:xfrm>
          <a:noFill/>
        </p:spPr>
        <p:txBody>
          <a:bodyPr/>
          <a:lstStyle>
            <a:lvl1pPr algn="ctr">
              <a:defRPr b="0"/>
            </a:lvl1pPr>
            <a:lvl5pPr>
              <a:defRPr/>
            </a:lvl5pPr>
          </a:lstStyle>
          <a:p>
            <a:pPr lvl="0"/>
            <a:r>
              <a:rPr lang="en-US"/>
              <a:t>Insert Chart</a:t>
            </a:r>
            <a:endParaRPr lang="en-GB"/>
          </a:p>
        </p:txBody>
      </p:sp>
      <p:sp>
        <p:nvSpPr>
          <p:cNvPr id="22" name="Rectangle 21">
            <a:extLst>
              <a:ext uri="{FF2B5EF4-FFF2-40B4-BE49-F238E27FC236}">
                <a16:creationId xmlns:a16="http://schemas.microsoft.com/office/drawing/2014/main" id="{45563B50-D90E-1882-F8FA-7DC74D658E94}"/>
              </a:ext>
            </a:extLst>
          </p:cNvPr>
          <p:cNvSpPr/>
          <p:nvPr userDrawn="1"/>
        </p:nvSpPr>
        <p:spPr>
          <a:xfrm>
            <a:off x="88900" y="-1219200"/>
            <a:ext cx="12103100" cy="1117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F3931C8E-0E03-F172-6826-5C40A4AA1778}"/>
              </a:ext>
            </a:extLst>
          </p:cNvPr>
          <p:cNvSpPr txBox="1"/>
          <p:nvPr userDrawn="1"/>
        </p:nvSpPr>
        <p:spPr>
          <a:xfrm>
            <a:off x="6810500" y="-1066047"/>
            <a:ext cx="2283961" cy="738664"/>
          </a:xfrm>
          <a:prstGeom prst="rect">
            <a:avLst/>
          </a:prstGeom>
          <a:noFill/>
        </p:spPr>
        <p:txBody>
          <a:bodyPr wrap="square" rtlCol="0">
            <a:spAutoFit/>
          </a:bodyPr>
          <a:lstStyle/>
          <a:p>
            <a:r>
              <a:rPr lang="en-GB" sz="1050">
                <a:solidFill>
                  <a:schemeClr val="tx1">
                    <a:lumMod val="50000"/>
                  </a:schemeClr>
                </a:solidFill>
                <a:latin typeface="Arial" panose="020B0604020202020204" pitchFamily="34" charset="0"/>
                <a:cs typeface="Arial" panose="020B0604020202020204" pitchFamily="34" charset="0"/>
              </a:rPr>
              <a:t>Indicator of affect on price </a:t>
            </a:r>
          </a:p>
          <a:p>
            <a:r>
              <a:rPr lang="en-GB" sz="1050">
                <a:solidFill>
                  <a:schemeClr val="tx1">
                    <a:lumMod val="50000"/>
                  </a:schemeClr>
                </a:solidFill>
                <a:latin typeface="Arial" panose="020B0604020202020204" pitchFamily="34" charset="0"/>
                <a:cs typeface="Arial" panose="020B0604020202020204" pitchFamily="34" charset="0"/>
              </a:rPr>
              <a:t>Bull = upwards price pressure</a:t>
            </a:r>
          </a:p>
          <a:p>
            <a:r>
              <a:rPr lang="en-GB" sz="1050">
                <a:solidFill>
                  <a:schemeClr val="tx1">
                    <a:lumMod val="50000"/>
                  </a:schemeClr>
                </a:solidFill>
                <a:latin typeface="Arial" panose="020B0604020202020204" pitchFamily="34" charset="0"/>
                <a:cs typeface="Arial" panose="020B0604020202020204" pitchFamily="34" charset="0"/>
              </a:rPr>
              <a:t>Bear = downwards price pressure</a:t>
            </a:r>
          </a:p>
          <a:p>
            <a:r>
              <a:rPr lang="en-GB" sz="1050">
                <a:solidFill>
                  <a:schemeClr val="tx1">
                    <a:lumMod val="50000"/>
                  </a:schemeClr>
                </a:solidFill>
                <a:latin typeface="Arial" panose="020B0604020202020204" pitchFamily="34" charset="0"/>
                <a:cs typeface="Arial" panose="020B0604020202020204" pitchFamily="34" charset="0"/>
              </a:rPr>
              <a:t>Neutral = no impact</a:t>
            </a:r>
          </a:p>
        </p:txBody>
      </p:sp>
      <p:sp>
        <p:nvSpPr>
          <p:cNvPr id="24" name="TextBox 23">
            <a:extLst>
              <a:ext uri="{FF2B5EF4-FFF2-40B4-BE49-F238E27FC236}">
                <a16:creationId xmlns:a16="http://schemas.microsoft.com/office/drawing/2014/main" id="{AEA4DC3E-B20E-9C10-189C-BC076F996C84}"/>
              </a:ext>
            </a:extLst>
          </p:cNvPr>
          <p:cNvSpPr txBox="1"/>
          <p:nvPr userDrawn="1"/>
        </p:nvSpPr>
        <p:spPr>
          <a:xfrm>
            <a:off x="266700" y="-973225"/>
            <a:ext cx="6794500" cy="353943"/>
          </a:xfrm>
          <a:prstGeom prst="rect">
            <a:avLst/>
          </a:prstGeom>
          <a:noFill/>
        </p:spPr>
        <p:txBody>
          <a:bodyPr wrap="square" rtlCol="0">
            <a:spAutoFit/>
          </a:bodyPr>
          <a:lstStyle/>
          <a:p>
            <a:r>
              <a:rPr lang="en-GB">
                <a:latin typeface="Arial" panose="020B0604020202020204" pitchFamily="34" charset="0"/>
                <a:cs typeface="Arial" panose="020B0604020202020204" pitchFamily="34" charset="0"/>
              </a:rPr>
              <a:t>Storyboard Layout</a:t>
            </a:r>
          </a:p>
        </p:txBody>
      </p:sp>
      <p:sp>
        <p:nvSpPr>
          <p:cNvPr id="38" name="TextBox 37">
            <a:extLst>
              <a:ext uri="{FF2B5EF4-FFF2-40B4-BE49-F238E27FC236}">
                <a16:creationId xmlns:a16="http://schemas.microsoft.com/office/drawing/2014/main" id="{87E90881-766D-DD44-2F07-687FEE2958DB}"/>
              </a:ext>
            </a:extLst>
          </p:cNvPr>
          <p:cNvSpPr txBox="1"/>
          <p:nvPr userDrawn="1"/>
        </p:nvSpPr>
        <p:spPr>
          <a:xfrm>
            <a:off x="2295556" y="-1024164"/>
            <a:ext cx="2283961" cy="577081"/>
          </a:xfrm>
          <a:prstGeom prst="rect">
            <a:avLst/>
          </a:prstGeom>
          <a:noFill/>
        </p:spPr>
        <p:txBody>
          <a:bodyPr wrap="square" rtlCol="0">
            <a:spAutoFit/>
          </a:bodyPr>
          <a:lstStyle/>
          <a:p>
            <a:r>
              <a:rPr lang="en-GB" sz="1050">
                <a:solidFill>
                  <a:schemeClr val="tx1">
                    <a:lumMod val="50000"/>
                  </a:schemeClr>
                </a:solidFill>
                <a:latin typeface="Arial" panose="020B0604020202020204" pitchFamily="34" charset="0"/>
                <a:cs typeface="Arial" panose="020B0604020202020204" pitchFamily="34" charset="0"/>
              </a:rPr>
              <a:t>Every market outlook needs a storyboard containing a minimum of 7 charts and accompanying text</a:t>
            </a:r>
          </a:p>
        </p:txBody>
      </p:sp>
      <p:sp>
        <p:nvSpPr>
          <p:cNvPr id="39" name="TextBox 38">
            <a:extLst>
              <a:ext uri="{FF2B5EF4-FFF2-40B4-BE49-F238E27FC236}">
                <a16:creationId xmlns:a16="http://schemas.microsoft.com/office/drawing/2014/main" id="{DC3003EA-CCC7-CF54-8D1E-915B6001C670}"/>
              </a:ext>
            </a:extLst>
          </p:cNvPr>
          <p:cNvSpPr txBox="1"/>
          <p:nvPr userDrawn="1"/>
        </p:nvSpPr>
        <p:spPr>
          <a:xfrm>
            <a:off x="4492822" y="-1024164"/>
            <a:ext cx="2283961" cy="738664"/>
          </a:xfrm>
          <a:prstGeom prst="rect">
            <a:avLst/>
          </a:prstGeom>
          <a:noFill/>
        </p:spPr>
        <p:txBody>
          <a:bodyPr wrap="square" rtlCol="0">
            <a:spAutoFit/>
          </a:bodyPr>
          <a:lstStyle/>
          <a:p>
            <a:r>
              <a:rPr lang="en-GB" sz="1050">
                <a:solidFill>
                  <a:schemeClr val="tx1">
                    <a:lumMod val="50000"/>
                  </a:schemeClr>
                </a:solidFill>
                <a:latin typeface="Arial" panose="020B0604020202020204" pitchFamily="34" charset="0"/>
                <a:cs typeface="Arial" panose="020B0604020202020204" pitchFamily="34" charset="0"/>
              </a:rPr>
              <a:t>Place the icons in the box to indicate whether the story element is positive, negative or neutral for commodity prices </a:t>
            </a:r>
          </a:p>
        </p:txBody>
      </p:sp>
      <p:cxnSp>
        <p:nvCxnSpPr>
          <p:cNvPr id="7" name="Straight Connector 6">
            <a:extLst>
              <a:ext uri="{FF2B5EF4-FFF2-40B4-BE49-F238E27FC236}">
                <a16:creationId xmlns:a16="http://schemas.microsoft.com/office/drawing/2014/main" id="{975CDD6E-035F-9465-32D7-99297026358F}"/>
              </a:ext>
            </a:extLst>
          </p:cNvPr>
          <p:cNvCxnSpPr>
            <a:cxnSpLocks/>
          </p:cNvCxnSpPr>
          <p:nvPr userDrawn="1"/>
        </p:nvCxnSpPr>
        <p:spPr>
          <a:xfrm>
            <a:off x="4194000" y="4001234"/>
            <a:ext cx="7937" cy="183600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0" name="Straight Connector 9">
            <a:extLst>
              <a:ext uri="{FF2B5EF4-FFF2-40B4-BE49-F238E27FC236}">
                <a16:creationId xmlns:a16="http://schemas.microsoft.com/office/drawing/2014/main" id="{2A904D48-4B83-5BF3-D639-51D8FAB1FCCD}"/>
              </a:ext>
            </a:extLst>
          </p:cNvPr>
          <p:cNvCxnSpPr>
            <a:cxnSpLocks/>
          </p:cNvCxnSpPr>
          <p:nvPr userDrawn="1"/>
        </p:nvCxnSpPr>
        <p:spPr>
          <a:xfrm>
            <a:off x="7995444" y="4001234"/>
            <a:ext cx="7937" cy="183600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1" name="Straight Connector 10">
            <a:extLst>
              <a:ext uri="{FF2B5EF4-FFF2-40B4-BE49-F238E27FC236}">
                <a16:creationId xmlns:a16="http://schemas.microsoft.com/office/drawing/2014/main" id="{03F1CA78-3547-5512-F36A-2F1EEF65A0E0}"/>
              </a:ext>
            </a:extLst>
          </p:cNvPr>
          <p:cNvCxnSpPr>
            <a:cxnSpLocks/>
          </p:cNvCxnSpPr>
          <p:nvPr userDrawn="1"/>
        </p:nvCxnSpPr>
        <p:spPr>
          <a:xfrm>
            <a:off x="4194000" y="1822040"/>
            <a:ext cx="7937" cy="183600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6" name="Straight Connector 15">
            <a:extLst>
              <a:ext uri="{FF2B5EF4-FFF2-40B4-BE49-F238E27FC236}">
                <a16:creationId xmlns:a16="http://schemas.microsoft.com/office/drawing/2014/main" id="{7561E445-AB46-12BB-71E4-C5DB6124E6E7}"/>
              </a:ext>
            </a:extLst>
          </p:cNvPr>
          <p:cNvCxnSpPr>
            <a:cxnSpLocks/>
          </p:cNvCxnSpPr>
          <p:nvPr userDrawn="1"/>
        </p:nvCxnSpPr>
        <p:spPr>
          <a:xfrm>
            <a:off x="7995444" y="1822040"/>
            <a:ext cx="7937" cy="183600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40" name="Straight Connector 39">
            <a:extLst>
              <a:ext uri="{FF2B5EF4-FFF2-40B4-BE49-F238E27FC236}">
                <a16:creationId xmlns:a16="http://schemas.microsoft.com/office/drawing/2014/main" id="{278D58A8-BE28-DE7D-6C5A-A9A83475BCC9}"/>
              </a:ext>
            </a:extLst>
          </p:cNvPr>
          <p:cNvCxnSpPr>
            <a:cxnSpLocks/>
          </p:cNvCxnSpPr>
          <p:nvPr userDrawn="1"/>
        </p:nvCxnSpPr>
        <p:spPr>
          <a:xfrm>
            <a:off x="684000" y="3792781"/>
            <a:ext cx="3251413" cy="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41" name="Straight Connector 40">
            <a:extLst>
              <a:ext uri="{FF2B5EF4-FFF2-40B4-BE49-F238E27FC236}">
                <a16:creationId xmlns:a16="http://schemas.microsoft.com/office/drawing/2014/main" id="{5B27A369-CAEB-07CB-E8C4-BB5EE7BE8F47}"/>
              </a:ext>
            </a:extLst>
          </p:cNvPr>
          <p:cNvCxnSpPr>
            <a:cxnSpLocks/>
          </p:cNvCxnSpPr>
          <p:nvPr userDrawn="1"/>
        </p:nvCxnSpPr>
        <p:spPr>
          <a:xfrm>
            <a:off x="4464843" y="3792781"/>
            <a:ext cx="3251413" cy="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42" name="Straight Connector 41">
            <a:extLst>
              <a:ext uri="{FF2B5EF4-FFF2-40B4-BE49-F238E27FC236}">
                <a16:creationId xmlns:a16="http://schemas.microsoft.com/office/drawing/2014/main" id="{6F2B0CF4-4040-2F53-E5C0-3C48211F50AF}"/>
              </a:ext>
            </a:extLst>
          </p:cNvPr>
          <p:cNvCxnSpPr>
            <a:cxnSpLocks/>
          </p:cNvCxnSpPr>
          <p:nvPr userDrawn="1"/>
        </p:nvCxnSpPr>
        <p:spPr>
          <a:xfrm>
            <a:off x="8245262" y="3792781"/>
            <a:ext cx="3251413" cy="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sp>
        <p:nvSpPr>
          <p:cNvPr id="51" name="Footer Placeholder 4">
            <a:extLst>
              <a:ext uri="{FF2B5EF4-FFF2-40B4-BE49-F238E27FC236}">
                <a16:creationId xmlns:a16="http://schemas.microsoft.com/office/drawing/2014/main" id="{9EED9D5D-61AA-43F0-8E93-270B5258C413}"/>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Battery Value Chain Outlook</a:t>
            </a:r>
          </a:p>
        </p:txBody>
      </p:sp>
      <p:grpSp>
        <p:nvGrpSpPr>
          <p:cNvPr id="3" name="Group 2">
            <a:extLst>
              <a:ext uri="{FF2B5EF4-FFF2-40B4-BE49-F238E27FC236}">
                <a16:creationId xmlns:a16="http://schemas.microsoft.com/office/drawing/2014/main" id="{D85ED702-2E01-0292-0257-7EB238295F44}"/>
              </a:ext>
            </a:extLst>
          </p:cNvPr>
          <p:cNvGrpSpPr/>
          <p:nvPr userDrawn="1"/>
        </p:nvGrpSpPr>
        <p:grpSpPr>
          <a:xfrm>
            <a:off x="8562465" y="-591805"/>
            <a:ext cx="476662" cy="396518"/>
            <a:chOff x="3669046" y="963053"/>
            <a:chExt cx="476662" cy="396518"/>
          </a:xfrm>
        </p:grpSpPr>
        <p:pic>
          <p:nvPicPr>
            <p:cNvPr id="4" name="Content Placeholder 38" descr="Bull with solid fill">
              <a:extLst>
                <a:ext uri="{FF2B5EF4-FFF2-40B4-BE49-F238E27FC236}">
                  <a16:creationId xmlns:a16="http://schemas.microsoft.com/office/drawing/2014/main" id="{C8A0E015-C714-B8F8-C589-37F6A36219C7}"/>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a:stretch/>
          </p:blipFill>
          <p:spPr>
            <a:xfrm>
              <a:off x="3832454" y="963053"/>
              <a:ext cx="313253" cy="313253"/>
            </a:xfrm>
            <a:prstGeom prst="rect">
              <a:avLst/>
            </a:prstGeom>
          </p:spPr>
        </p:pic>
        <p:sp>
          <p:nvSpPr>
            <p:cNvPr id="25" name="TextBox 24">
              <a:extLst>
                <a:ext uri="{FF2B5EF4-FFF2-40B4-BE49-F238E27FC236}">
                  <a16:creationId xmlns:a16="http://schemas.microsoft.com/office/drawing/2014/main" id="{921C8E5E-4E3A-14C6-0DE7-D0EB4251B05E}"/>
                </a:ext>
              </a:extLst>
            </p:cNvPr>
            <p:cNvSpPr txBox="1"/>
            <p:nvPr/>
          </p:nvSpPr>
          <p:spPr>
            <a:xfrm>
              <a:off x="3746560" y="1197988"/>
              <a:ext cx="399148" cy="161583"/>
            </a:xfrm>
            <a:prstGeom prst="rect">
              <a:avLst/>
            </a:prstGeom>
            <a:noFill/>
          </p:spPr>
          <p:txBody>
            <a:bodyPr wrap="none" lIns="0" tIns="0" rIns="0" bIns="0" rtlCol="0">
              <a:spAutoFit/>
            </a:bodyPr>
            <a:lstStyle/>
            <a:p>
              <a:pPr algn="r"/>
              <a:r>
                <a:rPr lang="en-GB" sz="1050">
                  <a:solidFill>
                    <a:schemeClr val="accent3">
                      <a:lumMod val="50000"/>
                    </a:schemeClr>
                  </a:solidFill>
                  <a:latin typeface="Arial" panose="020B0604020202020204" pitchFamily="34" charset="0"/>
                  <a:cs typeface="Arial" panose="020B0604020202020204" pitchFamily="34" charset="0"/>
                </a:rPr>
                <a:t>Bullish</a:t>
              </a:r>
            </a:p>
          </p:txBody>
        </p:sp>
        <p:pic>
          <p:nvPicPr>
            <p:cNvPr id="26" name="Content Placeholder 38" descr="Arrow Up with solid fill">
              <a:extLst>
                <a:ext uri="{FF2B5EF4-FFF2-40B4-BE49-F238E27FC236}">
                  <a16:creationId xmlns:a16="http://schemas.microsoft.com/office/drawing/2014/main" id="{F58400BE-4DED-E57D-062E-33D0741F5083}"/>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rcRect/>
            <a:stretch/>
          </p:blipFill>
          <p:spPr>
            <a:xfrm>
              <a:off x="3669046" y="1013013"/>
              <a:ext cx="216000" cy="184975"/>
            </a:xfrm>
            <a:prstGeom prst="rect">
              <a:avLst/>
            </a:prstGeom>
          </p:spPr>
        </p:pic>
      </p:grpSp>
      <p:grpSp>
        <p:nvGrpSpPr>
          <p:cNvPr id="27" name="Group 26">
            <a:extLst>
              <a:ext uri="{FF2B5EF4-FFF2-40B4-BE49-F238E27FC236}">
                <a16:creationId xmlns:a16="http://schemas.microsoft.com/office/drawing/2014/main" id="{6F1650D9-5286-575F-B4F1-8057E980F2DC}"/>
              </a:ext>
            </a:extLst>
          </p:cNvPr>
          <p:cNvGrpSpPr/>
          <p:nvPr userDrawn="1"/>
        </p:nvGrpSpPr>
        <p:grpSpPr>
          <a:xfrm>
            <a:off x="9408606" y="-591805"/>
            <a:ext cx="491542" cy="419533"/>
            <a:chOff x="7440115" y="940038"/>
            <a:chExt cx="491542" cy="419533"/>
          </a:xfrm>
        </p:grpSpPr>
        <p:sp>
          <p:nvSpPr>
            <p:cNvPr id="28" name="TextBox 27">
              <a:extLst>
                <a:ext uri="{FF2B5EF4-FFF2-40B4-BE49-F238E27FC236}">
                  <a16:creationId xmlns:a16="http://schemas.microsoft.com/office/drawing/2014/main" id="{C52A125A-97AC-7979-A1BD-D3C7314EFF2B}"/>
                </a:ext>
              </a:extLst>
            </p:cNvPr>
            <p:cNvSpPr txBox="1"/>
            <p:nvPr/>
          </p:nvSpPr>
          <p:spPr>
            <a:xfrm>
              <a:off x="7453712" y="1197988"/>
              <a:ext cx="458460" cy="161583"/>
            </a:xfrm>
            <a:prstGeom prst="rect">
              <a:avLst/>
            </a:prstGeom>
            <a:noFill/>
          </p:spPr>
          <p:txBody>
            <a:bodyPr wrap="none" lIns="0" tIns="0" rIns="0" bIns="0" rtlCol="0">
              <a:spAutoFit/>
            </a:bodyPr>
            <a:lstStyle/>
            <a:p>
              <a:pPr algn="r"/>
              <a:r>
                <a:rPr lang="en-GB" sz="1050">
                  <a:solidFill>
                    <a:schemeClr val="accent3">
                      <a:lumMod val="50000"/>
                    </a:schemeClr>
                  </a:solidFill>
                  <a:latin typeface="Arial" panose="020B0604020202020204" pitchFamily="34" charset="0"/>
                  <a:cs typeface="Arial" panose="020B0604020202020204" pitchFamily="34" charset="0"/>
                </a:rPr>
                <a:t>Bearish</a:t>
              </a:r>
            </a:p>
          </p:txBody>
        </p:sp>
        <p:pic>
          <p:nvPicPr>
            <p:cNvPr id="29" name="Content Placeholder 38" descr="Bear with solid fill">
              <a:extLst>
                <a:ext uri="{FF2B5EF4-FFF2-40B4-BE49-F238E27FC236}">
                  <a16:creationId xmlns:a16="http://schemas.microsoft.com/office/drawing/2014/main" id="{0EABBDE0-EB37-F885-8358-06A13F1782E5}"/>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rcRect/>
            <a:stretch/>
          </p:blipFill>
          <p:spPr>
            <a:xfrm>
              <a:off x="7440115" y="940038"/>
              <a:ext cx="313253" cy="313253"/>
            </a:xfrm>
            <a:prstGeom prst="rect">
              <a:avLst/>
            </a:prstGeom>
          </p:spPr>
        </p:pic>
        <p:pic>
          <p:nvPicPr>
            <p:cNvPr id="30" name="Content Placeholder 38" descr="Arrow Up with solid fill">
              <a:extLst>
                <a:ext uri="{FF2B5EF4-FFF2-40B4-BE49-F238E27FC236}">
                  <a16:creationId xmlns:a16="http://schemas.microsoft.com/office/drawing/2014/main" id="{E7912A7D-82DD-A2B6-6FF9-65D37818D9B9}"/>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rcRect/>
            <a:stretch/>
          </p:blipFill>
          <p:spPr>
            <a:xfrm flipV="1">
              <a:off x="7715657" y="1023855"/>
              <a:ext cx="216000" cy="189806"/>
            </a:xfrm>
            <a:prstGeom prst="rect">
              <a:avLst/>
            </a:prstGeom>
          </p:spPr>
        </p:pic>
      </p:grpSp>
      <p:grpSp>
        <p:nvGrpSpPr>
          <p:cNvPr id="31" name="Group 30">
            <a:extLst>
              <a:ext uri="{FF2B5EF4-FFF2-40B4-BE49-F238E27FC236}">
                <a16:creationId xmlns:a16="http://schemas.microsoft.com/office/drawing/2014/main" id="{21CDC61F-7AE9-0C7C-14DC-F17BDBEB15CE}"/>
              </a:ext>
            </a:extLst>
          </p:cNvPr>
          <p:cNvGrpSpPr/>
          <p:nvPr userDrawn="1"/>
        </p:nvGrpSpPr>
        <p:grpSpPr>
          <a:xfrm>
            <a:off x="10269627" y="-591805"/>
            <a:ext cx="436017" cy="392882"/>
            <a:chOff x="11020076" y="979202"/>
            <a:chExt cx="436017" cy="392882"/>
          </a:xfrm>
        </p:grpSpPr>
        <p:sp>
          <p:nvSpPr>
            <p:cNvPr id="32" name="TextBox 31">
              <a:extLst>
                <a:ext uri="{FF2B5EF4-FFF2-40B4-BE49-F238E27FC236}">
                  <a16:creationId xmlns:a16="http://schemas.microsoft.com/office/drawing/2014/main" id="{61C11229-B5CB-A6E9-193F-950E21BC54E9}"/>
                </a:ext>
              </a:extLst>
            </p:cNvPr>
            <p:cNvSpPr txBox="1"/>
            <p:nvPr/>
          </p:nvSpPr>
          <p:spPr>
            <a:xfrm>
              <a:off x="11020076" y="1210501"/>
              <a:ext cx="436017" cy="161583"/>
            </a:xfrm>
            <a:prstGeom prst="rect">
              <a:avLst/>
            </a:prstGeom>
            <a:noFill/>
          </p:spPr>
          <p:txBody>
            <a:bodyPr wrap="none" lIns="0" tIns="0" rIns="0" bIns="0" rtlCol="0">
              <a:spAutoFit/>
            </a:bodyPr>
            <a:lstStyle/>
            <a:p>
              <a:pPr algn="r"/>
              <a:r>
                <a:rPr lang="en-GB" sz="1050">
                  <a:solidFill>
                    <a:schemeClr val="accent3">
                      <a:lumMod val="50000"/>
                    </a:schemeClr>
                  </a:solidFill>
                  <a:latin typeface="Arial" panose="020B0604020202020204" pitchFamily="34" charset="0"/>
                  <a:cs typeface="Arial" panose="020B0604020202020204" pitchFamily="34" charset="0"/>
                </a:rPr>
                <a:t>Neutral</a:t>
              </a:r>
            </a:p>
          </p:txBody>
        </p:sp>
        <p:grpSp>
          <p:nvGrpSpPr>
            <p:cNvPr id="33" name="Group 32">
              <a:extLst>
                <a:ext uri="{FF2B5EF4-FFF2-40B4-BE49-F238E27FC236}">
                  <a16:creationId xmlns:a16="http://schemas.microsoft.com/office/drawing/2014/main" id="{AF0E90F9-CDF7-CD38-2D1E-8FD10336347F}"/>
                </a:ext>
              </a:extLst>
            </p:cNvPr>
            <p:cNvGrpSpPr>
              <a:grpSpLocks noChangeAspect="1"/>
            </p:cNvGrpSpPr>
            <p:nvPr/>
          </p:nvGrpSpPr>
          <p:grpSpPr>
            <a:xfrm>
              <a:off x="11069401" y="979202"/>
              <a:ext cx="342268" cy="313200"/>
              <a:chOff x="11075627" y="402317"/>
              <a:chExt cx="525527" cy="480895"/>
            </a:xfrm>
          </p:grpSpPr>
          <p:pic>
            <p:nvPicPr>
              <p:cNvPr id="34" name="Graphic 33" descr="Arrow: Straight with solid fill">
                <a:extLst>
                  <a:ext uri="{FF2B5EF4-FFF2-40B4-BE49-F238E27FC236}">
                    <a16:creationId xmlns:a16="http://schemas.microsoft.com/office/drawing/2014/main" id="{4C1244AE-797B-5568-4F9E-5B7E06AA1C67}"/>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rot="10800000">
                <a:off x="11183549" y="402317"/>
                <a:ext cx="417605" cy="410138"/>
              </a:xfrm>
              <a:prstGeom prst="rect">
                <a:avLst/>
              </a:prstGeom>
            </p:spPr>
          </p:pic>
          <p:pic>
            <p:nvPicPr>
              <p:cNvPr id="35" name="Graphic 34" descr="Arrow: Straight with solid fill">
                <a:extLst>
                  <a:ext uri="{FF2B5EF4-FFF2-40B4-BE49-F238E27FC236}">
                    <a16:creationId xmlns:a16="http://schemas.microsoft.com/office/drawing/2014/main" id="{0F45D3BF-B50C-8122-7E35-B1267DF1D2B2}"/>
                  </a:ext>
                </a:extLst>
              </p:cNvPr>
              <p:cNvPicPr>
                <a:picLocks noChangeAspect="1"/>
              </p:cNvPicPr>
              <p:nvPr userDrawn="1"/>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11075627" y="473074"/>
                <a:ext cx="417605" cy="410138"/>
              </a:xfrm>
              <a:prstGeom prst="rect">
                <a:avLst/>
              </a:prstGeom>
            </p:spPr>
          </p:pic>
        </p:grpSp>
      </p:grpSp>
    </p:spTree>
    <p:extLst>
      <p:ext uri="{BB962C8B-B14F-4D97-AF65-F5344CB8AC3E}">
        <p14:creationId xmlns:p14="http://schemas.microsoft.com/office/powerpoint/2010/main" val="2140182885"/>
      </p:ext>
    </p:extLst>
  </p:cSld>
  <p:clrMapOvr>
    <a:masterClrMapping/>
  </p:clrMapOvr>
  <p:extLst>
    <p:ext uri="{DCECCB84-F9BA-43D5-87BE-67443E8EF086}">
      <p15:sldGuideLst xmlns:p15="http://schemas.microsoft.com/office/powerpoint/2012/main">
        <p15:guide id="1" pos="551">
          <p15:clr>
            <a:srgbClr val="5ACBF0"/>
          </p15:clr>
        </p15:guide>
        <p15:guide id="2" pos="2479">
          <p15:clr>
            <a:srgbClr val="5ACBF0"/>
          </p15:clr>
        </p15:guide>
        <p15:guide id="3" pos="2955">
          <p15:clr>
            <a:srgbClr val="5ACBF0"/>
          </p15:clr>
        </p15:guide>
        <p15:guide id="4" pos="4861">
          <p15:clr>
            <a:srgbClr val="5ACBF0"/>
          </p15:clr>
        </p15:guide>
        <p15:guide id="5" pos="7242">
          <p15:clr>
            <a:srgbClr val="5ACBF0"/>
          </p15:clr>
        </p15:guide>
        <p15:guide id="6" pos="5337">
          <p15:clr>
            <a:srgbClr val="5ACBF0"/>
          </p15:clr>
        </p15:guide>
        <p15:guide id="7" orient="horz" pos="1094">
          <p15:clr>
            <a:srgbClr val="5ACBF0"/>
          </p15:clr>
        </p15:guide>
        <p15:guide id="8" orient="horz" pos="1933">
          <p15:clr>
            <a:srgbClr val="5ACBF0"/>
          </p15:clr>
        </p15:guide>
        <p15:guide id="9" orient="horz" pos="799">
          <p15:clr>
            <a:srgbClr val="F26B43"/>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Key Data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11430000" cy="215999"/>
          </a:xfrm>
          <a:noFill/>
        </p:spPr>
        <p:txBody>
          <a:bodyPr lIns="0">
            <a:noAutofit/>
          </a:bodyPr>
          <a:lstStyle>
            <a:lvl1pPr>
              <a:defRPr sz="1000" b="0">
                <a:solidFill>
                  <a:schemeClr val="bg2">
                    <a:lumMod val="10000"/>
                  </a:schemeClr>
                </a:solidFill>
              </a:defRPr>
            </a:lvl1pPr>
            <a:lvl5pPr>
              <a:defRPr sz="700">
                <a:solidFill>
                  <a:schemeClr val="tx1"/>
                </a:solidFill>
              </a:defRPr>
            </a:lvl5pPr>
          </a:lstStyle>
          <a:p>
            <a:pPr lvl="0"/>
            <a:r>
              <a:rPr lang="en-US"/>
              <a:t>Add your DATA source here</a:t>
            </a:r>
            <a:endParaRPr lang="en-GB"/>
          </a:p>
        </p:txBody>
      </p:sp>
      <p:sp>
        <p:nvSpPr>
          <p:cNvPr id="6" name="Table Placeholder 5">
            <a:extLst>
              <a:ext uri="{FF2B5EF4-FFF2-40B4-BE49-F238E27FC236}">
                <a16:creationId xmlns:a16="http://schemas.microsoft.com/office/drawing/2014/main" id="{846E78D3-677C-7EEB-5DCC-838E09C1BFD1}"/>
              </a:ext>
            </a:extLst>
          </p:cNvPr>
          <p:cNvSpPr>
            <a:spLocks noGrp="1"/>
          </p:cNvSpPr>
          <p:nvPr>
            <p:ph type="tbl" sz="quarter" idx="16"/>
          </p:nvPr>
        </p:nvSpPr>
        <p:spPr>
          <a:xfrm>
            <a:off x="413548" y="1299600"/>
            <a:ext cx="11364913" cy="4613838"/>
          </a:xfrm>
          <a:noFill/>
        </p:spPr>
        <p:txBody>
          <a:bodyPr/>
          <a:lstStyle>
            <a:lvl1pPr algn="ctr">
              <a:defRPr b="0"/>
            </a:lvl1pPr>
          </a:lstStyle>
          <a:p>
            <a:endParaRPr lang="en-GB"/>
          </a:p>
        </p:txBody>
      </p:sp>
      <p:sp>
        <p:nvSpPr>
          <p:cNvPr id="15" name="Footer Placeholder 4">
            <a:extLst>
              <a:ext uri="{FF2B5EF4-FFF2-40B4-BE49-F238E27FC236}">
                <a16:creationId xmlns:a16="http://schemas.microsoft.com/office/drawing/2014/main" id="{51FD0202-2933-261F-FDB3-97C8B4591D9E}"/>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Battery Value Chain Outlook</a:t>
            </a:r>
          </a:p>
        </p:txBody>
      </p:sp>
    </p:spTree>
    <p:extLst>
      <p:ext uri="{BB962C8B-B14F-4D97-AF65-F5344CB8AC3E}">
        <p14:creationId xmlns:p14="http://schemas.microsoft.com/office/powerpoint/2010/main" val="1504338676"/>
      </p:ext>
    </p:extLst>
  </p:cSld>
  <p:clrMapOvr>
    <a:masterClrMapping/>
  </p:clrMapOvr>
  <p:extLst>
    <p:ext uri="{DCECCB84-F9BA-43D5-87BE-67443E8EF086}">
      <p15:sldGuideLst xmlns:p15="http://schemas.microsoft.com/office/powerpoint/2012/main">
        <p15:guide id="1" orient="horz" pos="618">
          <p15:clr>
            <a:srgbClr val="F26B43"/>
          </p15:clr>
        </p15:guide>
        <p15:guide id="2" orient="horz" pos="3725">
          <p15:clr>
            <a:srgbClr val="F26B43"/>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 Content + Text -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3537" y="1251472"/>
            <a:ext cx="7560000" cy="288000"/>
          </a:xfrm>
          <a:noFill/>
        </p:spPr>
        <p:txBody>
          <a:bodyPr lIns="0">
            <a:noAutofit/>
          </a:bodyPr>
          <a:lstStyle>
            <a:lvl1pPr>
              <a:defRPr sz="1300">
                <a:solidFill>
                  <a:schemeClr val="accent6"/>
                </a:solidFill>
              </a:defRPr>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2749" y="1618672"/>
            <a:ext cx="7560000" cy="4284000"/>
          </a:xfrm>
          <a:noFill/>
        </p:spPr>
        <p:txBody>
          <a:bodyPr/>
          <a:lstStyle>
            <a:lvl1pPr algn="ctr">
              <a:defRPr b="0"/>
            </a:lvl1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hasCustomPrompt="1"/>
          </p:nvPr>
        </p:nvSpPr>
        <p:spPr>
          <a:xfrm>
            <a:off x="7998461" y="1251472"/>
            <a:ext cx="3780000" cy="4928400"/>
          </a:xfrm>
          <a:noFill/>
          <a:effectLst/>
        </p:spPr>
        <p:txBody>
          <a:bodyPr vert="horz" lIns="252000" tIns="252000" rIns="252000" bIns="252000" rtlCol="0" anchor="ctr" anchorCtr="0">
            <a:noAutofit/>
          </a:bodyPr>
          <a:lstStyle>
            <a:lvl1pPr>
              <a:defRPr lang="en-US"/>
            </a:lvl1pPr>
            <a:lvl2pPr>
              <a:defRPr lang="en-US"/>
            </a:lvl2pPr>
            <a:lvl3pPr>
              <a:defRPr lang="en-US"/>
            </a:lvl3pPr>
            <a:lvl4pPr>
              <a:defRPr lang="en-US"/>
            </a:lvl4pPr>
            <a:lvl5pPr>
              <a:defRPr lang="en-GB"/>
            </a:lvl5pPr>
          </a:lstStyle>
          <a:p>
            <a:pPr lvl="0"/>
            <a:r>
              <a:rPr lang="en-US"/>
              <a:t>Active Headline</a:t>
            </a:r>
          </a:p>
          <a:p>
            <a:pPr lvl="1"/>
            <a:r>
              <a:rPr lang="en-US"/>
              <a:t>Body text</a:t>
            </a:r>
          </a:p>
          <a:p>
            <a:pPr lvl="2"/>
            <a:r>
              <a:rPr lang="en-US"/>
              <a:t>Bullets</a:t>
            </a:r>
          </a:p>
          <a:p>
            <a:pPr lvl="3"/>
            <a:r>
              <a:rPr lang="en-US"/>
              <a:t>2nd level bullets</a:t>
            </a:r>
          </a:p>
          <a:p>
            <a:pPr lvl="4"/>
            <a:r>
              <a:rPr lang="en-US"/>
              <a:t>Notes tex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5982936"/>
            <a:ext cx="7585200" cy="215999"/>
          </a:xfrm>
          <a:noFill/>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17" name="Footer Placeholder 4">
            <a:extLst>
              <a:ext uri="{FF2B5EF4-FFF2-40B4-BE49-F238E27FC236}">
                <a16:creationId xmlns:a16="http://schemas.microsoft.com/office/drawing/2014/main" id="{7E01DB59-9B37-F04F-3777-8FF058C3589A}"/>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Battery Value Chain Outlook</a:t>
            </a:r>
          </a:p>
        </p:txBody>
      </p:sp>
    </p:spTree>
    <p:extLst>
      <p:ext uri="{BB962C8B-B14F-4D97-AF65-F5344CB8AC3E}">
        <p14:creationId xmlns:p14="http://schemas.microsoft.com/office/powerpoint/2010/main" val="2699484727"/>
      </p:ext>
    </p:extLst>
  </p:cSld>
  <p:clrMapOvr>
    <a:masterClrMapping/>
  </p:clrMapOvr>
  <p:extLst>
    <p:ext uri="{DCECCB84-F9BA-43D5-87BE-67443E8EF086}">
      <p15:sldGuideLst xmlns:p15="http://schemas.microsoft.com/office/powerpoint/2012/main">
        <p15:guide id="1" pos="665">
          <p15:clr>
            <a:srgbClr val="5ACBF0"/>
          </p15:clr>
        </p15:guide>
        <p15:guide id="2" pos="4747">
          <p15:clr>
            <a:srgbClr val="5ACBF0"/>
          </p15:clr>
        </p15:guide>
        <p15:guide id="3" orient="horz" pos="1457">
          <p15:clr>
            <a:srgbClr val="5ACBF0"/>
          </p15:clr>
        </p15:guide>
        <p15:guide id="4" orient="horz" pos="3294">
          <p15:clr>
            <a:srgbClr val="5ACBF0"/>
          </p15:clr>
        </p15:guide>
        <p15:guide id="5" orient="horz" pos="913">
          <p15:clr>
            <a:srgbClr val="F26B43"/>
          </p15:clr>
        </p15:guide>
        <p15:guide id="6" orient="horz" pos="3702">
          <p15:clr>
            <a:srgbClr val="F26B43"/>
          </p15:clr>
        </p15:guide>
        <p15:guide id="7" pos="5042">
          <p15:clr>
            <a:srgbClr val="F26B43"/>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 Content + Text -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3536" y="1251472"/>
            <a:ext cx="7585200" cy="288000"/>
          </a:xfrm>
          <a:noFill/>
        </p:spPr>
        <p:txBody>
          <a:bodyPr lIns="0">
            <a:noAutofit/>
          </a:bodyPr>
          <a:lstStyle>
            <a:lvl1pPr>
              <a:defRPr sz="1300">
                <a:solidFill>
                  <a:schemeClr val="accent6"/>
                </a:solidFill>
              </a:defRPr>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3999" y="1578916"/>
            <a:ext cx="7585200" cy="2016000"/>
          </a:xfrm>
          <a:noFill/>
        </p:spPr>
        <p:txBody>
          <a:bodyPr/>
          <a:lstStyle>
            <a:lvl1pPr algn="ctr">
              <a:defRPr b="0"/>
            </a:lvl1pPr>
            <a:lvl5pPr>
              <a:defRPr/>
            </a:lvl5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hasCustomPrompt="1"/>
          </p:nvPr>
        </p:nvSpPr>
        <p:spPr>
          <a:xfrm>
            <a:off x="7998461" y="1251472"/>
            <a:ext cx="3780000" cy="4928400"/>
          </a:xfrm>
          <a:noFill/>
          <a:effectLst/>
        </p:spPr>
        <p:txBody>
          <a:bodyPr vert="horz" lIns="252000" tIns="252000" rIns="252000" bIns="252000" rtlCol="0" anchor="ctr" anchorCtr="0">
            <a:noAutofit/>
          </a:bodyPr>
          <a:lstStyle>
            <a:lvl1pPr>
              <a:defRPr lang="en-US"/>
            </a:lvl1pPr>
            <a:lvl2pPr>
              <a:defRPr lang="en-US"/>
            </a:lvl2pPr>
            <a:lvl3pPr>
              <a:defRPr lang="en-US"/>
            </a:lvl3pPr>
            <a:lvl4pPr>
              <a:defRPr lang="en-US"/>
            </a:lvl4pPr>
            <a:lvl5pPr>
              <a:defRPr lang="en-GB"/>
            </a:lvl5pPr>
          </a:lstStyle>
          <a:p>
            <a:pPr lvl="0"/>
            <a:r>
              <a:rPr lang="en-US"/>
              <a:t>Active Headline</a:t>
            </a:r>
          </a:p>
          <a:p>
            <a:pPr lvl="1"/>
            <a:r>
              <a:rPr lang="en-US"/>
              <a:t>Body text</a:t>
            </a:r>
          </a:p>
          <a:p>
            <a:pPr lvl="2"/>
            <a:r>
              <a:rPr lang="en-US"/>
              <a:t>Bullets</a:t>
            </a:r>
          </a:p>
          <a:p>
            <a:pPr lvl="3"/>
            <a:r>
              <a:rPr lang="en-US"/>
              <a:t>2nd level bullets</a:t>
            </a:r>
          </a:p>
          <a:p>
            <a:pPr lvl="4"/>
            <a:r>
              <a:rPr lang="en-US"/>
              <a:t>Notes tex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7585200" cy="215999"/>
          </a:xfrm>
          <a:noFill/>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9" name="Text Placeholder 5">
            <a:extLst>
              <a:ext uri="{FF2B5EF4-FFF2-40B4-BE49-F238E27FC236}">
                <a16:creationId xmlns:a16="http://schemas.microsoft.com/office/drawing/2014/main" id="{D49A370F-20C1-AE2C-2D28-B67039D93F62}"/>
              </a:ext>
            </a:extLst>
          </p:cNvPr>
          <p:cNvSpPr>
            <a:spLocks noGrp="1"/>
          </p:cNvSpPr>
          <p:nvPr>
            <p:ph type="body" sz="quarter" idx="16" hasCustomPrompt="1"/>
          </p:nvPr>
        </p:nvSpPr>
        <p:spPr>
          <a:xfrm>
            <a:off x="414000" y="3636899"/>
            <a:ext cx="7585200" cy="288000"/>
          </a:xfrm>
          <a:noFill/>
        </p:spPr>
        <p:txBody>
          <a:bodyPr lIns="0">
            <a:noAutofit/>
          </a:bodyPr>
          <a:lstStyle>
            <a:lvl1pPr>
              <a:defRPr sz="1300">
                <a:solidFill>
                  <a:schemeClr val="accent6"/>
                </a:solidFill>
              </a:defRPr>
            </a:lvl1pPr>
          </a:lstStyle>
          <a:p>
            <a:pPr lvl="0"/>
            <a:r>
              <a:rPr lang="en-US"/>
              <a:t>Chart headline</a:t>
            </a:r>
          </a:p>
        </p:txBody>
      </p:sp>
      <p:sp>
        <p:nvSpPr>
          <p:cNvPr id="11" name="Content Placeholder 7">
            <a:extLst>
              <a:ext uri="{FF2B5EF4-FFF2-40B4-BE49-F238E27FC236}">
                <a16:creationId xmlns:a16="http://schemas.microsoft.com/office/drawing/2014/main" id="{9AE049FE-3B8F-256A-D7E8-577C76D40781}"/>
              </a:ext>
            </a:extLst>
          </p:cNvPr>
          <p:cNvSpPr>
            <a:spLocks noGrp="1"/>
          </p:cNvSpPr>
          <p:nvPr>
            <p:ph sz="quarter" idx="17" hasCustomPrompt="1"/>
          </p:nvPr>
        </p:nvSpPr>
        <p:spPr>
          <a:xfrm>
            <a:off x="413027" y="3966538"/>
            <a:ext cx="7585200" cy="2016000"/>
          </a:xfrm>
          <a:noFill/>
        </p:spPr>
        <p:txBody>
          <a:bodyPr/>
          <a:lstStyle>
            <a:lvl1pPr algn="ctr">
              <a:defRPr b="0"/>
            </a:lvl1pPr>
            <a:lvl5pPr>
              <a:defRPr/>
            </a:lvl5pPr>
          </a:lstStyle>
          <a:p>
            <a:pPr lvl="0"/>
            <a:r>
              <a:rPr lang="en-US"/>
              <a:t>Insert Chart</a:t>
            </a:r>
            <a:endParaRPr lang="en-GB"/>
          </a:p>
        </p:txBody>
      </p:sp>
      <p:sp>
        <p:nvSpPr>
          <p:cNvPr id="19" name="Footer Placeholder 4">
            <a:extLst>
              <a:ext uri="{FF2B5EF4-FFF2-40B4-BE49-F238E27FC236}">
                <a16:creationId xmlns:a16="http://schemas.microsoft.com/office/drawing/2014/main" id="{B0FE7F07-C9DD-79C9-6757-C27B73B8C7A5}"/>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Battery Value Chain Outlook</a:t>
            </a:r>
          </a:p>
        </p:txBody>
      </p:sp>
    </p:spTree>
    <p:extLst>
      <p:ext uri="{BB962C8B-B14F-4D97-AF65-F5344CB8AC3E}">
        <p14:creationId xmlns:p14="http://schemas.microsoft.com/office/powerpoint/2010/main" val="1341947758"/>
      </p:ext>
    </p:extLst>
  </p:cSld>
  <p:clrMapOvr>
    <a:masterClrMapping/>
  </p:clrMapOvr>
  <p:extLst>
    <p:ext uri="{DCECCB84-F9BA-43D5-87BE-67443E8EF086}">
      <p15:sldGuideLst xmlns:p15="http://schemas.microsoft.com/office/powerpoint/2012/main">
        <p15:guide id="1" pos="665">
          <p15:clr>
            <a:srgbClr val="5ACBF0"/>
          </p15:clr>
        </p15:guide>
        <p15:guide id="4" pos="4747">
          <p15:clr>
            <a:srgbClr val="5ACBF0"/>
          </p15:clr>
        </p15:guide>
        <p15:guide id="5" orient="horz" pos="1071">
          <p15:clr>
            <a:srgbClr val="5ACBF0"/>
          </p15:clr>
        </p15:guide>
        <p15:guide id="6" orient="horz" pos="1911">
          <p15:clr>
            <a:srgbClr val="5ACBF0"/>
          </p15:clr>
        </p15:guide>
        <p15:guide id="7" orient="horz" pos="3521">
          <p15:clr>
            <a:srgbClr val="5ACBF0"/>
          </p15:clr>
        </p15:guide>
        <p15:guide id="8" orient="horz" pos="2636">
          <p15:clr>
            <a:srgbClr val="5ACBF0"/>
          </p15:clr>
        </p15:guide>
        <p15:guide id="9" orient="horz" pos="799">
          <p15:clr>
            <a:srgbClr val="F26B43"/>
          </p15:clr>
        </p15:guide>
        <p15:guide id="10" orient="horz" pos="2364">
          <p15:clr>
            <a:srgbClr val="F26B43"/>
          </p15:clr>
        </p15:guide>
        <p15:guide id="11" orient="horz" pos="3725">
          <p15:clr>
            <a:srgbClr val="F26B43"/>
          </p15:clr>
        </p15:guide>
        <p15:guide id="12" pos="5042">
          <p15:clr>
            <a:srgbClr val="F26B43"/>
          </p15:clr>
        </p15:guide>
        <p15:guide id="13" pos="2638">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4 Content + Text -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p:nvPr>
        </p:nvSpPr>
        <p:spPr>
          <a:xfrm>
            <a:off x="413537" y="1251472"/>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4000" y="1618672"/>
            <a:ext cx="3780000" cy="4284000"/>
          </a:xfrm>
          <a:noFill/>
        </p:spPr>
        <p:txBody>
          <a:bodyPr/>
          <a:lstStyle>
            <a:lvl1pPr algn="ctr">
              <a:defRPr b="0"/>
            </a:lvl1pPr>
            <a:lvl5pPr>
              <a:defRPr/>
            </a:lvl5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hasCustomPrompt="1"/>
          </p:nvPr>
        </p:nvSpPr>
        <p:spPr>
          <a:xfrm>
            <a:off x="7998461" y="1251472"/>
            <a:ext cx="3780000" cy="4936100"/>
          </a:xfrm>
          <a:noFill/>
          <a:effectLst/>
        </p:spPr>
        <p:txBody>
          <a:bodyPr vert="horz" lIns="252000" tIns="252000" rIns="252000" bIns="252000" rtlCol="0" anchor="ctr" anchorCtr="0">
            <a:noAutofit/>
          </a:bodyPr>
          <a:lstStyle>
            <a:lvl1pPr>
              <a:defRPr lang="en-US"/>
            </a:lvl1pPr>
            <a:lvl2pPr>
              <a:defRPr lang="en-US"/>
            </a:lvl2pPr>
            <a:lvl3pPr>
              <a:defRPr lang="en-US"/>
            </a:lvl3pPr>
            <a:lvl4pPr>
              <a:defRPr lang="en-US"/>
            </a:lvl4pPr>
            <a:lvl5pPr>
              <a:defRPr lang="en-GB"/>
            </a:lvl5pPr>
          </a:lstStyle>
          <a:p>
            <a:pPr lvl="0"/>
            <a:r>
              <a:rPr lang="en-US"/>
              <a:t>Active Headline</a:t>
            </a:r>
          </a:p>
          <a:p>
            <a:pPr lvl="1"/>
            <a:r>
              <a:rPr lang="en-US"/>
              <a:t>Body text</a:t>
            </a:r>
          </a:p>
          <a:p>
            <a:pPr lvl="2"/>
            <a:r>
              <a:rPr lang="en-US"/>
              <a:t>Bullets</a:t>
            </a:r>
          </a:p>
          <a:p>
            <a:pPr lvl="3"/>
            <a:r>
              <a:rPr lang="en-US"/>
              <a:t>2nd level bullets</a:t>
            </a:r>
          </a:p>
          <a:p>
            <a:pPr lvl="4"/>
            <a:r>
              <a:rPr lang="en-US"/>
              <a:t>Notes tex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7560000" cy="215999"/>
          </a:xfrm>
          <a:noFill/>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13" name="Text Placeholder 5">
            <a:extLst>
              <a:ext uri="{FF2B5EF4-FFF2-40B4-BE49-F238E27FC236}">
                <a16:creationId xmlns:a16="http://schemas.microsoft.com/office/drawing/2014/main" id="{0F05E3CC-77D8-00D4-3892-43359D3D440D}"/>
              </a:ext>
            </a:extLst>
          </p:cNvPr>
          <p:cNvSpPr>
            <a:spLocks noGrp="1"/>
          </p:cNvSpPr>
          <p:nvPr>
            <p:ph type="body" sz="quarter" idx="20"/>
          </p:nvPr>
        </p:nvSpPr>
        <p:spPr>
          <a:xfrm>
            <a:off x="4212000" y="1251472"/>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14" name="Content Placeholder 7">
            <a:extLst>
              <a:ext uri="{FF2B5EF4-FFF2-40B4-BE49-F238E27FC236}">
                <a16:creationId xmlns:a16="http://schemas.microsoft.com/office/drawing/2014/main" id="{CB8F5FCB-FB91-1CC1-0B13-4616C17F6F8D}"/>
              </a:ext>
            </a:extLst>
          </p:cNvPr>
          <p:cNvSpPr>
            <a:spLocks noGrp="1"/>
          </p:cNvSpPr>
          <p:nvPr>
            <p:ph sz="quarter" idx="21" hasCustomPrompt="1"/>
          </p:nvPr>
        </p:nvSpPr>
        <p:spPr>
          <a:xfrm>
            <a:off x="4211999" y="1618672"/>
            <a:ext cx="3780000" cy="4284000"/>
          </a:xfrm>
          <a:noFill/>
        </p:spPr>
        <p:txBody>
          <a:bodyPr/>
          <a:lstStyle>
            <a:lvl1pPr algn="ctr">
              <a:defRPr b="0"/>
            </a:lvl1pPr>
            <a:lvl5pPr>
              <a:defRPr/>
            </a:lvl5pPr>
          </a:lstStyle>
          <a:p>
            <a:pPr lvl="0"/>
            <a:r>
              <a:rPr lang="en-US"/>
              <a:t>Insert Chart</a:t>
            </a:r>
            <a:endParaRPr lang="en-GB"/>
          </a:p>
        </p:txBody>
      </p:sp>
      <p:sp>
        <p:nvSpPr>
          <p:cNvPr id="19" name="Footer Placeholder 4">
            <a:extLst>
              <a:ext uri="{FF2B5EF4-FFF2-40B4-BE49-F238E27FC236}">
                <a16:creationId xmlns:a16="http://schemas.microsoft.com/office/drawing/2014/main" id="{A7EAE299-1F76-73EE-8745-EE23D4D11B09}"/>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Battery Value Chain Outlook</a:t>
            </a:r>
          </a:p>
        </p:txBody>
      </p:sp>
    </p:spTree>
    <p:extLst>
      <p:ext uri="{BB962C8B-B14F-4D97-AF65-F5344CB8AC3E}">
        <p14:creationId xmlns:p14="http://schemas.microsoft.com/office/powerpoint/2010/main" val="1015125823"/>
      </p:ext>
    </p:extLst>
  </p:cSld>
  <p:clrMapOvr>
    <a:masterClrMapping/>
  </p:clrMapOvr>
  <p:extLst>
    <p:ext uri="{DCECCB84-F9BA-43D5-87BE-67443E8EF086}">
      <p15:sldGuideLst xmlns:p15="http://schemas.microsoft.com/office/powerpoint/2012/main">
        <p15:guide id="1" pos="665">
          <p15:clr>
            <a:srgbClr val="5ACBF0"/>
          </p15:clr>
        </p15:guide>
        <p15:guide id="2" pos="2434">
          <p15:clr>
            <a:srgbClr val="5ACBF0"/>
          </p15:clr>
        </p15:guide>
        <p15:guide id="3" pos="3069">
          <p15:clr>
            <a:srgbClr val="5ACBF0"/>
          </p15:clr>
        </p15:guide>
        <p15:guide id="4" pos="4838">
          <p15:clr>
            <a:srgbClr val="5ACBF0"/>
          </p15:clr>
        </p15:guide>
        <p15:guide id="5" orient="horz" pos="1253">
          <p15:clr>
            <a:srgbClr val="5ACBF0"/>
          </p15:clr>
        </p15:guide>
        <p15:guide id="7" orient="horz" pos="3271">
          <p15:clr>
            <a:srgbClr val="5ACBF0"/>
          </p15:clr>
        </p15:guide>
        <p15:guide id="9" orient="horz" pos="799">
          <p15:clr>
            <a:srgbClr val="F26B43"/>
          </p15:clr>
        </p15:guide>
        <p15:guide id="11" orient="horz" pos="3725">
          <p15:clr>
            <a:srgbClr val="F26B43"/>
          </p15:clr>
        </p15:guide>
        <p15:guide id="12" pos="5042">
          <p15:clr>
            <a:srgbClr val="F26B43"/>
          </p15:clr>
        </p15:guide>
        <p15:guide id="13" pos="2638">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4 Content + Text -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p:nvPr>
        </p:nvSpPr>
        <p:spPr>
          <a:xfrm>
            <a:off x="413537" y="1251472"/>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4000" y="1618672"/>
            <a:ext cx="3780000" cy="4284000"/>
          </a:xfrm>
          <a:noFill/>
        </p:spPr>
        <p:txBody>
          <a:bodyPr/>
          <a:lstStyle>
            <a:lvl1pPr algn="ctr">
              <a:defRPr b="0"/>
            </a:lvl1pPr>
            <a:lvl5pPr>
              <a:defRPr/>
            </a:lvl5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hasCustomPrompt="1"/>
          </p:nvPr>
        </p:nvSpPr>
        <p:spPr>
          <a:xfrm>
            <a:off x="7998461" y="1251472"/>
            <a:ext cx="3780000" cy="4936100"/>
          </a:xfrm>
          <a:noFill/>
          <a:effectLst/>
        </p:spPr>
        <p:txBody>
          <a:bodyPr vert="horz" lIns="252000" tIns="252000" rIns="252000" bIns="252000" rtlCol="0" anchor="ctr" anchorCtr="0">
            <a:noAutofit/>
          </a:bodyPr>
          <a:lstStyle>
            <a:lvl1pPr>
              <a:defRPr lang="en-US"/>
            </a:lvl1pPr>
            <a:lvl2pPr>
              <a:defRPr lang="en-US"/>
            </a:lvl2pPr>
            <a:lvl3pPr>
              <a:defRPr lang="en-US"/>
            </a:lvl3pPr>
            <a:lvl4pPr>
              <a:defRPr lang="en-US"/>
            </a:lvl4pPr>
            <a:lvl5pPr>
              <a:defRPr lang="en-GB"/>
            </a:lvl5pPr>
          </a:lstStyle>
          <a:p>
            <a:pPr lvl="0"/>
            <a:r>
              <a:rPr lang="en-US"/>
              <a:t>Active Headline</a:t>
            </a:r>
          </a:p>
          <a:p>
            <a:pPr lvl="1"/>
            <a:r>
              <a:rPr lang="en-US"/>
              <a:t>Body text</a:t>
            </a:r>
          </a:p>
          <a:p>
            <a:pPr lvl="2"/>
            <a:r>
              <a:rPr lang="en-US"/>
              <a:t>Bullets</a:t>
            </a:r>
          </a:p>
          <a:p>
            <a:pPr lvl="3"/>
            <a:r>
              <a:rPr lang="en-US"/>
              <a:t>2nd level bullets</a:t>
            </a:r>
          </a:p>
          <a:p>
            <a:pPr lvl="4"/>
            <a:r>
              <a:rPr lang="en-US"/>
              <a:t>Notes tex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7560000" cy="215999"/>
          </a:xfrm>
          <a:noFill/>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13" name="Text Placeholder 5">
            <a:extLst>
              <a:ext uri="{FF2B5EF4-FFF2-40B4-BE49-F238E27FC236}">
                <a16:creationId xmlns:a16="http://schemas.microsoft.com/office/drawing/2014/main" id="{0F05E3CC-77D8-00D4-3892-43359D3D440D}"/>
              </a:ext>
            </a:extLst>
          </p:cNvPr>
          <p:cNvSpPr>
            <a:spLocks noGrp="1"/>
          </p:cNvSpPr>
          <p:nvPr>
            <p:ph type="body" sz="quarter" idx="20"/>
          </p:nvPr>
        </p:nvSpPr>
        <p:spPr>
          <a:xfrm>
            <a:off x="4212000" y="1251472"/>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14" name="Content Placeholder 7">
            <a:extLst>
              <a:ext uri="{FF2B5EF4-FFF2-40B4-BE49-F238E27FC236}">
                <a16:creationId xmlns:a16="http://schemas.microsoft.com/office/drawing/2014/main" id="{CB8F5FCB-FB91-1CC1-0B13-4616C17F6F8D}"/>
              </a:ext>
            </a:extLst>
          </p:cNvPr>
          <p:cNvSpPr>
            <a:spLocks noGrp="1"/>
          </p:cNvSpPr>
          <p:nvPr>
            <p:ph sz="quarter" idx="21" hasCustomPrompt="1"/>
          </p:nvPr>
        </p:nvSpPr>
        <p:spPr>
          <a:xfrm>
            <a:off x="4211999" y="1618672"/>
            <a:ext cx="3780000" cy="1921970"/>
          </a:xfrm>
          <a:noFill/>
        </p:spPr>
        <p:txBody>
          <a:bodyPr/>
          <a:lstStyle>
            <a:lvl1pPr algn="ctr">
              <a:defRPr b="0"/>
            </a:lvl1pPr>
            <a:lvl5pPr>
              <a:defRPr/>
            </a:lvl5pPr>
          </a:lstStyle>
          <a:p>
            <a:pPr lvl="0"/>
            <a:r>
              <a:rPr lang="en-US"/>
              <a:t>Insert Chart</a:t>
            </a:r>
            <a:endParaRPr lang="en-GB"/>
          </a:p>
        </p:txBody>
      </p:sp>
      <p:sp>
        <p:nvSpPr>
          <p:cNvPr id="19" name="Footer Placeholder 4">
            <a:extLst>
              <a:ext uri="{FF2B5EF4-FFF2-40B4-BE49-F238E27FC236}">
                <a16:creationId xmlns:a16="http://schemas.microsoft.com/office/drawing/2014/main" id="{A7EAE299-1F76-73EE-8745-EE23D4D11B09}"/>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Battery Value Chain Outlook</a:t>
            </a:r>
          </a:p>
        </p:txBody>
      </p:sp>
      <p:sp>
        <p:nvSpPr>
          <p:cNvPr id="3" name="Text Placeholder 5">
            <a:extLst>
              <a:ext uri="{FF2B5EF4-FFF2-40B4-BE49-F238E27FC236}">
                <a16:creationId xmlns:a16="http://schemas.microsoft.com/office/drawing/2014/main" id="{3B4901AB-1B19-543F-ECDA-5EDB06FBE945}"/>
              </a:ext>
            </a:extLst>
          </p:cNvPr>
          <p:cNvSpPr>
            <a:spLocks noGrp="1"/>
          </p:cNvSpPr>
          <p:nvPr>
            <p:ph type="body" sz="quarter" idx="22"/>
          </p:nvPr>
        </p:nvSpPr>
        <p:spPr>
          <a:xfrm>
            <a:off x="4194279" y="3615442"/>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4" name="Content Placeholder 7">
            <a:extLst>
              <a:ext uri="{FF2B5EF4-FFF2-40B4-BE49-F238E27FC236}">
                <a16:creationId xmlns:a16="http://schemas.microsoft.com/office/drawing/2014/main" id="{B6F18716-63C2-AE24-B37F-79B81DD9347F}"/>
              </a:ext>
            </a:extLst>
          </p:cNvPr>
          <p:cNvSpPr>
            <a:spLocks noGrp="1"/>
          </p:cNvSpPr>
          <p:nvPr>
            <p:ph sz="quarter" idx="23" hasCustomPrompt="1"/>
          </p:nvPr>
        </p:nvSpPr>
        <p:spPr>
          <a:xfrm>
            <a:off x="4194278" y="3982642"/>
            <a:ext cx="3780000" cy="1921970"/>
          </a:xfrm>
          <a:noFill/>
        </p:spPr>
        <p:txBody>
          <a:bodyPr/>
          <a:lstStyle>
            <a:lvl1pPr algn="ctr">
              <a:defRPr b="0"/>
            </a:lvl1pPr>
            <a:lvl5pPr>
              <a:defRPr/>
            </a:lvl5pPr>
          </a:lstStyle>
          <a:p>
            <a:pPr lvl="0"/>
            <a:r>
              <a:rPr lang="en-US"/>
              <a:t>Insert Chart</a:t>
            </a:r>
            <a:endParaRPr lang="en-GB"/>
          </a:p>
        </p:txBody>
      </p:sp>
    </p:spTree>
    <p:extLst>
      <p:ext uri="{BB962C8B-B14F-4D97-AF65-F5344CB8AC3E}">
        <p14:creationId xmlns:p14="http://schemas.microsoft.com/office/powerpoint/2010/main" val="2822476985"/>
      </p:ext>
    </p:extLst>
  </p:cSld>
  <p:clrMapOvr>
    <a:masterClrMapping/>
  </p:clrMapOvr>
  <p:extLst>
    <p:ext uri="{DCECCB84-F9BA-43D5-87BE-67443E8EF086}">
      <p15:sldGuideLst xmlns:p15="http://schemas.microsoft.com/office/powerpoint/2012/main">
        <p15:guide id="1" pos="665">
          <p15:clr>
            <a:srgbClr val="5ACBF0"/>
          </p15:clr>
        </p15:guide>
        <p15:guide id="2" pos="2434">
          <p15:clr>
            <a:srgbClr val="5ACBF0"/>
          </p15:clr>
        </p15:guide>
        <p15:guide id="3" pos="3069">
          <p15:clr>
            <a:srgbClr val="5ACBF0"/>
          </p15:clr>
        </p15:guide>
        <p15:guide id="4" pos="4838">
          <p15:clr>
            <a:srgbClr val="5ACBF0"/>
          </p15:clr>
        </p15:guide>
        <p15:guide id="5" orient="horz" pos="1253">
          <p15:clr>
            <a:srgbClr val="5ACBF0"/>
          </p15:clr>
        </p15:guide>
        <p15:guide id="7" orient="horz" pos="3271">
          <p15:clr>
            <a:srgbClr val="5ACBF0"/>
          </p15:clr>
        </p15:guide>
        <p15:guide id="9" orient="horz" pos="799">
          <p15:clr>
            <a:srgbClr val="F26B43"/>
          </p15:clr>
        </p15:guide>
        <p15:guide id="11" orient="horz" pos="3725">
          <p15:clr>
            <a:srgbClr val="F26B43"/>
          </p15:clr>
        </p15:guide>
        <p15:guide id="12" pos="5042">
          <p15:clr>
            <a:srgbClr val="F26B43"/>
          </p15:clr>
        </p15:guide>
        <p15:guide id="13" pos="2638">
          <p15:clr>
            <a:srgbClr val="F26B43"/>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3 Content + Text -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3537" y="1251472"/>
            <a:ext cx="7584923" cy="288000"/>
          </a:xfrm>
          <a:noFill/>
        </p:spPr>
        <p:txBody>
          <a:bodyPr lIns="0">
            <a:noAutofit/>
          </a:bodyPr>
          <a:lstStyle>
            <a:lvl1pPr>
              <a:defRPr sz="1300">
                <a:solidFill>
                  <a:schemeClr val="accent6"/>
                </a:solidFill>
              </a:defRPr>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4000" y="1576613"/>
            <a:ext cx="7584923" cy="2016000"/>
          </a:xfrm>
          <a:noFill/>
        </p:spPr>
        <p:txBody>
          <a:bodyPr/>
          <a:lstStyle>
            <a:lvl1pPr algn="ctr">
              <a:defRPr b="0"/>
            </a:lvl1pPr>
            <a:lvl5pPr>
              <a:defRPr/>
            </a:lvl5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hasCustomPrompt="1"/>
          </p:nvPr>
        </p:nvSpPr>
        <p:spPr>
          <a:xfrm>
            <a:off x="7998461" y="1251472"/>
            <a:ext cx="3780000" cy="4928400"/>
          </a:xfrm>
          <a:noFill/>
          <a:effectLst/>
        </p:spPr>
        <p:txBody>
          <a:bodyPr vert="horz" lIns="252000" tIns="252000" rIns="252000" bIns="252000" rtlCol="0" anchor="ctr" anchorCtr="0">
            <a:noAutofit/>
          </a:bodyPr>
          <a:lstStyle>
            <a:lvl1pPr>
              <a:defRPr lang="en-US"/>
            </a:lvl1pPr>
            <a:lvl2pPr>
              <a:defRPr lang="en-US"/>
            </a:lvl2pPr>
            <a:lvl3pPr>
              <a:defRPr lang="en-US"/>
            </a:lvl3pPr>
            <a:lvl4pPr>
              <a:defRPr lang="en-US"/>
            </a:lvl4pPr>
            <a:lvl5pPr>
              <a:defRPr lang="en-GB"/>
            </a:lvl5pPr>
          </a:lstStyle>
          <a:p>
            <a:pPr lvl="0"/>
            <a:r>
              <a:rPr lang="en-US"/>
              <a:t>Active Headline</a:t>
            </a:r>
          </a:p>
          <a:p>
            <a:pPr lvl="1"/>
            <a:r>
              <a:rPr lang="en-US"/>
              <a:t>Body text</a:t>
            </a:r>
          </a:p>
          <a:p>
            <a:pPr lvl="2"/>
            <a:r>
              <a:rPr lang="en-US"/>
              <a:t>Bullets</a:t>
            </a:r>
          </a:p>
          <a:p>
            <a:pPr lvl="3"/>
            <a:r>
              <a:rPr lang="en-US"/>
              <a:t>2nd level bullets</a:t>
            </a:r>
          </a:p>
          <a:p>
            <a:pPr lvl="4"/>
            <a:r>
              <a:rPr lang="en-US"/>
              <a:t>Notes tex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7585200" cy="215999"/>
          </a:xfrm>
          <a:noFill/>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9" name="Text Placeholder 5">
            <a:extLst>
              <a:ext uri="{FF2B5EF4-FFF2-40B4-BE49-F238E27FC236}">
                <a16:creationId xmlns:a16="http://schemas.microsoft.com/office/drawing/2014/main" id="{D49A370F-20C1-AE2C-2D28-B67039D93F62}"/>
              </a:ext>
            </a:extLst>
          </p:cNvPr>
          <p:cNvSpPr>
            <a:spLocks noGrp="1"/>
          </p:cNvSpPr>
          <p:nvPr>
            <p:ph type="body" sz="quarter" idx="16" hasCustomPrompt="1"/>
          </p:nvPr>
        </p:nvSpPr>
        <p:spPr>
          <a:xfrm>
            <a:off x="414000" y="3611386"/>
            <a:ext cx="3780000" cy="288000"/>
          </a:xfrm>
          <a:noFill/>
        </p:spPr>
        <p:txBody>
          <a:bodyPr lIns="0">
            <a:noAutofit/>
          </a:bodyPr>
          <a:lstStyle>
            <a:lvl1pPr>
              <a:defRPr sz="1300">
                <a:solidFill>
                  <a:schemeClr val="accent6"/>
                </a:solidFill>
              </a:defRPr>
            </a:lvl1pPr>
          </a:lstStyle>
          <a:p>
            <a:pPr lvl="0"/>
            <a:r>
              <a:rPr lang="en-US"/>
              <a:t>Chart headline</a:t>
            </a:r>
          </a:p>
        </p:txBody>
      </p:sp>
      <p:sp>
        <p:nvSpPr>
          <p:cNvPr id="11" name="Content Placeholder 7">
            <a:extLst>
              <a:ext uri="{FF2B5EF4-FFF2-40B4-BE49-F238E27FC236}">
                <a16:creationId xmlns:a16="http://schemas.microsoft.com/office/drawing/2014/main" id="{9AE049FE-3B8F-256A-D7E8-577C76D40781}"/>
              </a:ext>
            </a:extLst>
          </p:cNvPr>
          <p:cNvSpPr>
            <a:spLocks noGrp="1"/>
          </p:cNvSpPr>
          <p:nvPr>
            <p:ph sz="quarter" idx="17" hasCustomPrompt="1"/>
          </p:nvPr>
        </p:nvSpPr>
        <p:spPr>
          <a:xfrm>
            <a:off x="413027" y="3933637"/>
            <a:ext cx="3780000" cy="2016000"/>
          </a:xfrm>
          <a:noFill/>
        </p:spPr>
        <p:txBody>
          <a:bodyPr/>
          <a:lstStyle>
            <a:lvl1pPr algn="ctr">
              <a:defRPr b="0"/>
            </a:lvl1pPr>
            <a:lvl5pPr>
              <a:defRPr/>
            </a:lvl5pPr>
          </a:lstStyle>
          <a:p>
            <a:pPr lvl="0"/>
            <a:r>
              <a:rPr lang="en-US"/>
              <a:t>Insert Chart</a:t>
            </a:r>
            <a:endParaRPr lang="en-GB"/>
          </a:p>
        </p:txBody>
      </p:sp>
      <p:sp>
        <p:nvSpPr>
          <p:cNvPr id="13" name="Text Placeholder 5">
            <a:extLst>
              <a:ext uri="{FF2B5EF4-FFF2-40B4-BE49-F238E27FC236}">
                <a16:creationId xmlns:a16="http://schemas.microsoft.com/office/drawing/2014/main" id="{4FBC210F-4D18-EBDF-D1C0-974165764030}"/>
              </a:ext>
            </a:extLst>
          </p:cNvPr>
          <p:cNvSpPr>
            <a:spLocks noGrp="1"/>
          </p:cNvSpPr>
          <p:nvPr>
            <p:ph type="body" sz="quarter" idx="18" hasCustomPrompt="1"/>
          </p:nvPr>
        </p:nvSpPr>
        <p:spPr>
          <a:xfrm>
            <a:off x="4212000" y="3611386"/>
            <a:ext cx="3780000" cy="288000"/>
          </a:xfrm>
          <a:noFill/>
        </p:spPr>
        <p:txBody>
          <a:bodyPr lIns="0">
            <a:noAutofit/>
          </a:bodyPr>
          <a:lstStyle>
            <a:lvl1pPr>
              <a:defRPr sz="1300">
                <a:solidFill>
                  <a:schemeClr val="accent6"/>
                </a:solidFill>
              </a:defRPr>
            </a:lvl1pPr>
          </a:lstStyle>
          <a:p>
            <a:pPr lvl="0"/>
            <a:r>
              <a:rPr lang="en-US"/>
              <a:t>Chart headline</a:t>
            </a:r>
          </a:p>
        </p:txBody>
      </p:sp>
      <p:sp>
        <p:nvSpPr>
          <p:cNvPr id="14" name="Content Placeholder 7">
            <a:extLst>
              <a:ext uri="{FF2B5EF4-FFF2-40B4-BE49-F238E27FC236}">
                <a16:creationId xmlns:a16="http://schemas.microsoft.com/office/drawing/2014/main" id="{ACB90CD1-FFAF-0A5C-32B6-F90923321EA4}"/>
              </a:ext>
            </a:extLst>
          </p:cNvPr>
          <p:cNvSpPr>
            <a:spLocks noGrp="1"/>
          </p:cNvSpPr>
          <p:nvPr>
            <p:ph sz="quarter" idx="19" hasCustomPrompt="1"/>
          </p:nvPr>
        </p:nvSpPr>
        <p:spPr>
          <a:xfrm>
            <a:off x="4212000" y="3933637"/>
            <a:ext cx="3780000" cy="2016000"/>
          </a:xfrm>
          <a:noFill/>
        </p:spPr>
        <p:txBody>
          <a:bodyPr/>
          <a:lstStyle>
            <a:lvl1pPr algn="ctr">
              <a:defRPr b="0"/>
            </a:lvl1pPr>
            <a:lvl5pPr>
              <a:defRPr/>
            </a:lvl5pPr>
          </a:lstStyle>
          <a:p>
            <a:pPr lvl="0"/>
            <a:r>
              <a:rPr lang="en-US"/>
              <a:t>Insert Chart</a:t>
            </a:r>
            <a:endParaRPr lang="en-GB"/>
          </a:p>
        </p:txBody>
      </p:sp>
      <p:sp>
        <p:nvSpPr>
          <p:cNvPr id="21" name="Footer Placeholder 4">
            <a:extLst>
              <a:ext uri="{FF2B5EF4-FFF2-40B4-BE49-F238E27FC236}">
                <a16:creationId xmlns:a16="http://schemas.microsoft.com/office/drawing/2014/main" id="{9E91E95F-0B78-B0DD-44F1-9229CA6FC1F7}"/>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Battery Value Chain Outlook</a:t>
            </a:r>
          </a:p>
        </p:txBody>
      </p:sp>
    </p:spTree>
    <p:extLst>
      <p:ext uri="{BB962C8B-B14F-4D97-AF65-F5344CB8AC3E}">
        <p14:creationId xmlns:p14="http://schemas.microsoft.com/office/powerpoint/2010/main" val="2181022598"/>
      </p:ext>
    </p:extLst>
  </p:cSld>
  <p:clrMapOvr>
    <a:masterClrMapping/>
  </p:clrMapOvr>
  <p:extLst>
    <p:ext uri="{DCECCB84-F9BA-43D5-87BE-67443E8EF086}">
      <p15:sldGuideLst xmlns:p15="http://schemas.microsoft.com/office/powerpoint/2012/main">
        <p15:guide id="1" pos="665">
          <p15:clr>
            <a:srgbClr val="5ACBF0"/>
          </p15:clr>
        </p15:guide>
        <p15:guide id="2" pos="2434">
          <p15:clr>
            <a:srgbClr val="5ACBF0"/>
          </p15:clr>
        </p15:guide>
        <p15:guide id="3" pos="3069">
          <p15:clr>
            <a:srgbClr val="5ACBF0"/>
          </p15:clr>
        </p15:guide>
        <p15:guide id="4" pos="4838">
          <p15:clr>
            <a:srgbClr val="5ACBF0"/>
          </p15:clr>
        </p15:guide>
        <p15:guide id="5" orient="horz" pos="1071">
          <p15:clr>
            <a:srgbClr val="5ACBF0"/>
          </p15:clr>
        </p15:guide>
        <p15:guide id="6" orient="horz" pos="1911">
          <p15:clr>
            <a:srgbClr val="5ACBF0"/>
          </p15:clr>
        </p15:guide>
        <p15:guide id="7" orient="horz" pos="3521">
          <p15:clr>
            <a:srgbClr val="5ACBF0"/>
          </p15:clr>
        </p15:guide>
        <p15:guide id="8" orient="horz" pos="2636">
          <p15:clr>
            <a:srgbClr val="5ACBF0"/>
          </p15:clr>
        </p15:guide>
        <p15:guide id="9" orient="horz" pos="799">
          <p15:clr>
            <a:srgbClr val="F26B43"/>
          </p15:clr>
        </p15:guide>
        <p15:guide id="10" orient="horz" pos="2364">
          <p15:clr>
            <a:srgbClr val="F26B43"/>
          </p15:clr>
        </p15:guide>
        <p15:guide id="11" orient="horz" pos="3725">
          <p15:clr>
            <a:srgbClr val="F26B43"/>
          </p15:clr>
        </p15:guide>
        <p15:guide id="12" pos="5042">
          <p15:clr>
            <a:srgbClr val="F26B43"/>
          </p15:clr>
        </p15:guide>
        <p15:guide id="13" pos="2638">
          <p15:clr>
            <a:srgbClr val="F26B43"/>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4 Content + Text -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p:nvPr>
        </p:nvSpPr>
        <p:spPr>
          <a:xfrm>
            <a:off x="413537" y="1251472"/>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4000" y="1594633"/>
            <a:ext cx="3780000" cy="1980000"/>
          </a:xfrm>
          <a:noFill/>
        </p:spPr>
        <p:txBody>
          <a:bodyPr/>
          <a:lstStyle>
            <a:lvl1pPr algn="ctr">
              <a:defRPr sz="1300" b="0"/>
            </a:lvl1pPr>
            <a:lvl5pPr>
              <a:defRPr/>
            </a:lvl5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hasCustomPrompt="1"/>
          </p:nvPr>
        </p:nvSpPr>
        <p:spPr>
          <a:xfrm>
            <a:off x="7998461" y="1251472"/>
            <a:ext cx="3780000" cy="4936100"/>
          </a:xfrm>
          <a:noFill/>
          <a:effectLst/>
        </p:spPr>
        <p:txBody>
          <a:bodyPr vert="horz" lIns="252000" tIns="252000" rIns="252000" bIns="252000" rtlCol="0" anchor="ctr" anchorCtr="0">
            <a:noAutofit/>
          </a:bodyPr>
          <a:lstStyle>
            <a:lvl1pPr>
              <a:defRPr lang="en-US"/>
            </a:lvl1pPr>
            <a:lvl2pPr>
              <a:defRPr lang="en-US"/>
            </a:lvl2pPr>
            <a:lvl3pPr>
              <a:defRPr lang="en-US"/>
            </a:lvl3pPr>
            <a:lvl4pPr>
              <a:defRPr lang="en-US"/>
            </a:lvl4pPr>
            <a:lvl5pPr>
              <a:defRPr lang="en-GB"/>
            </a:lvl5pPr>
          </a:lstStyle>
          <a:p>
            <a:pPr lvl="0"/>
            <a:r>
              <a:rPr lang="en-US"/>
              <a:t>Active Headline</a:t>
            </a:r>
          </a:p>
          <a:p>
            <a:pPr lvl="1"/>
            <a:r>
              <a:rPr lang="en-US"/>
              <a:t>Body text</a:t>
            </a:r>
          </a:p>
          <a:p>
            <a:pPr lvl="2"/>
            <a:r>
              <a:rPr lang="en-US"/>
              <a:t>Bullets</a:t>
            </a:r>
          </a:p>
          <a:p>
            <a:pPr lvl="3"/>
            <a:r>
              <a:rPr lang="en-US"/>
              <a:t>2nd level bullets</a:t>
            </a:r>
          </a:p>
          <a:p>
            <a:pPr lvl="4"/>
            <a:r>
              <a:rPr lang="en-US"/>
              <a:t>Notes tex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7585200" cy="215999"/>
          </a:xfrm>
          <a:noFill/>
        </p:spPr>
        <p:txBody>
          <a:bodyPr lIns="0"/>
          <a:lstStyle>
            <a:lvl1pPr>
              <a:defRPr sz="105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5" name="Text Placeholder 5">
            <a:extLst>
              <a:ext uri="{FF2B5EF4-FFF2-40B4-BE49-F238E27FC236}">
                <a16:creationId xmlns:a16="http://schemas.microsoft.com/office/drawing/2014/main" id="{D7616806-7E32-D88B-F740-18B7BC6A1ECE}"/>
              </a:ext>
            </a:extLst>
          </p:cNvPr>
          <p:cNvSpPr>
            <a:spLocks noGrp="1"/>
          </p:cNvSpPr>
          <p:nvPr>
            <p:ph type="body" sz="quarter" idx="16"/>
          </p:nvPr>
        </p:nvSpPr>
        <p:spPr>
          <a:xfrm>
            <a:off x="414000" y="3662850"/>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7" name="Content Placeholder 7">
            <a:extLst>
              <a:ext uri="{FF2B5EF4-FFF2-40B4-BE49-F238E27FC236}">
                <a16:creationId xmlns:a16="http://schemas.microsoft.com/office/drawing/2014/main" id="{301ACA0B-90BD-21BF-F5A6-4461A144284D}"/>
              </a:ext>
            </a:extLst>
          </p:cNvPr>
          <p:cNvSpPr>
            <a:spLocks noGrp="1"/>
          </p:cNvSpPr>
          <p:nvPr>
            <p:ph sz="quarter" idx="17" hasCustomPrompt="1"/>
          </p:nvPr>
        </p:nvSpPr>
        <p:spPr>
          <a:xfrm>
            <a:off x="413027" y="3988194"/>
            <a:ext cx="3780000" cy="1980000"/>
          </a:xfrm>
          <a:noFill/>
        </p:spPr>
        <p:txBody>
          <a:bodyPr/>
          <a:lstStyle>
            <a:lvl1pPr algn="ctr">
              <a:defRPr b="0"/>
            </a:lvl1pPr>
            <a:lvl5pPr>
              <a:defRPr/>
            </a:lvl5pPr>
          </a:lstStyle>
          <a:p>
            <a:pPr lvl="0"/>
            <a:r>
              <a:rPr lang="en-US"/>
              <a:t>Insert Chart</a:t>
            </a:r>
            <a:endParaRPr lang="en-GB"/>
          </a:p>
        </p:txBody>
      </p:sp>
      <p:sp>
        <p:nvSpPr>
          <p:cNvPr id="9" name="Text Placeholder 5">
            <a:extLst>
              <a:ext uri="{FF2B5EF4-FFF2-40B4-BE49-F238E27FC236}">
                <a16:creationId xmlns:a16="http://schemas.microsoft.com/office/drawing/2014/main" id="{41A38980-B6C7-2C12-669B-DF4E926D0985}"/>
              </a:ext>
            </a:extLst>
          </p:cNvPr>
          <p:cNvSpPr>
            <a:spLocks noGrp="1"/>
          </p:cNvSpPr>
          <p:nvPr>
            <p:ph type="body" sz="quarter" idx="18"/>
          </p:nvPr>
        </p:nvSpPr>
        <p:spPr>
          <a:xfrm>
            <a:off x="4212000" y="3662850"/>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11" name="Content Placeholder 7">
            <a:extLst>
              <a:ext uri="{FF2B5EF4-FFF2-40B4-BE49-F238E27FC236}">
                <a16:creationId xmlns:a16="http://schemas.microsoft.com/office/drawing/2014/main" id="{D63835D9-5A9C-436E-DE0E-681C84B793FD}"/>
              </a:ext>
            </a:extLst>
          </p:cNvPr>
          <p:cNvSpPr>
            <a:spLocks noGrp="1"/>
          </p:cNvSpPr>
          <p:nvPr>
            <p:ph sz="quarter" idx="19" hasCustomPrompt="1"/>
          </p:nvPr>
        </p:nvSpPr>
        <p:spPr>
          <a:xfrm>
            <a:off x="4212000" y="3988194"/>
            <a:ext cx="3780000" cy="1980000"/>
          </a:xfrm>
          <a:noFill/>
        </p:spPr>
        <p:txBody>
          <a:bodyPr/>
          <a:lstStyle>
            <a:lvl1pPr algn="ctr">
              <a:defRPr b="0"/>
            </a:lvl1pPr>
            <a:lvl5pPr>
              <a:defRPr/>
            </a:lvl5pPr>
          </a:lstStyle>
          <a:p>
            <a:pPr lvl="0"/>
            <a:r>
              <a:rPr lang="en-US"/>
              <a:t>Insert Chart</a:t>
            </a:r>
            <a:endParaRPr lang="en-GB"/>
          </a:p>
        </p:txBody>
      </p:sp>
      <p:sp>
        <p:nvSpPr>
          <p:cNvPr id="13" name="Text Placeholder 5">
            <a:extLst>
              <a:ext uri="{FF2B5EF4-FFF2-40B4-BE49-F238E27FC236}">
                <a16:creationId xmlns:a16="http://schemas.microsoft.com/office/drawing/2014/main" id="{0F05E3CC-77D8-00D4-3892-43359D3D440D}"/>
              </a:ext>
            </a:extLst>
          </p:cNvPr>
          <p:cNvSpPr>
            <a:spLocks noGrp="1"/>
          </p:cNvSpPr>
          <p:nvPr>
            <p:ph type="body" sz="quarter" idx="20"/>
          </p:nvPr>
        </p:nvSpPr>
        <p:spPr>
          <a:xfrm>
            <a:off x="4212000" y="1251472"/>
            <a:ext cx="3780000" cy="288000"/>
          </a:xfrm>
          <a:noFill/>
        </p:spPr>
        <p:txBody>
          <a:bodyPr lIns="0">
            <a:noAutofit/>
          </a:bodyPr>
          <a:lstStyle>
            <a:lvl1pPr>
              <a:defRPr sz="1300">
                <a:solidFill>
                  <a:schemeClr val="accent6"/>
                </a:solidFill>
              </a:defRPr>
            </a:lvl1pPr>
          </a:lstStyle>
          <a:p>
            <a:pPr lvl="0"/>
            <a:r>
              <a:rPr lang="en-US"/>
              <a:t>Click to edit Master text styles</a:t>
            </a:r>
          </a:p>
        </p:txBody>
      </p:sp>
      <p:sp>
        <p:nvSpPr>
          <p:cNvPr id="14" name="Content Placeholder 7">
            <a:extLst>
              <a:ext uri="{FF2B5EF4-FFF2-40B4-BE49-F238E27FC236}">
                <a16:creationId xmlns:a16="http://schemas.microsoft.com/office/drawing/2014/main" id="{CB8F5FCB-FB91-1CC1-0B13-4616C17F6F8D}"/>
              </a:ext>
            </a:extLst>
          </p:cNvPr>
          <p:cNvSpPr>
            <a:spLocks noGrp="1"/>
          </p:cNvSpPr>
          <p:nvPr>
            <p:ph sz="quarter" idx="21" hasCustomPrompt="1"/>
          </p:nvPr>
        </p:nvSpPr>
        <p:spPr>
          <a:xfrm>
            <a:off x="4211999" y="1594633"/>
            <a:ext cx="3780000" cy="1980000"/>
          </a:xfrm>
          <a:noFill/>
        </p:spPr>
        <p:txBody>
          <a:bodyPr/>
          <a:lstStyle>
            <a:lvl1pPr algn="ctr">
              <a:defRPr b="0"/>
            </a:lvl1pPr>
            <a:lvl5pPr>
              <a:defRPr/>
            </a:lvl5pPr>
          </a:lstStyle>
          <a:p>
            <a:pPr lvl="0"/>
            <a:r>
              <a:rPr lang="en-US"/>
              <a:t>Insert Chart</a:t>
            </a:r>
            <a:endParaRPr lang="en-GB"/>
          </a:p>
        </p:txBody>
      </p:sp>
      <p:sp>
        <p:nvSpPr>
          <p:cNvPr id="23" name="Footer Placeholder 4">
            <a:extLst>
              <a:ext uri="{FF2B5EF4-FFF2-40B4-BE49-F238E27FC236}">
                <a16:creationId xmlns:a16="http://schemas.microsoft.com/office/drawing/2014/main" id="{26092300-6B2D-E291-F26E-F0EFBCCA1C83}"/>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Battery Value Chain Outlook</a:t>
            </a:r>
          </a:p>
        </p:txBody>
      </p:sp>
    </p:spTree>
    <p:extLst>
      <p:ext uri="{BB962C8B-B14F-4D97-AF65-F5344CB8AC3E}">
        <p14:creationId xmlns:p14="http://schemas.microsoft.com/office/powerpoint/2010/main" val="2952771931"/>
      </p:ext>
    </p:extLst>
  </p:cSld>
  <p:clrMapOvr>
    <a:masterClrMapping/>
  </p:clrMapOvr>
  <p:extLst>
    <p:ext uri="{DCECCB84-F9BA-43D5-87BE-67443E8EF086}">
      <p15:sldGuideLst xmlns:p15="http://schemas.microsoft.com/office/powerpoint/2012/main">
        <p15:guide id="1" pos="665">
          <p15:clr>
            <a:srgbClr val="5ACBF0"/>
          </p15:clr>
        </p15:guide>
        <p15:guide id="2" pos="2434">
          <p15:clr>
            <a:srgbClr val="5ACBF0"/>
          </p15:clr>
        </p15:guide>
        <p15:guide id="3" pos="3069">
          <p15:clr>
            <a:srgbClr val="5ACBF0"/>
          </p15:clr>
        </p15:guide>
        <p15:guide id="4" pos="4838">
          <p15:clr>
            <a:srgbClr val="5ACBF0"/>
          </p15:clr>
        </p15:guide>
        <p15:guide id="5" orient="horz" pos="1071">
          <p15:clr>
            <a:srgbClr val="5ACBF0"/>
          </p15:clr>
        </p15:guide>
        <p15:guide id="6" orient="horz" pos="1911">
          <p15:clr>
            <a:srgbClr val="5ACBF0"/>
          </p15:clr>
        </p15:guide>
        <p15:guide id="7" orient="horz" pos="3521">
          <p15:clr>
            <a:srgbClr val="5ACBF0"/>
          </p15:clr>
        </p15:guide>
        <p15:guide id="8" orient="horz" pos="2636">
          <p15:clr>
            <a:srgbClr val="5ACBF0"/>
          </p15:clr>
        </p15:guide>
        <p15:guide id="9" orient="horz" pos="799">
          <p15:clr>
            <a:srgbClr val="F26B43"/>
          </p15:clr>
        </p15:guide>
        <p15:guide id="10" orient="horz" pos="2364">
          <p15:clr>
            <a:srgbClr val="F26B43"/>
          </p15:clr>
        </p15:guide>
        <p15:guide id="11" orient="horz" pos="3725">
          <p15:clr>
            <a:srgbClr val="F26B43"/>
          </p15:clr>
        </p15:guide>
        <p15:guide id="12" pos="5042">
          <p15:clr>
            <a:srgbClr val="F26B43"/>
          </p15:clr>
        </p15:guide>
        <p15:guide id="13" pos="2638">
          <p15:clr>
            <a:srgbClr val="F26B43"/>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Full Page Vis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2750" y="1251472"/>
            <a:ext cx="11365200" cy="4641401"/>
          </a:xfrm>
          <a:noFill/>
        </p:spPr>
        <p:txBody>
          <a:bodyPr anchor="t"/>
          <a:lstStyle>
            <a:lvl1pPr algn="ctr">
              <a:defRPr b="0"/>
            </a:lvl1pPr>
            <a:lvl2pPr algn="ctr">
              <a:defRPr/>
            </a:lvl2pPr>
            <a:lvl3pPr algn="ctr">
              <a:defRPr/>
            </a:lvl3pPr>
            <a:lvl4pPr algn="ctr">
              <a:defRPr/>
            </a:lvl4pPr>
            <a:lvl5pPr algn="ctr">
              <a:defRPr/>
            </a:lvl5pPr>
          </a:lstStyle>
          <a:p>
            <a:pPr lvl="0"/>
            <a:r>
              <a:rPr lang="en-US"/>
              <a:t>Insert Chart or Table</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11430000" cy="215999"/>
          </a:xfrm>
          <a:noFill/>
        </p:spPr>
        <p:txBody>
          <a:bodyPr lIns="0"/>
          <a:lstStyle>
            <a:lvl1pPr>
              <a:defRPr sz="1050" b="0">
                <a:solidFill>
                  <a:schemeClr val="bg2">
                    <a:lumMod val="10000"/>
                  </a:schemeClr>
                </a:solidFill>
              </a:defRPr>
            </a:lvl1pPr>
            <a:lvl5pPr>
              <a:defRPr sz="700">
                <a:solidFill>
                  <a:schemeClr val="tx1"/>
                </a:solidFill>
              </a:defRPr>
            </a:lvl5pPr>
          </a:lstStyle>
          <a:p>
            <a:pPr lvl="0"/>
            <a:r>
              <a:rPr lang="en-US"/>
              <a:t>Add your DATA source here</a:t>
            </a:r>
            <a:endParaRPr lang="en-GB"/>
          </a:p>
        </p:txBody>
      </p:sp>
      <p:sp>
        <p:nvSpPr>
          <p:cNvPr id="6" name="Footer Placeholder 4">
            <a:extLst>
              <a:ext uri="{FF2B5EF4-FFF2-40B4-BE49-F238E27FC236}">
                <a16:creationId xmlns:a16="http://schemas.microsoft.com/office/drawing/2014/main" id="{A400B9E1-C65A-1F67-73D1-8910394C1C83}"/>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Battery Value Chain Outlook</a:t>
            </a:r>
          </a:p>
        </p:txBody>
      </p:sp>
    </p:spTree>
    <p:extLst>
      <p:ext uri="{BB962C8B-B14F-4D97-AF65-F5344CB8AC3E}">
        <p14:creationId xmlns:p14="http://schemas.microsoft.com/office/powerpoint/2010/main" val="167254626"/>
      </p:ext>
    </p:extLst>
  </p:cSld>
  <p:clrMapOvr>
    <a:masterClrMapping/>
  </p:clrMapOvr>
  <p:extLst>
    <p:ext uri="{DCECCB84-F9BA-43D5-87BE-67443E8EF086}">
      <p15:sldGuideLst xmlns:p15="http://schemas.microsoft.com/office/powerpoint/2012/main">
        <p15:guide id="1" pos="3840">
          <p15:clr>
            <a:srgbClr val="F26B43"/>
          </p15:clr>
        </p15:guide>
        <p15:guide id="2" pos="2366">
          <p15:clr>
            <a:srgbClr val="5ACBF0"/>
          </p15:clr>
        </p15:guide>
        <p15:guide id="3" pos="5314">
          <p15:clr>
            <a:srgbClr val="5ACBF0"/>
          </p15:clr>
        </p15:guide>
        <p15:guide id="4" orient="horz" pos="1253">
          <p15:clr>
            <a:srgbClr val="5ACBF0"/>
          </p15:clr>
        </p15:guide>
        <p15:guide id="5" orient="horz" pos="3090">
          <p15:clr>
            <a:srgbClr val="5ACBF0"/>
          </p15:clr>
        </p15:guide>
        <p15:guide id="6" orient="horz" pos="3725">
          <p15:clr>
            <a:srgbClr val="F26B43"/>
          </p15:clr>
        </p15:guide>
        <p15:guide id="7" orient="horz" pos="618">
          <p15:clr>
            <a:srgbClr val="F26B43"/>
          </p15:clr>
        </p15:guide>
        <p15:guide id="8" pos="914">
          <p15:clr>
            <a:srgbClr val="5ACBF0"/>
          </p15:clr>
        </p15:guide>
        <p15:guide id="9" pos="7015">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Content + Text Summ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xfrm>
            <a:off x="1076400" y="324000"/>
            <a:ext cx="10702516" cy="648000"/>
          </a:xfrm>
          <a:noFill/>
        </p:spPr>
        <p:txBody>
          <a:bodyPr lIns="0"/>
          <a:lstStyle/>
          <a:p>
            <a:r>
              <a:rPr lang="en-US"/>
              <a:t>Click to edit Master title style</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3538" y="1258504"/>
            <a:ext cx="5683250" cy="288000"/>
          </a:xfrm>
          <a:noFill/>
        </p:spPr>
        <p:txBody>
          <a:bodyPr lIns="0">
            <a:noAutofit/>
          </a:bodyPr>
          <a:lstStyle>
            <a:lvl1pPr>
              <a:defRPr sz="1300">
                <a:solidFill>
                  <a:schemeClr val="accent6"/>
                </a:solidFill>
              </a:defRPr>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2749" y="1605156"/>
            <a:ext cx="5683250" cy="1980000"/>
          </a:xfrm>
          <a:noFill/>
        </p:spPr>
        <p:txBody>
          <a:bodyPr/>
          <a:lstStyle>
            <a:lvl1pPr algn="ctr">
              <a:defRPr b="0"/>
            </a:lvl1pPr>
          </a:lstStyle>
          <a:p>
            <a:pPr lvl="0"/>
            <a:r>
              <a:rPr lang="en-US"/>
              <a:t>Insert Chart</a:t>
            </a:r>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p:nvPr>
        </p:nvSpPr>
        <p:spPr>
          <a:xfrm>
            <a:off x="6223000" y="1258504"/>
            <a:ext cx="5555461" cy="4928400"/>
          </a:xfrm>
          <a:noFill/>
          <a:effectLst/>
        </p:spPr>
        <p:txBody>
          <a:bodyPr vert="horz" lIns="252000" tIns="252000" rIns="252000" bIns="252000" rtlCol="0" anchor="ctr" anchorCtr="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5683250" cy="215999"/>
          </a:xfrm>
        </p:spPr>
        <p:txBody>
          <a:bodyPr lIns="0">
            <a:noAutofit/>
          </a:bodyPr>
          <a:lstStyle>
            <a:lvl1pPr>
              <a:defRPr sz="1000" b="0">
                <a:solidFill>
                  <a:schemeClr val="bg2">
                    <a:lumMod val="10000"/>
                  </a:schemeClr>
                </a:solidFill>
              </a:defRPr>
            </a:lvl1pPr>
            <a:lvl5pPr>
              <a:defRPr sz="1050">
                <a:solidFill>
                  <a:schemeClr val="tx1"/>
                </a:solidFill>
              </a:defRPr>
            </a:lvl5pPr>
          </a:lstStyle>
          <a:p>
            <a:pPr lvl="0"/>
            <a:r>
              <a:rPr lang="en-US"/>
              <a:t>Add your DATA source here</a:t>
            </a:r>
            <a:endParaRPr lang="en-GB"/>
          </a:p>
        </p:txBody>
      </p:sp>
      <p:sp>
        <p:nvSpPr>
          <p:cNvPr id="5" name="Text Placeholder 5">
            <a:extLst>
              <a:ext uri="{FF2B5EF4-FFF2-40B4-BE49-F238E27FC236}">
                <a16:creationId xmlns:a16="http://schemas.microsoft.com/office/drawing/2014/main" id="{6F3DB6FA-17D2-4D4B-9C68-7E57F40924D2}"/>
              </a:ext>
            </a:extLst>
          </p:cNvPr>
          <p:cNvSpPr>
            <a:spLocks noGrp="1"/>
          </p:cNvSpPr>
          <p:nvPr>
            <p:ph type="body" sz="quarter" idx="16" hasCustomPrompt="1"/>
          </p:nvPr>
        </p:nvSpPr>
        <p:spPr>
          <a:xfrm>
            <a:off x="412749" y="3645967"/>
            <a:ext cx="5683250" cy="288000"/>
          </a:xfrm>
          <a:noFill/>
        </p:spPr>
        <p:txBody>
          <a:bodyPr lIns="0">
            <a:noAutofit/>
          </a:bodyPr>
          <a:lstStyle>
            <a:lvl1pPr>
              <a:defRPr sz="1300">
                <a:solidFill>
                  <a:schemeClr val="accent6"/>
                </a:solidFill>
              </a:defRPr>
            </a:lvl1pPr>
          </a:lstStyle>
          <a:p>
            <a:pPr lvl="0"/>
            <a:r>
              <a:rPr lang="en-US"/>
              <a:t>Chart headline</a:t>
            </a:r>
          </a:p>
        </p:txBody>
      </p:sp>
      <p:sp>
        <p:nvSpPr>
          <p:cNvPr id="7" name="Content Placeholder 7">
            <a:extLst>
              <a:ext uri="{FF2B5EF4-FFF2-40B4-BE49-F238E27FC236}">
                <a16:creationId xmlns:a16="http://schemas.microsoft.com/office/drawing/2014/main" id="{C08AD70F-27D9-726E-A182-BA90022F5C6A}"/>
              </a:ext>
            </a:extLst>
          </p:cNvPr>
          <p:cNvSpPr>
            <a:spLocks noGrp="1"/>
          </p:cNvSpPr>
          <p:nvPr>
            <p:ph sz="quarter" idx="17" hasCustomPrompt="1"/>
          </p:nvPr>
        </p:nvSpPr>
        <p:spPr>
          <a:xfrm>
            <a:off x="412749" y="3977822"/>
            <a:ext cx="5683250" cy="1980000"/>
          </a:xfrm>
          <a:noFill/>
        </p:spPr>
        <p:txBody>
          <a:bodyPr/>
          <a:lstStyle>
            <a:lvl1pPr algn="ctr">
              <a:defRPr b="0"/>
            </a:lvl1pPr>
          </a:lstStyle>
          <a:p>
            <a:pPr lvl="0"/>
            <a:r>
              <a:rPr lang="en-US"/>
              <a:t>Insert Chart</a:t>
            </a:r>
            <a:endParaRPr lang="en-GB"/>
          </a:p>
        </p:txBody>
      </p:sp>
      <p:cxnSp>
        <p:nvCxnSpPr>
          <p:cNvPr id="14" name="Straight Connector 13">
            <a:extLst>
              <a:ext uri="{FF2B5EF4-FFF2-40B4-BE49-F238E27FC236}">
                <a16:creationId xmlns:a16="http://schemas.microsoft.com/office/drawing/2014/main" id="{99F03CBC-84CD-B420-8B01-8709221EF2D7}"/>
              </a:ext>
            </a:extLst>
          </p:cNvPr>
          <p:cNvCxnSpPr>
            <a:cxnSpLocks/>
          </p:cNvCxnSpPr>
          <p:nvPr userDrawn="1"/>
        </p:nvCxnSpPr>
        <p:spPr>
          <a:xfrm>
            <a:off x="2702950" y="6356350"/>
            <a:ext cx="1274379" cy="0"/>
          </a:xfrm>
          <a:prstGeom prst="line">
            <a:avLst/>
          </a:prstGeom>
          <a:ln w="6350">
            <a:no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F1FF571E-5F0D-6DE5-BAFA-37F40C5DB574}"/>
              </a:ext>
            </a:extLst>
          </p:cNvPr>
          <p:cNvCxnSpPr>
            <a:cxnSpLocks/>
          </p:cNvCxnSpPr>
          <p:nvPr userDrawn="1"/>
        </p:nvCxnSpPr>
        <p:spPr>
          <a:xfrm>
            <a:off x="5488473" y="6356350"/>
            <a:ext cx="1274379" cy="0"/>
          </a:xfrm>
          <a:prstGeom prst="line">
            <a:avLst/>
          </a:prstGeom>
          <a:ln w="6350">
            <a:no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6B2BEF9B-0C61-8243-085B-A71234DBE5AB}"/>
              </a:ext>
            </a:extLst>
          </p:cNvPr>
          <p:cNvCxnSpPr>
            <a:cxnSpLocks/>
          </p:cNvCxnSpPr>
          <p:nvPr userDrawn="1"/>
        </p:nvCxnSpPr>
        <p:spPr>
          <a:xfrm>
            <a:off x="7411982" y="6356350"/>
            <a:ext cx="1274379" cy="0"/>
          </a:xfrm>
          <a:prstGeom prst="line">
            <a:avLst/>
          </a:prstGeom>
          <a:ln w="6350">
            <a:noFill/>
          </a:ln>
        </p:spPr>
        <p:style>
          <a:lnRef idx="2">
            <a:schemeClr val="accent1"/>
          </a:lnRef>
          <a:fillRef idx="0">
            <a:schemeClr val="accent1"/>
          </a:fillRef>
          <a:effectRef idx="1">
            <a:schemeClr val="accent1"/>
          </a:effectRef>
          <a:fontRef idx="minor">
            <a:schemeClr val="tx1"/>
          </a:fontRef>
        </p:style>
      </p:cxnSp>
      <p:sp>
        <p:nvSpPr>
          <p:cNvPr id="18" name="Footer Placeholder 4">
            <a:extLst>
              <a:ext uri="{FF2B5EF4-FFF2-40B4-BE49-F238E27FC236}">
                <a16:creationId xmlns:a16="http://schemas.microsoft.com/office/drawing/2014/main" id="{52E70746-9160-C39A-1872-2ACD9DAB8314}"/>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Tree>
    <p:extLst>
      <p:ext uri="{BB962C8B-B14F-4D97-AF65-F5344CB8AC3E}">
        <p14:creationId xmlns:p14="http://schemas.microsoft.com/office/powerpoint/2010/main" val="3184348755"/>
      </p:ext>
    </p:extLst>
  </p:cSld>
  <p:clrMapOvr>
    <a:masterClrMapping/>
  </p:clrMapOvr>
  <p:extLst>
    <p:ext uri="{DCECCB84-F9BA-43D5-87BE-67443E8EF086}">
      <p15:sldGuideLst xmlns:p15="http://schemas.microsoft.com/office/powerpoint/2012/main">
        <p15:guide id="1" pos="665">
          <p15:clr>
            <a:srgbClr val="5ACBF0"/>
          </p15:clr>
        </p15:guide>
        <p15:guide id="2" pos="3613">
          <p15:clr>
            <a:srgbClr val="5ACBF0"/>
          </p15:clr>
        </p15:guide>
        <p15:guide id="3" orient="horz" pos="1094">
          <p15:clr>
            <a:srgbClr val="5ACBF0"/>
          </p15:clr>
        </p15:guide>
        <p15:guide id="4" orient="horz" pos="1933">
          <p15:clr>
            <a:srgbClr val="5ACBF0"/>
          </p15:clr>
        </p15:guide>
        <p15:guide id="5" orient="horz" pos="3543">
          <p15:clr>
            <a:srgbClr val="5ACBF0"/>
          </p15:clr>
        </p15:guide>
        <p15:guide id="6" orient="horz" pos="2659">
          <p15:clr>
            <a:srgbClr val="5ACBF0"/>
          </p15:clr>
        </p15:guide>
        <p15:guide id="7" orient="horz" pos="799">
          <p15:clr>
            <a:srgbClr val="F26B43"/>
          </p15:clr>
        </p15:guide>
        <p15:guide id="8" orient="horz" pos="2387">
          <p15:clr>
            <a:srgbClr val="F26B43"/>
          </p15:clr>
        </p15:guide>
        <p15:guide id="9" orient="horz" pos="3770">
          <p15:clr>
            <a:srgbClr val="F26B43"/>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0E1236C-1F6A-C310-B3AD-04FE10631AEA}"/>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1" name="Straight Connector 10">
            <a:extLst>
              <a:ext uri="{FF2B5EF4-FFF2-40B4-BE49-F238E27FC236}">
                <a16:creationId xmlns:a16="http://schemas.microsoft.com/office/drawing/2014/main" id="{AB2564B3-A172-D336-E774-6508A518A9A4}"/>
              </a:ext>
            </a:extLst>
          </p:cNvPr>
          <p:cNvCxnSpPr>
            <a:cxnSpLocks/>
          </p:cNvCxnSpPr>
          <p:nvPr userDrawn="1"/>
        </p:nvCxnSpPr>
        <p:spPr>
          <a:xfrm>
            <a:off x="2702950"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1A251F91-00BD-73A5-1690-EA7889C27005}"/>
              </a:ext>
            </a:extLst>
          </p:cNvPr>
          <p:cNvCxnSpPr>
            <a:cxnSpLocks/>
          </p:cNvCxnSpPr>
          <p:nvPr userDrawn="1"/>
        </p:nvCxnSpPr>
        <p:spPr>
          <a:xfrm>
            <a:off x="5488473"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7A48A5AD-122B-445F-8918-5620E751FE74}"/>
              </a:ext>
            </a:extLst>
          </p:cNvPr>
          <p:cNvCxnSpPr>
            <a:cxnSpLocks/>
          </p:cNvCxnSpPr>
          <p:nvPr userDrawn="1"/>
        </p:nvCxnSpPr>
        <p:spPr>
          <a:xfrm>
            <a:off x="7411982"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000DE161-39A1-09A9-5060-B0B52242AFFA}"/>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tx1">
                    <a:lumMod val="50000"/>
                  </a:schemeClr>
                </a:solidFill>
                <a:latin typeface="Garamond" panose="02020404030301010803" pitchFamily="18" charset="0"/>
                <a:ea typeface="Helvetica Neue UltraLight" panose="02000206000000020004" pitchFamily="2" charset="0"/>
              </a:rPr>
              <a:t>expert</a:t>
            </a:r>
            <a:r>
              <a:rPr lang="en-GB" sz="1000" b="0" i="0">
                <a:solidFill>
                  <a:schemeClr val="tx1">
                    <a:lumMod val="50000"/>
                  </a:schemeClr>
                </a:solidFill>
                <a:latin typeface="Helvetica Neue UltraLight" panose="02000206000000020004" pitchFamily="2" charset="0"/>
                <a:ea typeface="Helvetica Neue UltraLight" panose="02000206000000020004" pitchFamily="2" charset="0"/>
              </a:rPr>
              <a:t> </a:t>
            </a:r>
            <a:r>
              <a:rPr lang="en-GB"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3" name="TextBox 2">
            <a:extLst>
              <a:ext uri="{FF2B5EF4-FFF2-40B4-BE49-F238E27FC236}">
                <a16:creationId xmlns:a16="http://schemas.microsoft.com/office/drawing/2014/main" id="{FB636495-F7C7-0C00-108D-E654D2A6EE13}"/>
              </a:ext>
            </a:extLst>
          </p:cNvPr>
          <p:cNvSpPr txBox="1"/>
          <p:nvPr userDrawn="1"/>
        </p:nvSpPr>
        <p:spPr>
          <a:xfrm>
            <a:off x="11682742" y="6458310"/>
            <a:ext cx="409669" cy="276999"/>
          </a:xfrm>
          <a:prstGeom prst="rect">
            <a:avLst/>
          </a:prstGeom>
          <a:noFill/>
        </p:spPr>
        <p:txBody>
          <a:bodyPr wrap="square" anchor="ctr">
            <a:spAutoFit/>
          </a:bodyPr>
          <a:lstStyle/>
          <a:p>
            <a:fld id="{562BA7E0-5F5E-EE41-AE8D-BD30ED9E17AD}" type="slidenum">
              <a:rPr lang="en-GB" sz="1200" smtClean="0">
                <a:solidFill>
                  <a:schemeClr val="tx1"/>
                </a:solidFill>
                <a:latin typeface="Arial" panose="020B0604020202020204" pitchFamily="34" charset="0"/>
                <a:cs typeface="Arial" panose="020B0604020202020204" pitchFamily="34" charset="0"/>
              </a:rPr>
              <a:pPr/>
              <a:t>‹#›</a:t>
            </a:fld>
            <a:endParaRPr lang="en-GB" sz="1200">
              <a:solidFill>
                <a:schemeClr val="tx1"/>
              </a:solidFill>
              <a:latin typeface="Arial" panose="020B0604020202020204" pitchFamily="34" charset="0"/>
              <a:cs typeface="Arial" panose="020B0604020202020204" pitchFamily="34" charset="0"/>
            </a:endParaRPr>
          </a:p>
        </p:txBody>
      </p:sp>
      <p:pic>
        <p:nvPicPr>
          <p:cNvPr id="7" name="Picture 6" descr="A logo on a black background&#10;&#10;Description automatically generated">
            <a:extLst>
              <a:ext uri="{FF2B5EF4-FFF2-40B4-BE49-F238E27FC236}">
                <a16:creationId xmlns:a16="http://schemas.microsoft.com/office/drawing/2014/main" id="{05A14DB0-CEA8-2F77-EF59-84BB507E2FC6}"/>
              </a:ext>
            </a:extLst>
          </p:cNvPr>
          <p:cNvPicPr>
            <a:picLocks noChangeAspect="1"/>
          </p:cNvPicPr>
          <p:nvPr userDrawn="1"/>
        </p:nvPicPr>
        <p:blipFill rotWithShape="1">
          <a:blip r:embed="rId2"/>
          <a:srcRect l="7819" t="33017" r="74362" b="36885"/>
          <a:stretch/>
        </p:blipFill>
        <p:spPr>
          <a:xfrm>
            <a:off x="263816" y="334800"/>
            <a:ext cx="682031" cy="648000"/>
          </a:xfrm>
          <a:prstGeom prst="rect">
            <a:avLst/>
          </a:prstGeom>
        </p:spPr>
      </p:pic>
      <p:sp>
        <p:nvSpPr>
          <p:cNvPr id="4" name="Footer Placeholder 4">
            <a:extLst>
              <a:ext uri="{FF2B5EF4-FFF2-40B4-BE49-F238E27FC236}">
                <a16:creationId xmlns:a16="http://schemas.microsoft.com/office/drawing/2014/main" id="{8938CF6B-AAA5-A040-9E6A-575D26301D55}"/>
              </a:ext>
            </a:extLst>
          </p:cNvPr>
          <p:cNvSpPr>
            <a:spLocks noGrp="1"/>
          </p:cNvSpPr>
          <p:nvPr>
            <p:ph type="ftr" sz="quarter" idx="3"/>
          </p:nvPr>
        </p:nvSpPr>
        <p:spPr>
          <a:xfrm>
            <a:off x="7350369" y="6429964"/>
            <a:ext cx="3176758" cy="309600"/>
          </a:xfrm>
          <a:prstGeom prst="rect">
            <a:avLst/>
          </a:prstGeom>
          <a:ln>
            <a:noFill/>
          </a:ln>
        </p:spPr>
        <p:txBody>
          <a:bodyPr vert="horz" lIns="91440" tIns="45720" rIns="91440" bIns="45720" rtlCol="0" anchor="ctr"/>
          <a:lstStyle>
            <a:lvl1pPr algn="l">
              <a:defRPr sz="1000" b="0" i="0">
                <a:solidFill>
                  <a:schemeClr val="tx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Battery Value Chain Outlook</a:t>
            </a:r>
          </a:p>
        </p:txBody>
      </p:sp>
      <p:sp>
        <p:nvSpPr>
          <p:cNvPr id="6" name="TextBox 5">
            <a:extLst>
              <a:ext uri="{FF2B5EF4-FFF2-40B4-BE49-F238E27FC236}">
                <a16:creationId xmlns:a16="http://schemas.microsoft.com/office/drawing/2014/main" id="{89AFE2E4-3750-7F12-6F58-EFABEA1B26B7}"/>
              </a:ext>
            </a:extLst>
          </p:cNvPr>
          <p:cNvSpPr txBox="1"/>
          <p:nvPr userDrawn="1"/>
        </p:nvSpPr>
        <p:spPr>
          <a:xfrm>
            <a:off x="5476126" y="6429964"/>
            <a:ext cx="1286726" cy="276999"/>
          </a:xfrm>
          <a:prstGeom prst="rect">
            <a:avLst/>
          </a:prstGeom>
          <a:noFill/>
          <a:ln>
            <a:noFill/>
          </a:ln>
        </p:spPr>
        <p:txBody>
          <a:bodyPr wrap="square">
            <a:spAutoFit/>
          </a:bodyPr>
          <a:lstStyle/>
          <a:p>
            <a:pPr algn="ctr"/>
            <a:r>
              <a:rPr lang="en-GB" sz="1200" b="0" i="1">
                <a:solidFill>
                  <a:schemeClr val="tx1">
                    <a:lumMod val="50000"/>
                  </a:schemeClr>
                </a:solidFill>
                <a:latin typeface="Garamond" panose="02020404030301010803" pitchFamily="18" charset="0"/>
                <a:ea typeface="Helvetica Neue Thin" panose="020B0403020202020204" pitchFamily="34" charset="0"/>
                <a:cs typeface="Arial" panose="020B0604020202020204" pitchFamily="34" charset="0"/>
              </a:rPr>
              <a:t>March 2025</a:t>
            </a:r>
          </a:p>
        </p:txBody>
      </p:sp>
      <p:sp>
        <p:nvSpPr>
          <p:cNvPr id="8" name="Title 1">
            <a:extLst>
              <a:ext uri="{FF2B5EF4-FFF2-40B4-BE49-F238E27FC236}">
                <a16:creationId xmlns:a16="http://schemas.microsoft.com/office/drawing/2014/main" id="{3F37CBC1-6CFA-E518-6D9B-C298DCD2EBAB}"/>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Tree>
    <p:extLst>
      <p:ext uri="{BB962C8B-B14F-4D97-AF65-F5344CB8AC3E}">
        <p14:creationId xmlns:p14="http://schemas.microsoft.com/office/powerpoint/2010/main" val="412237927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Title &amp; Blank_OUTLOOK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089F6B3-B184-CD35-917E-7E6D3B7A8CDE}"/>
              </a:ext>
            </a:extLst>
          </p:cNvPr>
          <p:cNvSpPr>
            <a:spLocks noGrp="1"/>
          </p:cNvSpPr>
          <p:nvPr>
            <p:ph type="ftr" sz="quarter" idx="11"/>
          </p:nvPr>
        </p:nvSpPr>
        <p:spPr>
          <a:xfrm>
            <a:off x="7350369" y="6429965"/>
            <a:ext cx="3176758" cy="307777"/>
          </a:xfrm>
          <a:prstGeom prst="rect">
            <a:avLst/>
          </a:prstGeom>
        </p:spPr>
        <p:txBody>
          <a:bodyPr/>
          <a:lstStyle/>
          <a:p>
            <a:r>
              <a:rPr lang="en-GB"/>
              <a:t>Battery Value Chain Outlook</a:t>
            </a:r>
          </a:p>
        </p:txBody>
      </p:sp>
      <p:sp>
        <p:nvSpPr>
          <p:cNvPr id="6" name="Content Placeholder 7">
            <a:extLst>
              <a:ext uri="{FF2B5EF4-FFF2-40B4-BE49-F238E27FC236}">
                <a16:creationId xmlns:a16="http://schemas.microsoft.com/office/drawing/2014/main" id="{4C4CE95A-F585-280E-7C05-6A4582FA0F9C}"/>
              </a:ext>
            </a:extLst>
          </p:cNvPr>
          <p:cNvSpPr>
            <a:spLocks noGrp="1"/>
          </p:cNvSpPr>
          <p:nvPr>
            <p:ph sz="quarter" idx="4294967295"/>
          </p:nvPr>
        </p:nvSpPr>
        <p:spPr>
          <a:xfrm>
            <a:off x="397585" y="1432803"/>
            <a:ext cx="11062225" cy="4712301"/>
          </a:xfrm>
        </p:spPr>
        <p:txBody>
          <a:bodyPr>
            <a:normAutofit/>
          </a:bodyPr>
          <a:lstStyle/>
          <a:p>
            <a:pPr marL="0" lvl="0" indent="0">
              <a:lnSpc>
                <a:spcPct val="120000"/>
              </a:lnSpc>
              <a:buFont typeface="Arial" panose="020B0604020202020204" pitchFamily="34" charset="0"/>
              <a:buNone/>
            </a:pPr>
            <a:r>
              <a:rPr lang="en-US" sz="1600"/>
              <a:t>Click to edit Master text styles</a:t>
            </a:r>
          </a:p>
          <a:p>
            <a:pPr marL="0" lvl="1" indent="0">
              <a:lnSpc>
                <a:spcPct val="120000"/>
              </a:lnSpc>
              <a:buFont typeface="Arial" panose="020B0604020202020204" pitchFamily="34" charset="0"/>
              <a:buNone/>
            </a:pPr>
            <a:r>
              <a:rPr lang="en-US" sz="1600"/>
              <a:t>Second level</a:t>
            </a:r>
          </a:p>
        </p:txBody>
      </p:sp>
      <p:sp>
        <p:nvSpPr>
          <p:cNvPr id="3" name="Title 1">
            <a:extLst>
              <a:ext uri="{FF2B5EF4-FFF2-40B4-BE49-F238E27FC236}">
                <a16:creationId xmlns:a16="http://schemas.microsoft.com/office/drawing/2014/main" id="{983889C3-CEF2-7FEC-83F3-8CE52AD60B5F}"/>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Tree>
    <p:extLst>
      <p:ext uri="{BB962C8B-B14F-4D97-AF65-F5344CB8AC3E}">
        <p14:creationId xmlns:p14="http://schemas.microsoft.com/office/powerpoint/2010/main" val="409054735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userDrawn="1">
  <p:cSld name="Glossar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6A6F3C7-49FD-B21D-A71C-794307806CB1}"/>
              </a:ext>
            </a:extLst>
          </p:cNvPr>
          <p:cNvSpPr>
            <a:spLocks noGrp="1"/>
          </p:cNvSpPr>
          <p:nvPr>
            <p:ph type="sldNum" sz="quarter" idx="10"/>
          </p:nvPr>
        </p:nvSpPr>
        <p:spPr>
          <a:noFill/>
        </p:spPr>
        <p:txBody>
          <a:bodyPr/>
          <a:lstStyle>
            <a:lvl1pPr>
              <a:defRPr sz="1200">
                <a:solidFill>
                  <a:schemeClr val="tx1"/>
                </a:solidFill>
              </a:defRPr>
            </a:lvl1pPr>
          </a:lstStyle>
          <a:p>
            <a:endParaRPr lang="en-GB"/>
          </a:p>
        </p:txBody>
      </p:sp>
      <p:sp>
        <p:nvSpPr>
          <p:cNvPr id="10" name="Text Placeholder 9">
            <a:extLst>
              <a:ext uri="{FF2B5EF4-FFF2-40B4-BE49-F238E27FC236}">
                <a16:creationId xmlns:a16="http://schemas.microsoft.com/office/drawing/2014/main" id="{193BA281-5ED7-D8DC-9FAC-115A7AB6976F}"/>
              </a:ext>
            </a:extLst>
          </p:cNvPr>
          <p:cNvSpPr>
            <a:spLocks noGrp="1"/>
          </p:cNvSpPr>
          <p:nvPr>
            <p:ph type="body" sz="quarter" idx="14"/>
          </p:nvPr>
        </p:nvSpPr>
        <p:spPr>
          <a:xfrm>
            <a:off x="6223000" y="1171074"/>
            <a:ext cx="5555461" cy="5051926"/>
          </a:xfrm>
          <a:noFill/>
        </p:spPr>
        <p:txBody>
          <a:bodyPr lIns="252000" tIns="252000" rIns="252000" bIns="252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9">
            <a:extLst>
              <a:ext uri="{FF2B5EF4-FFF2-40B4-BE49-F238E27FC236}">
                <a16:creationId xmlns:a16="http://schemas.microsoft.com/office/drawing/2014/main" id="{CEDCBED3-3077-3817-F2AC-688CAB5EBC98}"/>
              </a:ext>
            </a:extLst>
          </p:cNvPr>
          <p:cNvSpPr>
            <a:spLocks noGrp="1"/>
          </p:cNvSpPr>
          <p:nvPr>
            <p:ph type="body" sz="quarter" idx="15"/>
          </p:nvPr>
        </p:nvSpPr>
        <p:spPr>
          <a:xfrm>
            <a:off x="413540" y="1171074"/>
            <a:ext cx="5555461" cy="5051926"/>
          </a:xfrm>
          <a:noFill/>
        </p:spPr>
        <p:txBody>
          <a:bodyPr lIns="252000" tIns="252000" rIns="252000" bIns="252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ooter Placeholder 4">
            <a:extLst>
              <a:ext uri="{FF2B5EF4-FFF2-40B4-BE49-F238E27FC236}">
                <a16:creationId xmlns:a16="http://schemas.microsoft.com/office/drawing/2014/main" id="{46079007-DD16-E1A0-0A92-2C3D5307A683}"/>
              </a:ext>
            </a:extLst>
          </p:cNvPr>
          <p:cNvSpPr>
            <a:spLocks noGrp="1"/>
          </p:cNvSpPr>
          <p:nvPr>
            <p:ph type="ftr" sz="quarter" idx="3"/>
          </p:nvPr>
        </p:nvSpPr>
        <p:spPr>
          <a:xfrm>
            <a:off x="7350369" y="6429964"/>
            <a:ext cx="3176758" cy="309600"/>
          </a:xfrm>
          <a:prstGeom prst="rect">
            <a:avLst/>
          </a:prstGeom>
          <a:ln>
            <a:noFill/>
          </a:ln>
        </p:spPr>
        <p:txBody>
          <a:bodyPr vert="horz" lIns="91440" tIns="45720" rIns="91440" bIns="45720" rtlCol="0" anchor="ctr"/>
          <a:lstStyle>
            <a:lvl1pPr algn="l">
              <a:defRPr sz="1000" b="0" i="0">
                <a:solidFill>
                  <a:schemeClr val="tx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Battery Value Chain Outlook</a:t>
            </a:r>
          </a:p>
        </p:txBody>
      </p:sp>
      <p:sp>
        <p:nvSpPr>
          <p:cNvPr id="9" name="TextBox 8">
            <a:extLst>
              <a:ext uri="{FF2B5EF4-FFF2-40B4-BE49-F238E27FC236}">
                <a16:creationId xmlns:a16="http://schemas.microsoft.com/office/drawing/2014/main" id="{F451A67E-FFD4-1EE3-6B6B-9F0EBEF492C5}"/>
              </a:ext>
            </a:extLst>
          </p:cNvPr>
          <p:cNvSpPr txBox="1"/>
          <p:nvPr userDrawn="1"/>
        </p:nvSpPr>
        <p:spPr>
          <a:xfrm>
            <a:off x="2623437" y="6429964"/>
            <a:ext cx="2455460" cy="309600"/>
          </a:xfrm>
          <a:prstGeom prst="rect">
            <a:avLst/>
          </a:prstGeom>
          <a:noFill/>
          <a:ln>
            <a:noFill/>
          </a:ln>
        </p:spPr>
        <p:txBody>
          <a:bodyPr wrap="square">
            <a:spAutoFit/>
          </a:bodyPr>
          <a:lstStyle/>
          <a:p>
            <a:r>
              <a:rPr lang="en-GB" sz="1000" b="0" i="0">
                <a:solidFill>
                  <a:schemeClr val="tx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tx1"/>
                </a:solidFill>
                <a:latin typeface="Garamond" panose="02020404030301010803" pitchFamily="18" charset="0"/>
                <a:ea typeface="Helvetica Neue UltraLight" panose="02000206000000020004" pitchFamily="2" charset="0"/>
              </a:rPr>
              <a:t>expert</a:t>
            </a:r>
            <a:r>
              <a:rPr lang="en-GB" sz="1000" b="0" i="0">
                <a:solidFill>
                  <a:schemeClr val="tx1"/>
                </a:solidFill>
                <a:latin typeface="Helvetica Neue UltraLight" panose="02000206000000020004" pitchFamily="2" charset="0"/>
                <a:ea typeface="Helvetica Neue UltraLight" panose="02000206000000020004" pitchFamily="2" charset="0"/>
              </a:rPr>
              <a:t> </a:t>
            </a:r>
            <a:r>
              <a:rPr lang="en-GB" sz="1000" b="0" i="0">
                <a:solidFill>
                  <a:schemeClr val="tx1"/>
                </a:solidFill>
                <a:latin typeface="Arial" panose="020B0604020202020204" pitchFamily="34" charset="0"/>
                <a:ea typeface="Helvetica Neue Thin" panose="020B0403020202020204" pitchFamily="34" charset="0"/>
                <a:cs typeface="Arial" panose="020B0604020202020204" pitchFamily="34" charset="0"/>
              </a:rPr>
              <a:t>intelligence</a:t>
            </a:r>
          </a:p>
        </p:txBody>
      </p:sp>
      <p:pic>
        <p:nvPicPr>
          <p:cNvPr id="11" name="Picture 10" descr="A logo on a black background&#10;&#10;Description automatically generated">
            <a:extLst>
              <a:ext uri="{FF2B5EF4-FFF2-40B4-BE49-F238E27FC236}">
                <a16:creationId xmlns:a16="http://schemas.microsoft.com/office/drawing/2014/main" id="{03AF0070-D10F-A04A-2EB8-EA1D12441212}"/>
              </a:ext>
            </a:extLst>
          </p:cNvPr>
          <p:cNvPicPr>
            <a:picLocks noChangeAspect="1"/>
          </p:cNvPicPr>
          <p:nvPr userDrawn="1"/>
        </p:nvPicPr>
        <p:blipFill rotWithShape="1">
          <a:blip r:embed="rId2"/>
          <a:srcRect l="7819" t="33017" r="74362" b="36885"/>
          <a:stretch/>
        </p:blipFill>
        <p:spPr>
          <a:xfrm>
            <a:off x="263816" y="334800"/>
            <a:ext cx="682031" cy="648000"/>
          </a:xfrm>
          <a:prstGeom prst="rect">
            <a:avLst/>
          </a:prstGeom>
        </p:spPr>
      </p:pic>
      <p:cxnSp>
        <p:nvCxnSpPr>
          <p:cNvPr id="12" name="Straight Connector 11">
            <a:extLst>
              <a:ext uri="{FF2B5EF4-FFF2-40B4-BE49-F238E27FC236}">
                <a16:creationId xmlns:a16="http://schemas.microsoft.com/office/drawing/2014/main" id="{2C42624A-C964-D754-74D3-C414D1BDB801}"/>
              </a:ext>
            </a:extLst>
          </p:cNvPr>
          <p:cNvCxnSpPr>
            <a:cxnSpLocks/>
          </p:cNvCxnSpPr>
          <p:nvPr userDrawn="1"/>
        </p:nvCxnSpPr>
        <p:spPr>
          <a:xfrm>
            <a:off x="27036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DD110B84-6B10-3CB8-E391-E7575A488B14}"/>
              </a:ext>
            </a:extLst>
          </p:cNvPr>
          <p:cNvCxnSpPr>
            <a:cxnSpLocks/>
          </p:cNvCxnSpPr>
          <p:nvPr userDrawn="1"/>
        </p:nvCxnSpPr>
        <p:spPr>
          <a:xfrm>
            <a:off x="54900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AADAA4DE-DB2D-5FCD-73F3-3F5AC92EAA80}"/>
              </a:ext>
            </a:extLst>
          </p:cNvPr>
          <p:cNvCxnSpPr>
            <a:cxnSpLocks/>
          </p:cNvCxnSpPr>
          <p:nvPr userDrawn="1"/>
        </p:nvCxnSpPr>
        <p:spPr>
          <a:xfrm>
            <a:off x="74124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05EC0B7B-85A6-B9FD-C196-74CC068BD310}"/>
              </a:ext>
            </a:extLst>
          </p:cNvPr>
          <p:cNvSpPr txBox="1"/>
          <p:nvPr userDrawn="1"/>
        </p:nvSpPr>
        <p:spPr>
          <a:xfrm>
            <a:off x="11682742" y="6458310"/>
            <a:ext cx="409669" cy="276999"/>
          </a:xfrm>
          <a:prstGeom prst="rect">
            <a:avLst/>
          </a:prstGeom>
          <a:noFill/>
        </p:spPr>
        <p:txBody>
          <a:bodyPr wrap="square" anchor="ctr">
            <a:spAutoFit/>
          </a:bodyPr>
          <a:lstStyle/>
          <a:p>
            <a:fld id="{562BA7E0-5F5E-EE41-AE8D-BD30ED9E17AD}" type="slidenum">
              <a:rPr lang="en-GB" sz="1200" smtClean="0">
                <a:solidFill>
                  <a:schemeClr val="tx1"/>
                </a:solidFill>
                <a:latin typeface="Arial" panose="020B0604020202020204" pitchFamily="34" charset="0"/>
                <a:cs typeface="Arial" panose="020B0604020202020204" pitchFamily="34" charset="0"/>
              </a:rPr>
              <a:pPr/>
              <a:t>‹#›</a:t>
            </a:fld>
            <a:endParaRPr lang="en-GB" sz="1200">
              <a:solidFill>
                <a:schemeClr val="tx1"/>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12596397-4B8B-C5D3-6C87-2024D4EBC593}"/>
              </a:ext>
            </a:extLst>
          </p:cNvPr>
          <p:cNvSpPr txBox="1"/>
          <p:nvPr userDrawn="1"/>
        </p:nvSpPr>
        <p:spPr>
          <a:xfrm>
            <a:off x="5476126" y="6429964"/>
            <a:ext cx="1286726" cy="276999"/>
          </a:xfrm>
          <a:prstGeom prst="rect">
            <a:avLst/>
          </a:prstGeom>
          <a:noFill/>
          <a:ln>
            <a:noFill/>
          </a:ln>
        </p:spPr>
        <p:txBody>
          <a:bodyPr wrap="square">
            <a:spAutoFit/>
          </a:bodyPr>
          <a:lstStyle/>
          <a:p>
            <a:pPr algn="ctr"/>
            <a:r>
              <a:rPr lang="en-GB" sz="1200" b="0" i="1">
                <a:solidFill>
                  <a:schemeClr val="tx1">
                    <a:lumMod val="50000"/>
                  </a:schemeClr>
                </a:solidFill>
                <a:latin typeface="Garamond" panose="02020404030301010803" pitchFamily="18" charset="0"/>
                <a:ea typeface="Helvetica Neue Thin" panose="020B0403020202020204" pitchFamily="34" charset="0"/>
                <a:cs typeface="Arial" panose="020B0604020202020204" pitchFamily="34" charset="0"/>
              </a:rPr>
              <a:t>March 2025</a:t>
            </a:r>
          </a:p>
        </p:txBody>
      </p:sp>
      <p:sp>
        <p:nvSpPr>
          <p:cNvPr id="2" name="Rectangle 1">
            <a:extLst>
              <a:ext uri="{FF2B5EF4-FFF2-40B4-BE49-F238E27FC236}">
                <a16:creationId xmlns:a16="http://schemas.microsoft.com/office/drawing/2014/main" id="{0B9C9635-FA90-5C54-570F-EAD9EA6295BB}"/>
              </a:ext>
            </a:extLst>
          </p:cNvPr>
          <p:cNvSpPr/>
          <p:nvPr userDrawn="1"/>
        </p:nvSpPr>
        <p:spPr>
          <a:xfrm>
            <a:off x="10273" y="20548"/>
            <a:ext cx="1335640" cy="19520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itle 1">
            <a:extLst>
              <a:ext uri="{FF2B5EF4-FFF2-40B4-BE49-F238E27FC236}">
                <a16:creationId xmlns:a16="http://schemas.microsoft.com/office/drawing/2014/main" id="{C459A5CD-BFA7-91EF-7D7D-A7C9A5492345}"/>
              </a:ext>
            </a:extLst>
          </p:cNvPr>
          <p:cNvSpPr>
            <a:spLocks noGrp="1"/>
          </p:cNvSpPr>
          <p:nvPr>
            <p:ph type="title"/>
          </p:nvPr>
        </p:nvSpPr>
        <p:spPr>
          <a:xfrm>
            <a:off x="1076400" y="324000"/>
            <a:ext cx="10386000" cy="648000"/>
          </a:xfrm>
          <a:noFill/>
        </p:spPr>
        <p:txBody>
          <a:bodyPr lIns="0"/>
          <a:lstStyle/>
          <a:p>
            <a:r>
              <a:rPr lang="en-US"/>
              <a:t>Click to edit Master title style</a:t>
            </a:r>
            <a:endParaRPr lang="en-GB"/>
          </a:p>
        </p:txBody>
      </p:sp>
    </p:spTree>
    <p:extLst>
      <p:ext uri="{BB962C8B-B14F-4D97-AF65-F5344CB8AC3E}">
        <p14:creationId xmlns:p14="http://schemas.microsoft.com/office/powerpoint/2010/main" val="586027008"/>
      </p:ext>
    </p:extLst>
  </p:cSld>
  <p:clrMapOvr>
    <a:masterClrMapping/>
  </p:clrMapOvr>
  <p:extLst>
    <p:ext uri="{DCECCB84-F9BA-43D5-87BE-67443E8EF086}">
      <p15:sldGuideLst xmlns:p15="http://schemas.microsoft.com/office/powerpoint/2012/main">
        <p15:guide id="1" orient="horz" pos="1344">
          <p15:clr>
            <a:srgbClr val="5ACBF0"/>
          </p15:clr>
        </p15:guide>
        <p15:guide id="2" orient="horz" pos="3249">
          <p15:clr>
            <a:srgbClr val="5ACBF0"/>
          </p15:clr>
        </p15:guide>
        <p15:guide id="3" pos="3613">
          <p15:clr>
            <a:srgbClr val="5ACBF0"/>
          </p15:clr>
        </p15:guide>
        <p15:guide id="4" pos="710">
          <p15:clr>
            <a:srgbClr val="5ACBF0"/>
          </p15:clr>
        </p15:guide>
        <p15:guide id="5" orient="horz" pos="913">
          <p15:clr>
            <a:srgbClr val="F26B43"/>
          </p15:clr>
        </p15:guide>
        <p15:guide id="6" orient="horz" pos="3702">
          <p15:clr>
            <a:srgbClr val="F26B43"/>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6x6 Summ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noFill/>
        </p:spPr>
        <p:txBody>
          <a:bodyPr lIns="0"/>
          <a:lstStyle/>
          <a:p>
            <a:r>
              <a:rPr lang="en-US"/>
              <a:t>Click to edit Master title style</a:t>
            </a:r>
            <a:endParaRPr lang="en-GB"/>
          </a:p>
        </p:txBody>
      </p:sp>
      <p:sp>
        <p:nvSpPr>
          <p:cNvPr id="3" name="Slide Number Placeholder 2">
            <a:extLst>
              <a:ext uri="{FF2B5EF4-FFF2-40B4-BE49-F238E27FC236}">
                <a16:creationId xmlns:a16="http://schemas.microsoft.com/office/drawing/2014/main" id="{F6A6F3C7-49FD-B21D-A71C-794307806CB1}"/>
              </a:ext>
            </a:extLst>
          </p:cNvPr>
          <p:cNvSpPr>
            <a:spLocks noGrp="1"/>
          </p:cNvSpPr>
          <p:nvPr>
            <p:ph type="sldNum" sz="quarter" idx="10"/>
          </p:nvPr>
        </p:nvSpPr>
        <p:spPr>
          <a:noFill/>
        </p:spPr>
        <p:txBody>
          <a:bodyPr/>
          <a:lstStyle>
            <a:lvl1pPr>
              <a:defRPr sz="1200">
                <a:solidFill>
                  <a:schemeClr val="tx1"/>
                </a:solidFill>
              </a:defRPr>
            </a:lvl1pPr>
          </a:lstStyle>
          <a:p>
            <a:endParaRPr lang="en-GB"/>
          </a:p>
        </p:txBody>
      </p:sp>
      <p:sp>
        <p:nvSpPr>
          <p:cNvPr id="4" name="Footer Placeholder 3">
            <a:extLst>
              <a:ext uri="{FF2B5EF4-FFF2-40B4-BE49-F238E27FC236}">
                <a16:creationId xmlns:a16="http://schemas.microsoft.com/office/drawing/2014/main" id="{5E7FC5AF-5497-9574-95D6-1D004FDD63BA}"/>
              </a:ext>
            </a:extLst>
          </p:cNvPr>
          <p:cNvSpPr>
            <a:spLocks noGrp="1"/>
          </p:cNvSpPr>
          <p:nvPr>
            <p:ph type="ftr" sz="quarter" idx="11"/>
          </p:nvPr>
        </p:nvSpPr>
        <p:spPr>
          <a:xfrm>
            <a:off x="7350369" y="6429965"/>
            <a:ext cx="3176758" cy="307777"/>
          </a:xfrm>
          <a:prstGeom prst="rect">
            <a:avLst/>
          </a:prstGeom>
          <a:noFill/>
        </p:spPr>
        <p:txBody>
          <a:bodyPr/>
          <a:lstStyle/>
          <a:p>
            <a:r>
              <a:rPr lang="en-US"/>
              <a:t>Battery Value Chain Outlook</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3537" y="972000"/>
            <a:ext cx="2880000" cy="288000"/>
          </a:xfrm>
          <a:noFill/>
        </p:spPr>
        <p:txBody>
          <a:bodyPr lIns="0"/>
          <a:lstStyle>
            <a:lvl1pPr>
              <a:defRPr sz="1300"/>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4000" y="1260000"/>
            <a:ext cx="3744000" cy="2169000"/>
          </a:xfrm>
          <a:noFill/>
        </p:spPr>
        <p:txBody>
          <a:bodyPr/>
          <a:lstStyle>
            <a:lvl1pPr algn="ctr">
              <a:defRPr/>
            </a:lvl1pPr>
            <a:lvl5pPr>
              <a:defRPr/>
            </a:lvl5pPr>
          </a:lstStyle>
          <a:p>
            <a:pPr lvl="0"/>
            <a:r>
              <a:rPr lang="en-US"/>
              <a:t>Insert Char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11365200" cy="215999"/>
          </a:xfrm>
          <a:noFill/>
        </p:spPr>
        <p:txBody>
          <a:bodyPr lIns="0"/>
          <a:lstStyle>
            <a:lvl1pPr>
              <a:defRPr sz="1050">
                <a:solidFill>
                  <a:schemeClr val="tx1"/>
                </a:solidFill>
              </a:defRPr>
            </a:lvl1pPr>
            <a:lvl5pPr>
              <a:defRPr sz="1050">
                <a:solidFill>
                  <a:schemeClr val="tx1"/>
                </a:solidFill>
              </a:defRPr>
            </a:lvl5pPr>
          </a:lstStyle>
          <a:p>
            <a:pPr lvl="0"/>
            <a:r>
              <a:rPr lang="en-US"/>
              <a:t>DATA: CRU</a:t>
            </a:r>
            <a:endParaRPr lang="en-GB"/>
          </a:p>
        </p:txBody>
      </p:sp>
      <p:sp>
        <p:nvSpPr>
          <p:cNvPr id="13" name="Text Placeholder 5">
            <a:extLst>
              <a:ext uri="{FF2B5EF4-FFF2-40B4-BE49-F238E27FC236}">
                <a16:creationId xmlns:a16="http://schemas.microsoft.com/office/drawing/2014/main" id="{0F05E3CC-77D8-00D4-3892-43359D3D440D}"/>
              </a:ext>
            </a:extLst>
          </p:cNvPr>
          <p:cNvSpPr>
            <a:spLocks noGrp="1"/>
          </p:cNvSpPr>
          <p:nvPr>
            <p:ph type="body" sz="quarter" idx="20" hasCustomPrompt="1"/>
          </p:nvPr>
        </p:nvSpPr>
        <p:spPr>
          <a:xfrm>
            <a:off x="4233266" y="972000"/>
            <a:ext cx="2880000" cy="288000"/>
          </a:xfrm>
          <a:noFill/>
        </p:spPr>
        <p:txBody>
          <a:bodyPr lIns="108000"/>
          <a:lstStyle>
            <a:lvl1pPr>
              <a:defRPr sz="1300"/>
            </a:lvl1pPr>
          </a:lstStyle>
          <a:p>
            <a:pPr lvl="0"/>
            <a:r>
              <a:rPr lang="en-US"/>
              <a:t>Chart headline</a:t>
            </a:r>
          </a:p>
        </p:txBody>
      </p:sp>
      <p:sp>
        <p:nvSpPr>
          <p:cNvPr id="14" name="Content Placeholder 7">
            <a:extLst>
              <a:ext uri="{FF2B5EF4-FFF2-40B4-BE49-F238E27FC236}">
                <a16:creationId xmlns:a16="http://schemas.microsoft.com/office/drawing/2014/main" id="{CB8F5FCB-FB91-1CC1-0B13-4616C17F6F8D}"/>
              </a:ext>
            </a:extLst>
          </p:cNvPr>
          <p:cNvSpPr>
            <a:spLocks noGrp="1"/>
          </p:cNvSpPr>
          <p:nvPr>
            <p:ph sz="quarter" idx="21" hasCustomPrompt="1"/>
          </p:nvPr>
        </p:nvSpPr>
        <p:spPr>
          <a:xfrm>
            <a:off x="4233266" y="1260000"/>
            <a:ext cx="3744000" cy="2169000"/>
          </a:xfrm>
          <a:noFill/>
        </p:spPr>
        <p:txBody>
          <a:bodyPr/>
          <a:lstStyle>
            <a:lvl1pPr algn="ctr">
              <a:defRPr/>
            </a:lvl1pPr>
            <a:lvl5pPr>
              <a:defRPr/>
            </a:lvl5pPr>
          </a:lstStyle>
          <a:p>
            <a:pPr lvl="0"/>
            <a:r>
              <a:rPr lang="en-US"/>
              <a:t>Insert Chart</a:t>
            </a:r>
            <a:endParaRPr lang="en-GB"/>
          </a:p>
        </p:txBody>
      </p:sp>
      <p:sp>
        <p:nvSpPr>
          <p:cNvPr id="17" name="Text Placeholder 5">
            <a:extLst>
              <a:ext uri="{FF2B5EF4-FFF2-40B4-BE49-F238E27FC236}">
                <a16:creationId xmlns:a16="http://schemas.microsoft.com/office/drawing/2014/main" id="{82725930-D425-C749-FEC9-D1707FF63950}"/>
              </a:ext>
            </a:extLst>
          </p:cNvPr>
          <p:cNvSpPr>
            <a:spLocks noGrp="1"/>
          </p:cNvSpPr>
          <p:nvPr>
            <p:ph type="body" sz="quarter" idx="24" hasCustomPrompt="1"/>
          </p:nvPr>
        </p:nvSpPr>
        <p:spPr>
          <a:xfrm>
            <a:off x="8041899" y="972000"/>
            <a:ext cx="2880000" cy="288000"/>
          </a:xfrm>
          <a:noFill/>
        </p:spPr>
        <p:txBody>
          <a:bodyPr lIns="108000"/>
          <a:lstStyle>
            <a:lvl1pPr>
              <a:defRPr sz="1300"/>
            </a:lvl1pPr>
          </a:lstStyle>
          <a:p>
            <a:pPr lvl="0"/>
            <a:r>
              <a:rPr lang="en-US"/>
              <a:t>Chart headline</a:t>
            </a:r>
          </a:p>
        </p:txBody>
      </p:sp>
      <p:sp>
        <p:nvSpPr>
          <p:cNvPr id="18" name="Content Placeholder 7">
            <a:extLst>
              <a:ext uri="{FF2B5EF4-FFF2-40B4-BE49-F238E27FC236}">
                <a16:creationId xmlns:a16="http://schemas.microsoft.com/office/drawing/2014/main" id="{ECAB1B5D-539C-8387-B045-BAF0C5698A72}"/>
              </a:ext>
            </a:extLst>
          </p:cNvPr>
          <p:cNvSpPr>
            <a:spLocks noGrp="1"/>
          </p:cNvSpPr>
          <p:nvPr>
            <p:ph sz="quarter" idx="25" hasCustomPrompt="1"/>
          </p:nvPr>
        </p:nvSpPr>
        <p:spPr>
          <a:xfrm>
            <a:off x="8041899" y="1260000"/>
            <a:ext cx="3744000" cy="2169000"/>
          </a:xfrm>
          <a:noFill/>
        </p:spPr>
        <p:txBody>
          <a:bodyPr/>
          <a:lstStyle>
            <a:lvl1pPr algn="ctr">
              <a:defRPr/>
            </a:lvl1pPr>
            <a:lvl5pPr>
              <a:defRPr/>
            </a:lvl5pPr>
          </a:lstStyle>
          <a:p>
            <a:pPr lvl="0"/>
            <a:r>
              <a:rPr lang="en-US"/>
              <a:t>Insert Chart</a:t>
            </a:r>
            <a:endParaRPr lang="en-GB"/>
          </a:p>
        </p:txBody>
      </p:sp>
      <p:cxnSp>
        <p:nvCxnSpPr>
          <p:cNvPr id="7" name="Straight Connector 6">
            <a:extLst>
              <a:ext uri="{FF2B5EF4-FFF2-40B4-BE49-F238E27FC236}">
                <a16:creationId xmlns:a16="http://schemas.microsoft.com/office/drawing/2014/main" id="{975CDD6E-035F-9465-32D7-99297026358F}"/>
              </a:ext>
            </a:extLst>
          </p:cNvPr>
          <p:cNvCxnSpPr/>
          <p:nvPr userDrawn="1"/>
        </p:nvCxnSpPr>
        <p:spPr>
          <a:xfrm>
            <a:off x="4190031" y="3779151"/>
            <a:ext cx="7937" cy="1990725"/>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0" name="Straight Connector 9">
            <a:extLst>
              <a:ext uri="{FF2B5EF4-FFF2-40B4-BE49-F238E27FC236}">
                <a16:creationId xmlns:a16="http://schemas.microsoft.com/office/drawing/2014/main" id="{2A904D48-4B83-5BF3-D639-51D8FAB1FCCD}"/>
              </a:ext>
            </a:extLst>
          </p:cNvPr>
          <p:cNvCxnSpPr/>
          <p:nvPr userDrawn="1"/>
        </p:nvCxnSpPr>
        <p:spPr>
          <a:xfrm>
            <a:off x="7991475" y="3779151"/>
            <a:ext cx="7937" cy="1990725"/>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1" name="Straight Connector 10">
            <a:extLst>
              <a:ext uri="{FF2B5EF4-FFF2-40B4-BE49-F238E27FC236}">
                <a16:creationId xmlns:a16="http://schemas.microsoft.com/office/drawing/2014/main" id="{03F1CA78-3547-5512-F36A-2F1EEF65A0E0}"/>
              </a:ext>
            </a:extLst>
          </p:cNvPr>
          <p:cNvCxnSpPr/>
          <p:nvPr userDrawn="1"/>
        </p:nvCxnSpPr>
        <p:spPr>
          <a:xfrm>
            <a:off x="4197968" y="1401902"/>
            <a:ext cx="7937" cy="1990725"/>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6" name="Straight Connector 15">
            <a:extLst>
              <a:ext uri="{FF2B5EF4-FFF2-40B4-BE49-F238E27FC236}">
                <a16:creationId xmlns:a16="http://schemas.microsoft.com/office/drawing/2014/main" id="{7561E445-AB46-12BB-71E4-C5DB6124E6E7}"/>
              </a:ext>
            </a:extLst>
          </p:cNvPr>
          <p:cNvCxnSpPr/>
          <p:nvPr userDrawn="1"/>
        </p:nvCxnSpPr>
        <p:spPr>
          <a:xfrm>
            <a:off x="7999412" y="1401902"/>
            <a:ext cx="7937" cy="1990725"/>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40" name="Straight Connector 39">
            <a:extLst>
              <a:ext uri="{FF2B5EF4-FFF2-40B4-BE49-F238E27FC236}">
                <a16:creationId xmlns:a16="http://schemas.microsoft.com/office/drawing/2014/main" id="{278D58A8-BE28-DE7D-6C5A-A9A83475BCC9}"/>
              </a:ext>
            </a:extLst>
          </p:cNvPr>
          <p:cNvCxnSpPr/>
          <p:nvPr userDrawn="1"/>
        </p:nvCxnSpPr>
        <p:spPr>
          <a:xfrm>
            <a:off x="658600" y="3494879"/>
            <a:ext cx="3251413" cy="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41" name="Straight Connector 40">
            <a:extLst>
              <a:ext uri="{FF2B5EF4-FFF2-40B4-BE49-F238E27FC236}">
                <a16:creationId xmlns:a16="http://schemas.microsoft.com/office/drawing/2014/main" id="{5B27A369-CAEB-07CB-E8C4-BB5EE7BE8F47}"/>
              </a:ext>
            </a:extLst>
          </p:cNvPr>
          <p:cNvCxnSpPr/>
          <p:nvPr userDrawn="1"/>
        </p:nvCxnSpPr>
        <p:spPr>
          <a:xfrm>
            <a:off x="4439443" y="3494879"/>
            <a:ext cx="3251413" cy="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42" name="Straight Connector 41">
            <a:extLst>
              <a:ext uri="{FF2B5EF4-FFF2-40B4-BE49-F238E27FC236}">
                <a16:creationId xmlns:a16="http://schemas.microsoft.com/office/drawing/2014/main" id="{6F2B0CF4-4040-2F53-E5C0-3C48211F50AF}"/>
              </a:ext>
            </a:extLst>
          </p:cNvPr>
          <p:cNvCxnSpPr/>
          <p:nvPr userDrawn="1"/>
        </p:nvCxnSpPr>
        <p:spPr>
          <a:xfrm>
            <a:off x="8221441" y="3494879"/>
            <a:ext cx="3251413" cy="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sp>
        <p:nvSpPr>
          <p:cNvPr id="19" name="Text Placeholder 5">
            <a:extLst>
              <a:ext uri="{FF2B5EF4-FFF2-40B4-BE49-F238E27FC236}">
                <a16:creationId xmlns:a16="http://schemas.microsoft.com/office/drawing/2014/main" id="{E3AE09A3-7ED0-CFEC-F594-84B47BC5ABC8}"/>
              </a:ext>
            </a:extLst>
          </p:cNvPr>
          <p:cNvSpPr>
            <a:spLocks noGrp="1"/>
          </p:cNvSpPr>
          <p:nvPr>
            <p:ph type="body" sz="quarter" idx="26" hasCustomPrompt="1"/>
          </p:nvPr>
        </p:nvSpPr>
        <p:spPr>
          <a:xfrm>
            <a:off x="396061" y="3550000"/>
            <a:ext cx="2880000" cy="288000"/>
          </a:xfrm>
          <a:noFill/>
        </p:spPr>
        <p:txBody>
          <a:bodyPr lIns="0"/>
          <a:lstStyle>
            <a:lvl1pPr>
              <a:defRPr sz="1300"/>
            </a:lvl1pPr>
          </a:lstStyle>
          <a:p>
            <a:pPr lvl="0"/>
            <a:r>
              <a:rPr lang="en-US"/>
              <a:t>Chart headline</a:t>
            </a:r>
          </a:p>
        </p:txBody>
      </p:sp>
      <p:sp>
        <p:nvSpPr>
          <p:cNvPr id="20" name="Content Placeholder 7">
            <a:extLst>
              <a:ext uri="{FF2B5EF4-FFF2-40B4-BE49-F238E27FC236}">
                <a16:creationId xmlns:a16="http://schemas.microsoft.com/office/drawing/2014/main" id="{8068154B-E4C5-D725-B0F4-9FB32C30F8B8}"/>
              </a:ext>
            </a:extLst>
          </p:cNvPr>
          <p:cNvSpPr>
            <a:spLocks noGrp="1"/>
          </p:cNvSpPr>
          <p:nvPr>
            <p:ph sz="quarter" idx="27" hasCustomPrompt="1"/>
          </p:nvPr>
        </p:nvSpPr>
        <p:spPr>
          <a:xfrm>
            <a:off x="396524" y="3838000"/>
            <a:ext cx="3744000" cy="2169000"/>
          </a:xfrm>
          <a:noFill/>
        </p:spPr>
        <p:txBody>
          <a:bodyPr/>
          <a:lstStyle>
            <a:lvl1pPr algn="ctr">
              <a:defRPr/>
            </a:lvl1pPr>
            <a:lvl5pPr>
              <a:defRPr/>
            </a:lvl5pPr>
          </a:lstStyle>
          <a:p>
            <a:pPr lvl="0"/>
            <a:r>
              <a:rPr lang="en-US"/>
              <a:t>Insert Chart</a:t>
            </a:r>
            <a:endParaRPr lang="en-GB"/>
          </a:p>
        </p:txBody>
      </p:sp>
      <p:sp>
        <p:nvSpPr>
          <p:cNvPr id="21" name="Text Placeholder 5">
            <a:extLst>
              <a:ext uri="{FF2B5EF4-FFF2-40B4-BE49-F238E27FC236}">
                <a16:creationId xmlns:a16="http://schemas.microsoft.com/office/drawing/2014/main" id="{609161F2-4E81-2C5A-1355-1578C6966E55}"/>
              </a:ext>
            </a:extLst>
          </p:cNvPr>
          <p:cNvSpPr>
            <a:spLocks noGrp="1"/>
          </p:cNvSpPr>
          <p:nvPr>
            <p:ph type="body" sz="quarter" idx="28" hasCustomPrompt="1"/>
          </p:nvPr>
        </p:nvSpPr>
        <p:spPr>
          <a:xfrm>
            <a:off x="4226803" y="3544789"/>
            <a:ext cx="2880000" cy="288000"/>
          </a:xfrm>
          <a:noFill/>
        </p:spPr>
        <p:txBody>
          <a:bodyPr lIns="0"/>
          <a:lstStyle>
            <a:lvl1pPr>
              <a:defRPr sz="1300"/>
            </a:lvl1pPr>
          </a:lstStyle>
          <a:p>
            <a:pPr lvl="0"/>
            <a:r>
              <a:rPr lang="en-US"/>
              <a:t>Chart headline</a:t>
            </a:r>
          </a:p>
        </p:txBody>
      </p:sp>
      <p:sp>
        <p:nvSpPr>
          <p:cNvPr id="43" name="Content Placeholder 7">
            <a:extLst>
              <a:ext uri="{FF2B5EF4-FFF2-40B4-BE49-F238E27FC236}">
                <a16:creationId xmlns:a16="http://schemas.microsoft.com/office/drawing/2014/main" id="{5DF6CD11-0BA6-BE5F-0CEB-B8C7EB3A63DB}"/>
              </a:ext>
            </a:extLst>
          </p:cNvPr>
          <p:cNvSpPr>
            <a:spLocks noGrp="1"/>
          </p:cNvSpPr>
          <p:nvPr>
            <p:ph sz="quarter" idx="29" hasCustomPrompt="1"/>
          </p:nvPr>
        </p:nvSpPr>
        <p:spPr>
          <a:xfrm>
            <a:off x="4227266" y="3832789"/>
            <a:ext cx="3744000" cy="2169000"/>
          </a:xfrm>
          <a:noFill/>
        </p:spPr>
        <p:txBody>
          <a:bodyPr/>
          <a:lstStyle>
            <a:lvl1pPr algn="ctr">
              <a:defRPr/>
            </a:lvl1pPr>
            <a:lvl5pPr>
              <a:defRPr/>
            </a:lvl5pPr>
          </a:lstStyle>
          <a:p>
            <a:pPr lvl="0"/>
            <a:r>
              <a:rPr lang="en-US"/>
              <a:t>Insert Chart</a:t>
            </a:r>
            <a:endParaRPr lang="en-GB"/>
          </a:p>
        </p:txBody>
      </p:sp>
      <p:sp>
        <p:nvSpPr>
          <p:cNvPr id="44" name="Text Placeholder 5">
            <a:extLst>
              <a:ext uri="{FF2B5EF4-FFF2-40B4-BE49-F238E27FC236}">
                <a16:creationId xmlns:a16="http://schemas.microsoft.com/office/drawing/2014/main" id="{A229D186-3AC0-9035-9DEC-A33E0A69EFCF}"/>
              </a:ext>
            </a:extLst>
          </p:cNvPr>
          <p:cNvSpPr>
            <a:spLocks noGrp="1"/>
          </p:cNvSpPr>
          <p:nvPr>
            <p:ph type="body" sz="quarter" idx="30" hasCustomPrompt="1"/>
          </p:nvPr>
        </p:nvSpPr>
        <p:spPr>
          <a:xfrm>
            <a:off x="8025468" y="3544789"/>
            <a:ext cx="2880000" cy="288000"/>
          </a:xfrm>
          <a:noFill/>
        </p:spPr>
        <p:txBody>
          <a:bodyPr lIns="0"/>
          <a:lstStyle>
            <a:lvl1pPr>
              <a:defRPr sz="1300"/>
            </a:lvl1pPr>
          </a:lstStyle>
          <a:p>
            <a:pPr lvl="0"/>
            <a:r>
              <a:rPr lang="en-US"/>
              <a:t>Chart headline</a:t>
            </a:r>
          </a:p>
        </p:txBody>
      </p:sp>
      <p:sp>
        <p:nvSpPr>
          <p:cNvPr id="45" name="Content Placeholder 7">
            <a:extLst>
              <a:ext uri="{FF2B5EF4-FFF2-40B4-BE49-F238E27FC236}">
                <a16:creationId xmlns:a16="http://schemas.microsoft.com/office/drawing/2014/main" id="{D0AABD0E-4839-EF4E-3ED7-F0E60DAFA138}"/>
              </a:ext>
            </a:extLst>
          </p:cNvPr>
          <p:cNvSpPr>
            <a:spLocks noGrp="1"/>
          </p:cNvSpPr>
          <p:nvPr>
            <p:ph sz="quarter" idx="31" hasCustomPrompt="1"/>
          </p:nvPr>
        </p:nvSpPr>
        <p:spPr>
          <a:xfrm>
            <a:off x="8025931" y="3832789"/>
            <a:ext cx="3744000" cy="2169000"/>
          </a:xfrm>
          <a:noFill/>
        </p:spPr>
        <p:txBody>
          <a:bodyPr/>
          <a:lstStyle>
            <a:lvl1pPr algn="ctr">
              <a:defRPr/>
            </a:lvl1pPr>
            <a:lvl5pPr>
              <a:defRPr/>
            </a:lvl5pPr>
          </a:lstStyle>
          <a:p>
            <a:pPr lvl="0"/>
            <a:r>
              <a:rPr lang="en-US"/>
              <a:t>Insert Chart</a:t>
            </a:r>
            <a:endParaRPr lang="en-GB"/>
          </a:p>
        </p:txBody>
      </p:sp>
      <p:sp>
        <p:nvSpPr>
          <p:cNvPr id="5" name="Rectangle 4">
            <a:extLst>
              <a:ext uri="{FF2B5EF4-FFF2-40B4-BE49-F238E27FC236}">
                <a16:creationId xmlns:a16="http://schemas.microsoft.com/office/drawing/2014/main" id="{518BAD1B-9DC8-E67B-F902-FAD718D6AC78}"/>
              </a:ext>
            </a:extLst>
          </p:cNvPr>
          <p:cNvSpPr/>
          <p:nvPr userDrawn="1"/>
        </p:nvSpPr>
        <p:spPr>
          <a:xfrm>
            <a:off x="10273" y="20548"/>
            <a:ext cx="1335640" cy="19520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5506540"/>
      </p:ext>
    </p:extLst>
  </p:cSld>
  <p:clrMapOvr>
    <a:masterClrMapping/>
  </p:clrMapOvr>
  <p:extLst>
    <p:ext uri="{DCECCB84-F9BA-43D5-87BE-67443E8EF086}">
      <p15:sldGuideLst xmlns:p15="http://schemas.microsoft.com/office/powerpoint/2012/main">
        <p15:guide id="1" pos="551">
          <p15:clr>
            <a:srgbClr val="5ACBF0"/>
          </p15:clr>
        </p15:guide>
        <p15:guide id="2" pos="2479">
          <p15:clr>
            <a:srgbClr val="5ACBF0"/>
          </p15:clr>
        </p15:guide>
        <p15:guide id="3" pos="2955">
          <p15:clr>
            <a:srgbClr val="5ACBF0"/>
          </p15:clr>
        </p15:guide>
        <p15:guide id="4" pos="4861">
          <p15:clr>
            <a:srgbClr val="5ACBF0"/>
          </p15:clr>
        </p15:guide>
        <p15:guide id="5" pos="7242">
          <p15:clr>
            <a:srgbClr val="5ACBF0"/>
          </p15:clr>
        </p15:guide>
        <p15:guide id="6" pos="5337">
          <p15:clr>
            <a:srgbClr val="5ACBF0"/>
          </p15:clr>
        </p15:guide>
        <p15:guide id="7" orient="horz" pos="1094">
          <p15:clr>
            <a:srgbClr val="5ACBF0"/>
          </p15:clr>
        </p15:guide>
        <p15:guide id="8" orient="horz" pos="1933">
          <p15:clr>
            <a:srgbClr val="5ACBF0"/>
          </p15:clr>
        </p15:guide>
        <p15:guide id="9" orient="horz" pos="799">
          <p15:clr>
            <a:srgbClr val="F26B43"/>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_Summary Storybo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noFill/>
        </p:spPr>
        <p:txBody>
          <a:bodyPr lIns="0"/>
          <a:lstStyle/>
          <a:p>
            <a:r>
              <a:rPr lang="en-US"/>
              <a:t>Click to edit Master title style</a:t>
            </a:r>
            <a:endParaRPr lang="en-GB"/>
          </a:p>
        </p:txBody>
      </p:sp>
      <p:sp>
        <p:nvSpPr>
          <p:cNvPr id="3" name="Slide Number Placeholder 2">
            <a:extLst>
              <a:ext uri="{FF2B5EF4-FFF2-40B4-BE49-F238E27FC236}">
                <a16:creationId xmlns:a16="http://schemas.microsoft.com/office/drawing/2014/main" id="{F6A6F3C7-49FD-B21D-A71C-794307806CB1}"/>
              </a:ext>
            </a:extLst>
          </p:cNvPr>
          <p:cNvSpPr>
            <a:spLocks noGrp="1"/>
          </p:cNvSpPr>
          <p:nvPr>
            <p:ph type="sldNum" sz="quarter" idx="10"/>
          </p:nvPr>
        </p:nvSpPr>
        <p:spPr>
          <a:noFill/>
        </p:spPr>
        <p:txBody>
          <a:bodyPr/>
          <a:lstStyle>
            <a:lvl1pPr>
              <a:defRPr sz="1200">
                <a:solidFill>
                  <a:schemeClr val="tx1"/>
                </a:solidFill>
              </a:defRPr>
            </a:lvl1pPr>
          </a:lstStyle>
          <a:p>
            <a:endParaRPr lang="en-GB"/>
          </a:p>
        </p:txBody>
      </p:sp>
      <p:sp>
        <p:nvSpPr>
          <p:cNvPr id="4" name="Footer Placeholder 3">
            <a:extLst>
              <a:ext uri="{FF2B5EF4-FFF2-40B4-BE49-F238E27FC236}">
                <a16:creationId xmlns:a16="http://schemas.microsoft.com/office/drawing/2014/main" id="{5E7FC5AF-5497-9574-95D6-1D004FDD63BA}"/>
              </a:ext>
            </a:extLst>
          </p:cNvPr>
          <p:cNvSpPr>
            <a:spLocks noGrp="1"/>
          </p:cNvSpPr>
          <p:nvPr>
            <p:ph type="ftr" sz="quarter" idx="11"/>
          </p:nvPr>
        </p:nvSpPr>
        <p:spPr>
          <a:xfrm>
            <a:off x="7350369" y="6429965"/>
            <a:ext cx="3176758" cy="307777"/>
          </a:xfrm>
          <a:prstGeom prst="rect">
            <a:avLst/>
          </a:prstGeom>
          <a:noFill/>
        </p:spPr>
        <p:txBody>
          <a:bodyPr/>
          <a:lstStyle/>
          <a:p>
            <a:r>
              <a:rPr lang="en-GB"/>
              <a:t>Battery Value Chain Outlook</a:t>
            </a:r>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04392" y="972000"/>
            <a:ext cx="3744000" cy="288000"/>
          </a:xfrm>
          <a:noFill/>
        </p:spPr>
        <p:txBody>
          <a:bodyPr lIns="0"/>
          <a:lstStyle>
            <a:lvl1pPr>
              <a:defRPr sz="1300"/>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04856" y="1260000"/>
            <a:ext cx="3744000" cy="2169000"/>
          </a:xfrm>
          <a:noFill/>
        </p:spPr>
        <p:txBody>
          <a:bodyPr/>
          <a:lstStyle>
            <a:lvl1pPr algn="ctr">
              <a:defRPr/>
            </a:lvl1pPr>
            <a:lvl5pPr>
              <a:defRPr/>
            </a:lvl5pPr>
          </a:lstStyle>
          <a:p>
            <a:pPr lvl="0"/>
            <a:r>
              <a:rPr lang="en-US"/>
              <a:t>Insert Char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11365200" cy="215999"/>
          </a:xfrm>
          <a:noFill/>
        </p:spPr>
        <p:txBody>
          <a:bodyPr lIns="0"/>
          <a:lstStyle>
            <a:lvl1pPr>
              <a:defRPr sz="1050">
                <a:solidFill>
                  <a:schemeClr val="tx1"/>
                </a:solidFill>
              </a:defRPr>
            </a:lvl1pPr>
            <a:lvl5pPr>
              <a:defRPr sz="1050">
                <a:solidFill>
                  <a:schemeClr val="tx1"/>
                </a:solidFill>
              </a:defRPr>
            </a:lvl5pPr>
          </a:lstStyle>
          <a:p>
            <a:pPr lvl="0"/>
            <a:r>
              <a:rPr lang="en-US"/>
              <a:t>DATA: CRU</a:t>
            </a:r>
            <a:endParaRPr lang="en-GB"/>
          </a:p>
        </p:txBody>
      </p:sp>
      <p:sp>
        <p:nvSpPr>
          <p:cNvPr id="13" name="Text Placeholder 5">
            <a:extLst>
              <a:ext uri="{FF2B5EF4-FFF2-40B4-BE49-F238E27FC236}">
                <a16:creationId xmlns:a16="http://schemas.microsoft.com/office/drawing/2014/main" id="{0F05E3CC-77D8-00D4-3892-43359D3D440D}"/>
              </a:ext>
            </a:extLst>
          </p:cNvPr>
          <p:cNvSpPr>
            <a:spLocks noGrp="1"/>
          </p:cNvSpPr>
          <p:nvPr>
            <p:ph type="body" sz="quarter" idx="20" hasCustomPrompt="1"/>
          </p:nvPr>
        </p:nvSpPr>
        <p:spPr>
          <a:xfrm>
            <a:off x="4230286" y="972000"/>
            <a:ext cx="3744000" cy="288000"/>
          </a:xfrm>
          <a:noFill/>
        </p:spPr>
        <p:txBody>
          <a:bodyPr lIns="108000"/>
          <a:lstStyle>
            <a:lvl1pPr>
              <a:defRPr sz="1300"/>
            </a:lvl1pPr>
          </a:lstStyle>
          <a:p>
            <a:pPr lvl="0"/>
            <a:r>
              <a:rPr lang="en-US"/>
              <a:t>Chart headline</a:t>
            </a:r>
          </a:p>
        </p:txBody>
      </p:sp>
      <p:sp>
        <p:nvSpPr>
          <p:cNvPr id="14" name="Content Placeholder 7">
            <a:extLst>
              <a:ext uri="{FF2B5EF4-FFF2-40B4-BE49-F238E27FC236}">
                <a16:creationId xmlns:a16="http://schemas.microsoft.com/office/drawing/2014/main" id="{CB8F5FCB-FB91-1CC1-0B13-4616C17F6F8D}"/>
              </a:ext>
            </a:extLst>
          </p:cNvPr>
          <p:cNvSpPr>
            <a:spLocks noGrp="1"/>
          </p:cNvSpPr>
          <p:nvPr>
            <p:ph sz="quarter" idx="21" hasCustomPrompt="1"/>
          </p:nvPr>
        </p:nvSpPr>
        <p:spPr>
          <a:xfrm>
            <a:off x="4230288" y="1260000"/>
            <a:ext cx="3744000" cy="2169000"/>
          </a:xfrm>
          <a:noFill/>
        </p:spPr>
        <p:txBody>
          <a:bodyPr/>
          <a:lstStyle>
            <a:lvl1pPr algn="ctr">
              <a:defRPr/>
            </a:lvl1pPr>
            <a:lvl5pPr>
              <a:defRPr/>
            </a:lvl5pPr>
          </a:lstStyle>
          <a:p>
            <a:pPr lvl="0"/>
            <a:r>
              <a:rPr lang="en-US"/>
              <a:t>Insert Chart</a:t>
            </a:r>
            <a:endParaRPr lang="en-GB"/>
          </a:p>
        </p:txBody>
      </p:sp>
      <p:sp>
        <p:nvSpPr>
          <p:cNvPr id="17" name="Text Placeholder 5">
            <a:extLst>
              <a:ext uri="{FF2B5EF4-FFF2-40B4-BE49-F238E27FC236}">
                <a16:creationId xmlns:a16="http://schemas.microsoft.com/office/drawing/2014/main" id="{82725930-D425-C749-FEC9-D1707FF63950}"/>
              </a:ext>
            </a:extLst>
          </p:cNvPr>
          <p:cNvSpPr>
            <a:spLocks noGrp="1"/>
          </p:cNvSpPr>
          <p:nvPr>
            <p:ph type="body" sz="quarter" idx="24" hasCustomPrompt="1"/>
          </p:nvPr>
        </p:nvSpPr>
        <p:spPr>
          <a:xfrm>
            <a:off x="8037432" y="972000"/>
            <a:ext cx="3744000" cy="288000"/>
          </a:xfrm>
          <a:noFill/>
        </p:spPr>
        <p:txBody>
          <a:bodyPr lIns="108000"/>
          <a:lstStyle>
            <a:lvl1pPr>
              <a:defRPr sz="1300"/>
            </a:lvl1pPr>
          </a:lstStyle>
          <a:p>
            <a:pPr lvl="0"/>
            <a:r>
              <a:rPr lang="en-US"/>
              <a:t>Chart headline</a:t>
            </a:r>
          </a:p>
        </p:txBody>
      </p:sp>
      <p:sp>
        <p:nvSpPr>
          <p:cNvPr id="18" name="Content Placeholder 7">
            <a:extLst>
              <a:ext uri="{FF2B5EF4-FFF2-40B4-BE49-F238E27FC236}">
                <a16:creationId xmlns:a16="http://schemas.microsoft.com/office/drawing/2014/main" id="{ECAB1B5D-539C-8387-B045-BAF0C5698A72}"/>
              </a:ext>
            </a:extLst>
          </p:cNvPr>
          <p:cNvSpPr>
            <a:spLocks noGrp="1"/>
          </p:cNvSpPr>
          <p:nvPr>
            <p:ph sz="quarter" idx="25" hasCustomPrompt="1"/>
          </p:nvPr>
        </p:nvSpPr>
        <p:spPr>
          <a:xfrm>
            <a:off x="8037432" y="1260000"/>
            <a:ext cx="3744000" cy="2169000"/>
          </a:xfrm>
          <a:noFill/>
        </p:spPr>
        <p:txBody>
          <a:bodyPr/>
          <a:lstStyle>
            <a:lvl1pPr algn="ctr">
              <a:defRPr/>
            </a:lvl1pPr>
            <a:lvl5pPr>
              <a:defRPr/>
            </a:lvl5pPr>
          </a:lstStyle>
          <a:p>
            <a:pPr lvl="0"/>
            <a:r>
              <a:rPr lang="en-US"/>
              <a:t>Insert Chart</a:t>
            </a:r>
            <a:endParaRPr lang="en-GB"/>
          </a:p>
        </p:txBody>
      </p:sp>
      <p:cxnSp>
        <p:nvCxnSpPr>
          <p:cNvPr id="7" name="Straight Connector 6">
            <a:extLst>
              <a:ext uri="{FF2B5EF4-FFF2-40B4-BE49-F238E27FC236}">
                <a16:creationId xmlns:a16="http://schemas.microsoft.com/office/drawing/2014/main" id="{975CDD6E-035F-9465-32D7-99297026358F}"/>
              </a:ext>
            </a:extLst>
          </p:cNvPr>
          <p:cNvCxnSpPr/>
          <p:nvPr userDrawn="1"/>
        </p:nvCxnSpPr>
        <p:spPr>
          <a:xfrm>
            <a:off x="4190031" y="3766451"/>
            <a:ext cx="7937" cy="1990725"/>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0" name="Straight Connector 9">
            <a:extLst>
              <a:ext uri="{FF2B5EF4-FFF2-40B4-BE49-F238E27FC236}">
                <a16:creationId xmlns:a16="http://schemas.microsoft.com/office/drawing/2014/main" id="{2A904D48-4B83-5BF3-D639-51D8FAB1FCCD}"/>
              </a:ext>
            </a:extLst>
          </p:cNvPr>
          <p:cNvCxnSpPr>
            <a:cxnSpLocks/>
          </p:cNvCxnSpPr>
          <p:nvPr userDrawn="1"/>
        </p:nvCxnSpPr>
        <p:spPr>
          <a:xfrm>
            <a:off x="8004588" y="3766451"/>
            <a:ext cx="7937" cy="1990725"/>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1" name="Straight Connector 10">
            <a:extLst>
              <a:ext uri="{FF2B5EF4-FFF2-40B4-BE49-F238E27FC236}">
                <a16:creationId xmlns:a16="http://schemas.microsoft.com/office/drawing/2014/main" id="{03F1CA78-3547-5512-F36A-2F1EEF65A0E0}"/>
              </a:ext>
            </a:extLst>
          </p:cNvPr>
          <p:cNvCxnSpPr/>
          <p:nvPr userDrawn="1"/>
        </p:nvCxnSpPr>
        <p:spPr>
          <a:xfrm>
            <a:off x="4197968" y="1401902"/>
            <a:ext cx="7937" cy="1990725"/>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6" name="Straight Connector 15">
            <a:extLst>
              <a:ext uri="{FF2B5EF4-FFF2-40B4-BE49-F238E27FC236}">
                <a16:creationId xmlns:a16="http://schemas.microsoft.com/office/drawing/2014/main" id="{7561E445-AB46-12BB-71E4-C5DB6124E6E7}"/>
              </a:ext>
            </a:extLst>
          </p:cNvPr>
          <p:cNvCxnSpPr>
            <a:cxnSpLocks/>
          </p:cNvCxnSpPr>
          <p:nvPr userDrawn="1"/>
        </p:nvCxnSpPr>
        <p:spPr>
          <a:xfrm>
            <a:off x="8004588" y="1401902"/>
            <a:ext cx="7937" cy="1990725"/>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40" name="Straight Connector 39">
            <a:extLst>
              <a:ext uri="{FF2B5EF4-FFF2-40B4-BE49-F238E27FC236}">
                <a16:creationId xmlns:a16="http://schemas.microsoft.com/office/drawing/2014/main" id="{278D58A8-BE28-DE7D-6C5A-A9A83475BCC9}"/>
              </a:ext>
            </a:extLst>
          </p:cNvPr>
          <p:cNvCxnSpPr/>
          <p:nvPr userDrawn="1"/>
        </p:nvCxnSpPr>
        <p:spPr>
          <a:xfrm>
            <a:off x="684000" y="3507452"/>
            <a:ext cx="3251413" cy="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41" name="Straight Connector 40">
            <a:extLst>
              <a:ext uri="{FF2B5EF4-FFF2-40B4-BE49-F238E27FC236}">
                <a16:creationId xmlns:a16="http://schemas.microsoft.com/office/drawing/2014/main" id="{5B27A369-CAEB-07CB-E8C4-BB5EE7BE8F47}"/>
              </a:ext>
            </a:extLst>
          </p:cNvPr>
          <p:cNvCxnSpPr/>
          <p:nvPr userDrawn="1"/>
        </p:nvCxnSpPr>
        <p:spPr>
          <a:xfrm>
            <a:off x="4464631" y="3507452"/>
            <a:ext cx="3251413" cy="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42" name="Straight Connector 41">
            <a:extLst>
              <a:ext uri="{FF2B5EF4-FFF2-40B4-BE49-F238E27FC236}">
                <a16:creationId xmlns:a16="http://schemas.microsoft.com/office/drawing/2014/main" id="{6F2B0CF4-4040-2F53-E5C0-3C48211F50AF}"/>
              </a:ext>
            </a:extLst>
          </p:cNvPr>
          <p:cNvCxnSpPr/>
          <p:nvPr userDrawn="1"/>
        </p:nvCxnSpPr>
        <p:spPr>
          <a:xfrm>
            <a:off x="8245262" y="3487606"/>
            <a:ext cx="3251413" cy="0"/>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sp>
        <p:nvSpPr>
          <p:cNvPr id="20" name="Text Placeholder 5">
            <a:extLst>
              <a:ext uri="{FF2B5EF4-FFF2-40B4-BE49-F238E27FC236}">
                <a16:creationId xmlns:a16="http://schemas.microsoft.com/office/drawing/2014/main" id="{0F3D2F0E-D3E5-7B98-5397-84AEC2794C94}"/>
              </a:ext>
            </a:extLst>
          </p:cNvPr>
          <p:cNvSpPr>
            <a:spLocks noGrp="1"/>
          </p:cNvSpPr>
          <p:nvPr>
            <p:ph type="body" sz="quarter" idx="26" hasCustomPrompt="1"/>
          </p:nvPr>
        </p:nvSpPr>
        <p:spPr>
          <a:xfrm>
            <a:off x="404392" y="3573779"/>
            <a:ext cx="3744000" cy="288000"/>
          </a:xfrm>
          <a:noFill/>
        </p:spPr>
        <p:txBody>
          <a:bodyPr lIns="0"/>
          <a:lstStyle>
            <a:lvl1pPr>
              <a:defRPr sz="1300"/>
            </a:lvl1pPr>
          </a:lstStyle>
          <a:p>
            <a:pPr lvl="0"/>
            <a:r>
              <a:rPr lang="en-US"/>
              <a:t>Chart headline</a:t>
            </a:r>
          </a:p>
        </p:txBody>
      </p:sp>
      <p:sp>
        <p:nvSpPr>
          <p:cNvPr id="21" name="Content Placeholder 7">
            <a:extLst>
              <a:ext uri="{FF2B5EF4-FFF2-40B4-BE49-F238E27FC236}">
                <a16:creationId xmlns:a16="http://schemas.microsoft.com/office/drawing/2014/main" id="{971D77E2-88CE-58A0-6008-DE30CB26C28B}"/>
              </a:ext>
            </a:extLst>
          </p:cNvPr>
          <p:cNvSpPr>
            <a:spLocks noGrp="1"/>
          </p:cNvSpPr>
          <p:nvPr>
            <p:ph sz="quarter" idx="27" hasCustomPrompt="1"/>
          </p:nvPr>
        </p:nvSpPr>
        <p:spPr>
          <a:xfrm>
            <a:off x="404856" y="3861779"/>
            <a:ext cx="3744000" cy="2115158"/>
          </a:xfrm>
          <a:noFill/>
        </p:spPr>
        <p:txBody>
          <a:bodyPr/>
          <a:lstStyle>
            <a:lvl1pPr algn="ctr">
              <a:defRPr/>
            </a:lvl1pPr>
            <a:lvl5pPr>
              <a:defRPr/>
            </a:lvl5pPr>
          </a:lstStyle>
          <a:p>
            <a:pPr lvl="0"/>
            <a:r>
              <a:rPr lang="en-US"/>
              <a:t>Insert Chart</a:t>
            </a:r>
            <a:endParaRPr lang="en-GB"/>
          </a:p>
        </p:txBody>
      </p:sp>
      <p:sp>
        <p:nvSpPr>
          <p:cNvPr id="46" name="Content Placeholder 7">
            <a:extLst>
              <a:ext uri="{FF2B5EF4-FFF2-40B4-BE49-F238E27FC236}">
                <a16:creationId xmlns:a16="http://schemas.microsoft.com/office/drawing/2014/main" id="{20C3AFE5-880A-7181-B13D-75B1901632C8}"/>
              </a:ext>
            </a:extLst>
          </p:cNvPr>
          <p:cNvSpPr>
            <a:spLocks noGrp="1"/>
          </p:cNvSpPr>
          <p:nvPr>
            <p:ph sz="quarter" idx="29" hasCustomPrompt="1"/>
          </p:nvPr>
        </p:nvSpPr>
        <p:spPr>
          <a:xfrm>
            <a:off x="4232322" y="3861779"/>
            <a:ext cx="3744000" cy="2115158"/>
          </a:xfrm>
          <a:noFill/>
        </p:spPr>
        <p:txBody>
          <a:bodyPr/>
          <a:lstStyle>
            <a:lvl1pPr algn="ctr">
              <a:defRPr/>
            </a:lvl1pPr>
            <a:lvl5pPr>
              <a:defRPr/>
            </a:lvl5pPr>
          </a:lstStyle>
          <a:p>
            <a:pPr lvl="0"/>
            <a:r>
              <a:rPr lang="en-US"/>
              <a:t>Insert Chart</a:t>
            </a:r>
            <a:endParaRPr lang="en-GB"/>
          </a:p>
        </p:txBody>
      </p:sp>
      <p:sp>
        <p:nvSpPr>
          <p:cNvPr id="48" name="Content Placeholder 7">
            <a:extLst>
              <a:ext uri="{FF2B5EF4-FFF2-40B4-BE49-F238E27FC236}">
                <a16:creationId xmlns:a16="http://schemas.microsoft.com/office/drawing/2014/main" id="{C667DFCA-F390-1C45-7A51-50ACE5867206}"/>
              </a:ext>
            </a:extLst>
          </p:cNvPr>
          <p:cNvSpPr>
            <a:spLocks noGrp="1"/>
          </p:cNvSpPr>
          <p:nvPr>
            <p:ph sz="quarter" idx="31" hasCustomPrompt="1"/>
          </p:nvPr>
        </p:nvSpPr>
        <p:spPr>
          <a:xfrm>
            <a:off x="8048294" y="3861779"/>
            <a:ext cx="3744000" cy="2115158"/>
          </a:xfrm>
          <a:noFill/>
        </p:spPr>
        <p:txBody>
          <a:bodyPr/>
          <a:lstStyle>
            <a:lvl1pPr algn="ctr">
              <a:defRPr/>
            </a:lvl1pPr>
            <a:lvl5pPr>
              <a:defRPr/>
            </a:lvl5pPr>
          </a:lstStyle>
          <a:p>
            <a:pPr lvl="0"/>
            <a:r>
              <a:rPr lang="en-US"/>
              <a:t>Insert Chart</a:t>
            </a:r>
            <a:endParaRPr lang="en-GB"/>
          </a:p>
        </p:txBody>
      </p:sp>
      <p:sp>
        <p:nvSpPr>
          <p:cNvPr id="45" name="Text Placeholder 5">
            <a:extLst>
              <a:ext uri="{FF2B5EF4-FFF2-40B4-BE49-F238E27FC236}">
                <a16:creationId xmlns:a16="http://schemas.microsoft.com/office/drawing/2014/main" id="{ADA5F841-55DA-1FCD-C282-B9CA8543085D}"/>
              </a:ext>
            </a:extLst>
          </p:cNvPr>
          <p:cNvSpPr>
            <a:spLocks noGrp="1"/>
          </p:cNvSpPr>
          <p:nvPr>
            <p:ph type="body" sz="quarter" idx="28" hasCustomPrompt="1"/>
          </p:nvPr>
        </p:nvSpPr>
        <p:spPr>
          <a:xfrm>
            <a:off x="4231859" y="3573779"/>
            <a:ext cx="3744000" cy="288000"/>
          </a:xfrm>
          <a:noFill/>
        </p:spPr>
        <p:txBody>
          <a:bodyPr lIns="0"/>
          <a:lstStyle>
            <a:lvl1pPr>
              <a:defRPr sz="1300"/>
            </a:lvl1pPr>
          </a:lstStyle>
          <a:p>
            <a:pPr lvl="0"/>
            <a:r>
              <a:rPr lang="en-US"/>
              <a:t>Chart headline</a:t>
            </a:r>
          </a:p>
        </p:txBody>
      </p:sp>
      <p:sp>
        <p:nvSpPr>
          <p:cNvPr id="47" name="Text Placeholder 5">
            <a:extLst>
              <a:ext uri="{FF2B5EF4-FFF2-40B4-BE49-F238E27FC236}">
                <a16:creationId xmlns:a16="http://schemas.microsoft.com/office/drawing/2014/main" id="{BA67EBEF-FA44-93E3-1434-5D506670F1CE}"/>
              </a:ext>
            </a:extLst>
          </p:cNvPr>
          <p:cNvSpPr>
            <a:spLocks noGrp="1"/>
          </p:cNvSpPr>
          <p:nvPr>
            <p:ph type="body" sz="quarter" idx="30" hasCustomPrompt="1"/>
          </p:nvPr>
        </p:nvSpPr>
        <p:spPr>
          <a:xfrm>
            <a:off x="8047830" y="3573779"/>
            <a:ext cx="3744000" cy="288000"/>
          </a:xfrm>
          <a:noFill/>
        </p:spPr>
        <p:txBody>
          <a:bodyPr lIns="0"/>
          <a:lstStyle>
            <a:lvl1pPr>
              <a:defRPr sz="1300"/>
            </a:lvl1pPr>
          </a:lstStyle>
          <a:p>
            <a:pPr lvl="0"/>
            <a:r>
              <a:rPr lang="en-US"/>
              <a:t>Chart headline</a:t>
            </a:r>
          </a:p>
        </p:txBody>
      </p:sp>
      <p:sp>
        <p:nvSpPr>
          <p:cNvPr id="5" name="Rectangle 4">
            <a:extLst>
              <a:ext uri="{FF2B5EF4-FFF2-40B4-BE49-F238E27FC236}">
                <a16:creationId xmlns:a16="http://schemas.microsoft.com/office/drawing/2014/main" id="{29D2FD6C-7917-BDDB-84E8-26FEA8EBF56B}"/>
              </a:ext>
            </a:extLst>
          </p:cNvPr>
          <p:cNvSpPr/>
          <p:nvPr userDrawn="1"/>
        </p:nvSpPr>
        <p:spPr>
          <a:xfrm>
            <a:off x="10273" y="20548"/>
            <a:ext cx="1335640" cy="19520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927045900"/>
      </p:ext>
    </p:extLst>
  </p:cSld>
  <p:clrMapOvr>
    <a:masterClrMapping/>
  </p:clrMapOvr>
  <p:extLst>
    <p:ext uri="{DCECCB84-F9BA-43D5-87BE-67443E8EF086}">
      <p15:sldGuideLst xmlns:p15="http://schemas.microsoft.com/office/powerpoint/2012/main">
        <p15:guide id="1" pos="551">
          <p15:clr>
            <a:srgbClr val="5ACBF0"/>
          </p15:clr>
        </p15:guide>
        <p15:guide id="2" pos="2479">
          <p15:clr>
            <a:srgbClr val="5ACBF0"/>
          </p15:clr>
        </p15:guide>
        <p15:guide id="3" pos="2955">
          <p15:clr>
            <a:srgbClr val="5ACBF0"/>
          </p15:clr>
        </p15:guide>
        <p15:guide id="4" pos="4861">
          <p15:clr>
            <a:srgbClr val="5ACBF0"/>
          </p15:clr>
        </p15:guide>
        <p15:guide id="5" pos="7242">
          <p15:clr>
            <a:srgbClr val="5ACBF0"/>
          </p15:clr>
        </p15:guide>
        <p15:guide id="6" pos="5337">
          <p15:clr>
            <a:srgbClr val="5ACBF0"/>
          </p15:clr>
        </p15:guide>
        <p15:guide id="7" orient="horz" pos="1094">
          <p15:clr>
            <a:srgbClr val="5ACBF0"/>
          </p15:clr>
        </p15:guide>
        <p15:guide id="8" orient="horz" pos="1933">
          <p15:clr>
            <a:srgbClr val="5ACBF0"/>
          </p15:clr>
        </p15:guide>
        <p15:guide id="9" orient="horz" pos="799">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E7B26-88FC-3260-D8DB-AE16A1862260}"/>
              </a:ext>
            </a:extLst>
          </p:cNvPr>
          <p:cNvSpPr>
            <a:spLocks noGrp="1"/>
          </p:cNvSpPr>
          <p:nvPr>
            <p:ph type="title"/>
          </p:nvPr>
        </p:nvSpPr>
        <p:spPr>
          <a:xfrm>
            <a:off x="1504800" y="252000"/>
            <a:ext cx="9954000" cy="741600"/>
          </a:xfrm>
          <a:prstGeom prst="rect">
            <a:avLst/>
          </a:prstGeom>
        </p:spPr>
        <p:txBody>
          <a:bodyPr anchor="ctr"/>
          <a:lstStyle/>
          <a:p>
            <a:r>
              <a:rPr lang="en-US"/>
              <a:t>Click to edit Master title style</a:t>
            </a:r>
            <a:endParaRPr lang="en-GB"/>
          </a:p>
        </p:txBody>
      </p:sp>
      <p:sp>
        <p:nvSpPr>
          <p:cNvPr id="3" name="Footer Placeholder 2">
            <a:extLst>
              <a:ext uri="{FF2B5EF4-FFF2-40B4-BE49-F238E27FC236}">
                <a16:creationId xmlns:a16="http://schemas.microsoft.com/office/drawing/2014/main" id="{2FC67B72-A3A4-B10F-C99A-20DF6C229A86}"/>
              </a:ext>
            </a:extLst>
          </p:cNvPr>
          <p:cNvSpPr>
            <a:spLocks noGrp="1"/>
          </p:cNvSpPr>
          <p:nvPr>
            <p:ph type="ftr" sz="quarter" idx="10"/>
          </p:nvPr>
        </p:nvSpPr>
        <p:spPr>
          <a:xfrm>
            <a:off x="7350369" y="6429965"/>
            <a:ext cx="3176758" cy="307777"/>
          </a:xfrm>
          <a:prstGeom prst="rect">
            <a:avLst/>
          </a:prstGeom>
        </p:spPr>
        <p:txBody>
          <a:bodyPr/>
          <a:lstStyle/>
          <a:p>
            <a:r>
              <a:rPr lang="en-GB"/>
              <a:t>Battery Value Chain Outlook</a:t>
            </a:r>
          </a:p>
        </p:txBody>
      </p:sp>
      <p:sp>
        <p:nvSpPr>
          <p:cNvPr id="4" name="Rectangle: Rounded Corners 3">
            <a:extLst>
              <a:ext uri="{FF2B5EF4-FFF2-40B4-BE49-F238E27FC236}">
                <a16:creationId xmlns:a16="http://schemas.microsoft.com/office/drawing/2014/main" id="{A40665E9-5DFF-F339-AD81-E2EA1ED76D58}"/>
              </a:ext>
            </a:extLst>
          </p:cNvPr>
          <p:cNvSpPr/>
          <p:nvPr userDrawn="1"/>
        </p:nvSpPr>
        <p:spPr>
          <a:xfrm>
            <a:off x="367800" y="1282192"/>
            <a:ext cx="2876811" cy="1488767"/>
          </a:xfrm>
          <a:prstGeom prst="roundRect">
            <a:avLst/>
          </a:prstGeom>
          <a:ln>
            <a:solidFill>
              <a:srgbClr val="00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sp>
        <p:nvSpPr>
          <p:cNvPr id="5" name="Picture Placeholder 35">
            <a:extLst>
              <a:ext uri="{FF2B5EF4-FFF2-40B4-BE49-F238E27FC236}">
                <a16:creationId xmlns:a16="http://schemas.microsoft.com/office/drawing/2014/main" id="{3232AE05-2F4F-928C-3DE7-8CE37B0D8E78}"/>
              </a:ext>
            </a:extLst>
          </p:cNvPr>
          <p:cNvSpPr>
            <a:spLocks noGrp="1"/>
          </p:cNvSpPr>
          <p:nvPr>
            <p:ph type="pic" sz="quarter" idx="22" hasCustomPrompt="1"/>
          </p:nvPr>
        </p:nvSpPr>
        <p:spPr>
          <a:xfrm>
            <a:off x="473059" y="1373234"/>
            <a:ext cx="709809" cy="636319"/>
          </a:xfrm>
          <a:prstGeom prst="roundRect">
            <a:avLst/>
          </a:prstGeom>
        </p:spPr>
        <p:txBody>
          <a:bodyPr/>
          <a:lstStyle>
            <a:lvl1pPr algn="ctr">
              <a:defRPr/>
            </a:lvl1pPr>
          </a:lstStyle>
          <a:p>
            <a:r>
              <a:rPr lang="en-US"/>
              <a:t>Add photo</a:t>
            </a:r>
            <a:endParaRPr lang="en-GB"/>
          </a:p>
        </p:txBody>
      </p:sp>
      <p:sp>
        <p:nvSpPr>
          <p:cNvPr id="6" name="Content Placeholder 16">
            <a:extLst>
              <a:ext uri="{FF2B5EF4-FFF2-40B4-BE49-F238E27FC236}">
                <a16:creationId xmlns:a16="http://schemas.microsoft.com/office/drawing/2014/main" id="{25A42ECA-6EDB-8210-C488-8B501A21BAF5}"/>
              </a:ext>
            </a:extLst>
          </p:cNvPr>
          <p:cNvSpPr>
            <a:spLocks noGrp="1"/>
          </p:cNvSpPr>
          <p:nvPr>
            <p:ph sz="quarter" idx="36" hasCustomPrompt="1"/>
          </p:nvPr>
        </p:nvSpPr>
        <p:spPr>
          <a:xfrm>
            <a:off x="1298853" y="1373234"/>
            <a:ext cx="1828799" cy="636319"/>
          </a:xfrm>
          <a:prstGeom prst="rect">
            <a:avLst/>
          </a:prstGeom>
          <a:solidFill>
            <a:schemeClr val="bg1"/>
          </a:solidFill>
        </p:spPr>
        <p:txBody>
          <a:bodyPr anchor="ctr"/>
          <a:lstStyle>
            <a:lvl1pPr>
              <a:defRPr sz="1600" i="0">
                <a:solidFill>
                  <a:schemeClr val="tx1"/>
                </a:solidFill>
              </a:defRPr>
            </a:lvl1pPr>
            <a:lvl2pPr>
              <a:defRPr/>
            </a:lvl2pPr>
          </a:lstStyle>
          <a:p>
            <a:r>
              <a:rPr lang="en-GB" b="1"/>
              <a:t>Forename Surname</a:t>
            </a:r>
          </a:p>
        </p:txBody>
      </p:sp>
      <p:sp>
        <p:nvSpPr>
          <p:cNvPr id="7" name="Content Placeholder 16">
            <a:extLst>
              <a:ext uri="{FF2B5EF4-FFF2-40B4-BE49-F238E27FC236}">
                <a16:creationId xmlns:a16="http://schemas.microsoft.com/office/drawing/2014/main" id="{4B6D69B0-642E-6126-8A4C-7F69FBE4C25B}"/>
              </a:ext>
            </a:extLst>
          </p:cNvPr>
          <p:cNvSpPr>
            <a:spLocks noGrp="1"/>
          </p:cNvSpPr>
          <p:nvPr>
            <p:ph sz="quarter" idx="37" hasCustomPrompt="1"/>
          </p:nvPr>
        </p:nvSpPr>
        <p:spPr>
          <a:xfrm>
            <a:off x="473059" y="2137143"/>
            <a:ext cx="2633329" cy="531629"/>
          </a:xfrm>
          <a:prstGeom prst="rect">
            <a:avLst/>
          </a:prstGeom>
          <a:solidFill>
            <a:schemeClr val="bg1"/>
          </a:solidFill>
        </p:spPr>
        <p:txBody>
          <a:bodyPr/>
          <a:lstStyle>
            <a:lvl1pPr>
              <a:spcBef>
                <a:spcPts val="0"/>
              </a:spcBef>
              <a:defRPr sz="1000">
                <a:solidFill>
                  <a:schemeClr val="tx1"/>
                </a:solidFill>
              </a:defRPr>
            </a:lvl1pPr>
            <a:lvl2pPr>
              <a:defRPr/>
            </a:lvl2pPr>
          </a:lstStyle>
          <a:p>
            <a:pPr marL="0" marR="0" lvl="0" indent="0" algn="l" defTabSz="919569" rtl="0" eaLnBrk="1" fontAlgn="auto" latinLnBrk="0" hangingPunct="1">
              <a:lnSpc>
                <a:spcPct val="100000"/>
              </a:lnSpc>
              <a:spcBef>
                <a:spcPts val="800"/>
              </a:spcBef>
              <a:spcAft>
                <a:spcPts val="0"/>
              </a:spcAft>
              <a:buClrTx/>
              <a:buSzTx/>
              <a:buFont typeface="Arial" panose="020B0604020202020204" pitchFamily="34" charset="0"/>
              <a:buNone/>
              <a:tabLst/>
              <a:defRPr/>
            </a:pPr>
            <a:r>
              <a:rPr lang="en-GB" sz="1050"/>
              <a:t>Title</a:t>
            </a:r>
            <a:br>
              <a:rPr lang="en-GB" sz="1050"/>
            </a:br>
            <a:r>
              <a:rPr lang="en-GB" sz="1050"/>
              <a:t>+44 20 7903 ####</a:t>
            </a:r>
            <a:br>
              <a:rPr lang="en-GB" sz="1050"/>
            </a:br>
            <a:r>
              <a:rPr lang="en-GB" sz="1050">
                <a:hlinkClick r:id="rId2">
                  <a:extLst>
                    <a:ext uri="{A12FA001-AC4F-418D-AE19-62706E023703}">
                      <ahyp:hlinkClr xmlns:ahyp="http://schemas.microsoft.com/office/drawing/2018/hyperlinkcolor" xmlns="" val="tx"/>
                    </a:ext>
                  </a:extLst>
                </a:hlinkClick>
              </a:rPr>
              <a:t>forename.surname@crugroup.com</a:t>
            </a:r>
            <a:endParaRPr lang="en-GB" sz="1050"/>
          </a:p>
        </p:txBody>
      </p:sp>
      <p:sp>
        <p:nvSpPr>
          <p:cNvPr id="8" name="Rectangle: Rounded Corners 7">
            <a:extLst>
              <a:ext uri="{FF2B5EF4-FFF2-40B4-BE49-F238E27FC236}">
                <a16:creationId xmlns:a16="http://schemas.microsoft.com/office/drawing/2014/main" id="{E6F89DBE-1ADD-21F4-B987-DA15BA74CC15}"/>
              </a:ext>
            </a:extLst>
          </p:cNvPr>
          <p:cNvSpPr/>
          <p:nvPr userDrawn="1"/>
        </p:nvSpPr>
        <p:spPr>
          <a:xfrm>
            <a:off x="3310222" y="1282192"/>
            <a:ext cx="2876811" cy="1488767"/>
          </a:xfrm>
          <a:prstGeom prst="roundRect">
            <a:avLst/>
          </a:prstGeom>
          <a:ln>
            <a:solidFill>
              <a:srgbClr val="00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sp>
        <p:nvSpPr>
          <p:cNvPr id="9" name="Picture Placeholder 35">
            <a:extLst>
              <a:ext uri="{FF2B5EF4-FFF2-40B4-BE49-F238E27FC236}">
                <a16:creationId xmlns:a16="http://schemas.microsoft.com/office/drawing/2014/main" id="{B30B5D47-4D00-98E8-1434-30844FADE493}"/>
              </a:ext>
            </a:extLst>
          </p:cNvPr>
          <p:cNvSpPr>
            <a:spLocks noGrp="1"/>
          </p:cNvSpPr>
          <p:nvPr>
            <p:ph type="pic" sz="quarter" idx="38" hasCustomPrompt="1"/>
          </p:nvPr>
        </p:nvSpPr>
        <p:spPr>
          <a:xfrm>
            <a:off x="3415481" y="1373234"/>
            <a:ext cx="709809" cy="636319"/>
          </a:xfrm>
          <a:prstGeom prst="roundRect">
            <a:avLst/>
          </a:prstGeom>
        </p:spPr>
        <p:txBody>
          <a:bodyPr/>
          <a:lstStyle>
            <a:lvl1pPr algn="ctr">
              <a:defRPr/>
            </a:lvl1pPr>
          </a:lstStyle>
          <a:p>
            <a:r>
              <a:rPr lang="en-US"/>
              <a:t>Add photo</a:t>
            </a:r>
            <a:endParaRPr lang="en-GB"/>
          </a:p>
        </p:txBody>
      </p:sp>
      <p:sp>
        <p:nvSpPr>
          <p:cNvPr id="10" name="Content Placeholder 16">
            <a:extLst>
              <a:ext uri="{FF2B5EF4-FFF2-40B4-BE49-F238E27FC236}">
                <a16:creationId xmlns:a16="http://schemas.microsoft.com/office/drawing/2014/main" id="{AC9AA341-AC60-0744-CF74-816C43CC9BA2}"/>
              </a:ext>
            </a:extLst>
          </p:cNvPr>
          <p:cNvSpPr>
            <a:spLocks noGrp="1"/>
          </p:cNvSpPr>
          <p:nvPr>
            <p:ph sz="quarter" idx="39" hasCustomPrompt="1"/>
          </p:nvPr>
        </p:nvSpPr>
        <p:spPr>
          <a:xfrm>
            <a:off x="4241275" y="1373234"/>
            <a:ext cx="1828799" cy="636319"/>
          </a:xfrm>
          <a:prstGeom prst="rect">
            <a:avLst/>
          </a:prstGeom>
          <a:solidFill>
            <a:schemeClr val="bg1"/>
          </a:solidFill>
        </p:spPr>
        <p:txBody>
          <a:bodyPr anchor="ctr"/>
          <a:lstStyle>
            <a:lvl1pPr>
              <a:defRPr sz="1600" i="0">
                <a:solidFill>
                  <a:schemeClr val="tx1"/>
                </a:solidFill>
              </a:defRPr>
            </a:lvl1pPr>
            <a:lvl2pPr>
              <a:defRPr/>
            </a:lvl2pPr>
          </a:lstStyle>
          <a:p>
            <a:r>
              <a:rPr lang="en-GB" b="1"/>
              <a:t>Forename Surname</a:t>
            </a:r>
          </a:p>
        </p:txBody>
      </p:sp>
      <p:sp>
        <p:nvSpPr>
          <p:cNvPr id="11" name="Content Placeholder 16">
            <a:extLst>
              <a:ext uri="{FF2B5EF4-FFF2-40B4-BE49-F238E27FC236}">
                <a16:creationId xmlns:a16="http://schemas.microsoft.com/office/drawing/2014/main" id="{E5689BC6-F55D-02F3-66B2-7C7C112207D1}"/>
              </a:ext>
            </a:extLst>
          </p:cNvPr>
          <p:cNvSpPr>
            <a:spLocks noGrp="1"/>
          </p:cNvSpPr>
          <p:nvPr>
            <p:ph sz="quarter" idx="40" hasCustomPrompt="1"/>
          </p:nvPr>
        </p:nvSpPr>
        <p:spPr>
          <a:xfrm>
            <a:off x="3415481" y="2137143"/>
            <a:ext cx="2633329" cy="531629"/>
          </a:xfrm>
          <a:prstGeom prst="rect">
            <a:avLst/>
          </a:prstGeom>
          <a:solidFill>
            <a:schemeClr val="bg1"/>
          </a:solidFill>
        </p:spPr>
        <p:txBody>
          <a:bodyPr/>
          <a:lstStyle>
            <a:lvl1pPr>
              <a:spcBef>
                <a:spcPts val="0"/>
              </a:spcBef>
              <a:defRPr sz="1000">
                <a:solidFill>
                  <a:schemeClr val="tx1"/>
                </a:solidFill>
              </a:defRPr>
            </a:lvl1pPr>
            <a:lvl2pPr>
              <a:defRPr/>
            </a:lvl2pPr>
          </a:lstStyle>
          <a:p>
            <a:pPr marL="0" marR="0" lvl="0" indent="0" algn="l" defTabSz="919569" rtl="0" eaLnBrk="1" fontAlgn="auto" latinLnBrk="0" hangingPunct="1">
              <a:lnSpc>
                <a:spcPct val="100000"/>
              </a:lnSpc>
              <a:spcBef>
                <a:spcPts val="800"/>
              </a:spcBef>
              <a:spcAft>
                <a:spcPts val="0"/>
              </a:spcAft>
              <a:buClrTx/>
              <a:buSzTx/>
              <a:buFont typeface="Arial" panose="020B0604020202020204" pitchFamily="34" charset="0"/>
              <a:buNone/>
              <a:tabLst/>
              <a:defRPr/>
            </a:pPr>
            <a:r>
              <a:rPr lang="en-GB" sz="1050"/>
              <a:t>Title</a:t>
            </a:r>
            <a:br>
              <a:rPr lang="en-GB" sz="1050"/>
            </a:br>
            <a:r>
              <a:rPr lang="en-GB" sz="1050"/>
              <a:t>+44 20 7903 ####</a:t>
            </a:r>
            <a:br>
              <a:rPr lang="en-GB" sz="1050"/>
            </a:br>
            <a:r>
              <a:rPr lang="en-GB" sz="1050">
                <a:hlinkClick r:id="rId2">
                  <a:extLst>
                    <a:ext uri="{A12FA001-AC4F-418D-AE19-62706E023703}">
                      <ahyp:hlinkClr xmlns:ahyp="http://schemas.microsoft.com/office/drawing/2018/hyperlinkcolor" xmlns="" val="tx"/>
                    </a:ext>
                  </a:extLst>
                </a:hlinkClick>
              </a:rPr>
              <a:t>forename.surname@crugroup.com</a:t>
            </a:r>
            <a:endParaRPr lang="en-GB" sz="1050"/>
          </a:p>
        </p:txBody>
      </p:sp>
      <p:sp>
        <p:nvSpPr>
          <p:cNvPr id="12" name="Rectangle: Rounded Corners 11">
            <a:extLst>
              <a:ext uri="{FF2B5EF4-FFF2-40B4-BE49-F238E27FC236}">
                <a16:creationId xmlns:a16="http://schemas.microsoft.com/office/drawing/2014/main" id="{F50F336C-B351-73CD-F405-5E624D0815CD}"/>
              </a:ext>
            </a:extLst>
          </p:cNvPr>
          <p:cNvSpPr/>
          <p:nvPr userDrawn="1"/>
        </p:nvSpPr>
        <p:spPr>
          <a:xfrm>
            <a:off x="6252829" y="1282192"/>
            <a:ext cx="2876811" cy="1488767"/>
          </a:xfrm>
          <a:prstGeom prst="roundRect">
            <a:avLst/>
          </a:prstGeom>
          <a:ln>
            <a:solidFill>
              <a:srgbClr val="00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sp>
        <p:nvSpPr>
          <p:cNvPr id="13" name="Picture Placeholder 35">
            <a:extLst>
              <a:ext uri="{FF2B5EF4-FFF2-40B4-BE49-F238E27FC236}">
                <a16:creationId xmlns:a16="http://schemas.microsoft.com/office/drawing/2014/main" id="{28D7B3D0-001A-6102-3848-0D26C870B01C}"/>
              </a:ext>
            </a:extLst>
          </p:cNvPr>
          <p:cNvSpPr>
            <a:spLocks noGrp="1"/>
          </p:cNvSpPr>
          <p:nvPr>
            <p:ph type="pic" sz="quarter" idx="41" hasCustomPrompt="1"/>
          </p:nvPr>
        </p:nvSpPr>
        <p:spPr>
          <a:xfrm>
            <a:off x="6358088" y="1373234"/>
            <a:ext cx="709809" cy="636319"/>
          </a:xfrm>
          <a:prstGeom prst="roundRect">
            <a:avLst/>
          </a:prstGeom>
        </p:spPr>
        <p:txBody>
          <a:bodyPr/>
          <a:lstStyle>
            <a:lvl1pPr algn="ctr">
              <a:defRPr/>
            </a:lvl1pPr>
          </a:lstStyle>
          <a:p>
            <a:r>
              <a:rPr lang="en-US"/>
              <a:t>Add photo</a:t>
            </a:r>
            <a:endParaRPr lang="en-GB"/>
          </a:p>
        </p:txBody>
      </p:sp>
      <p:sp>
        <p:nvSpPr>
          <p:cNvPr id="14" name="Content Placeholder 16">
            <a:extLst>
              <a:ext uri="{FF2B5EF4-FFF2-40B4-BE49-F238E27FC236}">
                <a16:creationId xmlns:a16="http://schemas.microsoft.com/office/drawing/2014/main" id="{8038A79D-887F-41EB-4F1F-50A84B261443}"/>
              </a:ext>
            </a:extLst>
          </p:cNvPr>
          <p:cNvSpPr>
            <a:spLocks noGrp="1"/>
          </p:cNvSpPr>
          <p:nvPr>
            <p:ph sz="quarter" idx="42" hasCustomPrompt="1"/>
          </p:nvPr>
        </p:nvSpPr>
        <p:spPr>
          <a:xfrm>
            <a:off x="7183882" y="1373234"/>
            <a:ext cx="1828799" cy="636319"/>
          </a:xfrm>
          <a:prstGeom prst="rect">
            <a:avLst/>
          </a:prstGeom>
          <a:solidFill>
            <a:schemeClr val="bg1"/>
          </a:solidFill>
        </p:spPr>
        <p:txBody>
          <a:bodyPr anchor="ctr"/>
          <a:lstStyle>
            <a:lvl1pPr>
              <a:defRPr sz="1600" i="0">
                <a:solidFill>
                  <a:schemeClr val="tx1"/>
                </a:solidFill>
              </a:defRPr>
            </a:lvl1pPr>
            <a:lvl2pPr>
              <a:defRPr/>
            </a:lvl2pPr>
          </a:lstStyle>
          <a:p>
            <a:r>
              <a:rPr lang="en-GB" b="1"/>
              <a:t>Forename Surname</a:t>
            </a:r>
          </a:p>
        </p:txBody>
      </p:sp>
      <p:sp>
        <p:nvSpPr>
          <p:cNvPr id="15" name="Content Placeholder 16">
            <a:extLst>
              <a:ext uri="{FF2B5EF4-FFF2-40B4-BE49-F238E27FC236}">
                <a16:creationId xmlns:a16="http://schemas.microsoft.com/office/drawing/2014/main" id="{73D29D24-277F-FEA6-BEC5-AD652C19DD03}"/>
              </a:ext>
            </a:extLst>
          </p:cNvPr>
          <p:cNvSpPr>
            <a:spLocks noGrp="1"/>
          </p:cNvSpPr>
          <p:nvPr>
            <p:ph sz="quarter" idx="43" hasCustomPrompt="1"/>
          </p:nvPr>
        </p:nvSpPr>
        <p:spPr>
          <a:xfrm>
            <a:off x="6358088" y="2137143"/>
            <a:ext cx="2633329" cy="531629"/>
          </a:xfrm>
          <a:prstGeom prst="rect">
            <a:avLst/>
          </a:prstGeom>
          <a:solidFill>
            <a:schemeClr val="bg1"/>
          </a:solidFill>
        </p:spPr>
        <p:txBody>
          <a:bodyPr/>
          <a:lstStyle>
            <a:lvl1pPr>
              <a:spcBef>
                <a:spcPts val="0"/>
              </a:spcBef>
              <a:defRPr sz="1000">
                <a:solidFill>
                  <a:schemeClr val="tx1"/>
                </a:solidFill>
              </a:defRPr>
            </a:lvl1pPr>
            <a:lvl2pPr>
              <a:defRPr/>
            </a:lvl2pPr>
          </a:lstStyle>
          <a:p>
            <a:pPr marL="0" marR="0" lvl="0" indent="0" algn="l" defTabSz="919569" rtl="0" eaLnBrk="1" fontAlgn="auto" latinLnBrk="0" hangingPunct="1">
              <a:lnSpc>
                <a:spcPct val="100000"/>
              </a:lnSpc>
              <a:spcBef>
                <a:spcPts val="800"/>
              </a:spcBef>
              <a:spcAft>
                <a:spcPts val="0"/>
              </a:spcAft>
              <a:buClrTx/>
              <a:buSzTx/>
              <a:buFont typeface="Arial" panose="020B0604020202020204" pitchFamily="34" charset="0"/>
              <a:buNone/>
              <a:tabLst/>
              <a:defRPr/>
            </a:pPr>
            <a:r>
              <a:rPr lang="en-GB" sz="1050"/>
              <a:t>Title</a:t>
            </a:r>
            <a:br>
              <a:rPr lang="en-GB" sz="1050"/>
            </a:br>
            <a:r>
              <a:rPr lang="en-GB" sz="1050"/>
              <a:t>+44 20 7903 ####</a:t>
            </a:r>
            <a:br>
              <a:rPr lang="en-GB" sz="1050"/>
            </a:br>
            <a:r>
              <a:rPr lang="en-GB" sz="1050">
                <a:hlinkClick r:id="rId2">
                  <a:extLst>
                    <a:ext uri="{A12FA001-AC4F-418D-AE19-62706E023703}">
                      <ahyp:hlinkClr xmlns:ahyp="http://schemas.microsoft.com/office/drawing/2018/hyperlinkcolor" xmlns="" val="tx"/>
                    </a:ext>
                  </a:extLst>
                </a:hlinkClick>
              </a:rPr>
              <a:t>forename.surname@crugroup.com</a:t>
            </a:r>
            <a:endParaRPr lang="en-GB" sz="1050"/>
          </a:p>
        </p:txBody>
      </p:sp>
      <p:sp>
        <p:nvSpPr>
          <p:cNvPr id="16" name="Rectangle: Rounded Corners 15">
            <a:extLst>
              <a:ext uri="{FF2B5EF4-FFF2-40B4-BE49-F238E27FC236}">
                <a16:creationId xmlns:a16="http://schemas.microsoft.com/office/drawing/2014/main" id="{33481F76-301B-610D-6E43-D70748DB4D29}"/>
              </a:ext>
            </a:extLst>
          </p:cNvPr>
          <p:cNvSpPr/>
          <p:nvPr userDrawn="1"/>
        </p:nvSpPr>
        <p:spPr>
          <a:xfrm>
            <a:off x="9179582" y="1282192"/>
            <a:ext cx="2876811" cy="1488767"/>
          </a:xfrm>
          <a:prstGeom prst="roundRect">
            <a:avLst/>
          </a:prstGeom>
          <a:ln>
            <a:solidFill>
              <a:srgbClr val="00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sp>
        <p:nvSpPr>
          <p:cNvPr id="17" name="Picture Placeholder 35">
            <a:extLst>
              <a:ext uri="{FF2B5EF4-FFF2-40B4-BE49-F238E27FC236}">
                <a16:creationId xmlns:a16="http://schemas.microsoft.com/office/drawing/2014/main" id="{808420F4-3C68-7FF1-C813-D7E8EC7BCAFF}"/>
              </a:ext>
            </a:extLst>
          </p:cNvPr>
          <p:cNvSpPr>
            <a:spLocks noGrp="1"/>
          </p:cNvSpPr>
          <p:nvPr>
            <p:ph type="pic" sz="quarter" idx="44" hasCustomPrompt="1"/>
          </p:nvPr>
        </p:nvSpPr>
        <p:spPr>
          <a:xfrm>
            <a:off x="9284841" y="1373234"/>
            <a:ext cx="709809" cy="636319"/>
          </a:xfrm>
          <a:prstGeom prst="roundRect">
            <a:avLst/>
          </a:prstGeom>
        </p:spPr>
        <p:txBody>
          <a:bodyPr/>
          <a:lstStyle>
            <a:lvl1pPr algn="ctr">
              <a:defRPr/>
            </a:lvl1pPr>
          </a:lstStyle>
          <a:p>
            <a:r>
              <a:rPr lang="en-US"/>
              <a:t>Add photo</a:t>
            </a:r>
            <a:endParaRPr lang="en-GB"/>
          </a:p>
        </p:txBody>
      </p:sp>
      <p:sp>
        <p:nvSpPr>
          <p:cNvPr id="18" name="Content Placeholder 16">
            <a:extLst>
              <a:ext uri="{FF2B5EF4-FFF2-40B4-BE49-F238E27FC236}">
                <a16:creationId xmlns:a16="http://schemas.microsoft.com/office/drawing/2014/main" id="{F4C62556-49A0-34F9-E3E3-D5165857D9FF}"/>
              </a:ext>
            </a:extLst>
          </p:cNvPr>
          <p:cNvSpPr>
            <a:spLocks noGrp="1"/>
          </p:cNvSpPr>
          <p:nvPr>
            <p:ph sz="quarter" idx="45" hasCustomPrompt="1"/>
          </p:nvPr>
        </p:nvSpPr>
        <p:spPr>
          <a:xfrm>
            <a:off x="10110635" y="1373234"/>
            <a:ext cx="1828799" cy="636319"/>
          </a:xfrm>
          <a:prstGeom prst="rect">
            <a:avLst/>
          </a:prstGeom>
          <a:solidFill>
            <a:schemeClr val="bg1"/>
          </a:solidFill>
        </p:spPr>
        <p:txBody>
          <a:bodyPr anchor="ctr"/>
          <a:lstStyle>
            <a:lvl1pPr>
              <a:defRPr sz="1600" i="0">
                <a:solidFill>
                  <a:schemeClr val="tx1"/>
                </a:solidFill>
              </a:defRPr>
            </a:lvl1pPr>
            <a:lvl2pPr>
              <a:defRPr/>
            </a:lvl2pPr>
          </a:lstStyle>
          <a:p>
            <a:r>
              <a:rPr lang="en-GB" b="1"/>
              <a:t>Forename Surname</a:t>
            </a:r>
          </a:p>
        </p:txBody>
      </p:sp>
      <p:sp>
        <p:nvSpPr>
          <p:cNvPr id="19" name="Content Placeholder 16">
            <a:extLst>
              <a:ext uri="{FF2B5EF4-FFF2-40B4-BE49-F238E27FC236}">
                <a16:creationId xmlns:a16="http://schemas.microsoft.com/office/drawing/2014/main" id="{9B36B99C-221F-0A04-8026-0BA44778EC04}"/>
              </a:ext>
            </a:extLst>
          </p:cNvPr>
          <p:cNvSpPr>
            <a:spLocks noGrp="1"/>
          </p:cNvSpPr>
          <p:nvPr>
            <p:ph sz="quarter" idx="46" hasCustomPrompt="1"/>
          </p:nvPr>
        </p:nvSpPr>
        <p:spPr>
          <a:xfrm>
            <a:off x="9284841" y="2137143"/>
            <a:ext cx="2633329" cy="531629"/>
          </a:xfrm>
          <a:prstGeom prst="rect">
            <a:avLst/>
          </a:prstGeom>
          <a:solidFill>
            <a:schemeClr val="bg1"/>
          </a:solidFill>
        </p:spPr>
        <p:txBody>
          <a:bodyPr/>
          <a:lstStyle>
            <a:lvl1pPr>
              <a:spcBef>
                <a:spcPts val="0"/>
              </a:spcBef>
              <a:defRPr sz="1000">
                <a:solidFill>
                  <a:schemeClr val="tx1"/>
                </a:solidFill>
              </a:defRPr>
            </a:lvl1pPr>
            <a:lvl2pPr>
              <a:defRPr/>
            </a:lvl2pPr>
          </a:lstStyle>
          <a:p>
            <a:pPr marL="0" marR="0" lvl="0" indent="0" algn="l" defTabSz="919569" rtl="0" eaLnBrk="1" fontAlgn="auto" latinLnBrk="0" hangingPunct="1">
              <a:lnSpc>
                <a:spcPct val="100000"/>
              </a:lnSpc>
              <a:spcBef>
                <a:spcPts val="800"/>
              </a:spcBef>
              <a:spcAft>
                <a:spcPts val="0"/>
              </a:spcAft>
              <a:buClrTx/>
              <a:buSzTx/>
              <a:buFont typeface="Arial" panose="020B0604020202020204" pitchFamily="34" charset="0"/>
              <a:buNone/>
              <a:tabLst/>
              <a:defRPr/>
            </a:pPr>
            <a:r>
              <a:rPr lang="en-GB" sz="1050"/>
              <a:t>Title</a:t>
            </a:r>
            <a:br>
              <a:rPr lang="en-GB" sz="1050"/>
            </a:br>
            <a:r>
              <a:rPr lang="en-GB" sz="1050"/>
              <a:t>+44 20 7903 ####</a:t>
            </a:r>
            <a:br>
              <a:rPr lang="en-GB" sz="1050"/>
            </a:br>
            <a:r>
              <a:rPr lang="en-GB" sz="1050">
                <a:hlinkClick r:id="rId2">
                  <a:extLst>
                    <a:ext uri="{A12FA001-AC4F-418D-AE19-62706E023703}">
                      <ahyp:hlinkClr xmlns:ahyp="http://schemas.microsoft.com/office/drawing/2018/hyperlinkcolor" xmlns="" val="tx"/>
                    </a:ext>
                  </a:extLst>
                </a:hlinkClick>
              </a:rPr>
              <a:t>forename.surname@crugroup.com</a:t>
            </a:r>
            <a:endParaRPr lang="en-GB" sz="1050"/>
          </a:p>
        </p:txBody>
      </p:sp>
      <p:sp>
        <p:nvSpPr>
          <p:cNvPr id="20" name="Rectangle: Rounded Corners 19">
            <a:extLst>
              <a:ext uri="{FF2B5EF4-FFF2-40B4-BE49-F238E27FC236}">
                <a16:creationId xmlns:a16="http://schemas.microsoft.com/office/drawing/2014/main" id="{C32007C5-4152-7C87-128E-1CFD65E320FE}"/>
              </a:ext>
            </a:extLst>
          </p:cNvPr>
          <p:cNvSpPr/>
          <p:nvPr userDrawn="1"/>
        </p:nvSpPr>
        <p:spPr>
          <a:xfrm>
            <a:off x="367800" y="2878384"/>
            <a:ext cx="2876811" cy="1488767"/>
          </a:xfrm>
          <a:prstGeom prst="roundRect">
            <a:avLst/>
          </a:prstGeom>
          <a:ln>
            <a:solidFill>
              <a:srgbClr val="00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sp>
        <p:nvSpPr>
          <p:cNvPr id="21" name="Picture Placeholder 35">
            <a:extLst>
              <a:ext uri="{FF2B5EF4-FFF2-40B4-BE49-F238E27FC236}">
                <a16:creationId xmlns:a16="http://schemas.microsoft.com/office/drawing/2014/main" id="{C9BB9644-1790-E56D-E195-0DFD2482D2C8}"/>
              </a:ext>
            </a:extLst>
          </p:cNvPr>
          <p:cNvSpPr>
            <a:spLocks noGrp="1"/>
          </p:cNvSpPr>
          <p:nvPr>
            <p:ph type="pic" sz="quarter" idx="47" hasCustomPrompt="1"/>
          </p:nvPr>
        </p:nvSpPr>
        <p:spPr>
          <a:xfrm>
            <a:off x="473059" y="2969426"/>
            <a:ext cx="709809" cy="636319"/>
          </a:xfrm>
          <a:prstGeom prst="roundRect">
            <a:avLst/>
          </a:prstGeom>
        </p:spPr>
        <p:txBody>
          <a:bodyPr/>
          <a:lstStyle>
            <a:lvl1pPr algn="ctr">
              <a:defRPr/>
            </a:lvl1pPr>
          </a:lstStyle>
          <a:p>
            <a:r>
              <a:rPr lang="en-US"/>
              <a:t>Add photo</a:t>
            </a:r>
            <a:endParaRPr lang="en-GB"/>
          </a:p>
        </p:txBody>
      </p:sp>
      <p:sp>
        <p:nvSpPr>
          <p:cNvPr id="22" name="Content Placeholder 16">
            <a:extLst>
              <a:ext uri="{FF2B5EF4-FFF2-40B4-BE49-F238E27FC236}">
                <a16:creationId xmlns:a16="http://schemas.microsoft.com/office/drawing/2014/main" id="{8CF69B77-8112-6130-9331-88A28D710A45}"/>
              </a:ext>
            </a:extLst>
          </p:cNvPr>
          <p:cNvSpPr>
            <a:spLocks noGrp="1"/>
          </p:cNvSpPr>
          <p:nvPr>
            <p:ph sz="quarter" idx="48" hasCustomPrompt="1"/>
          </p:nvPr>
        </p:nvSpPr>
        <p:spPr>
          <a:xfrm>
            <a:off x="1298853" y="2969426"/>
            <a:ext cx="1828799" cy="636319"/>
          </a:xfrm>
          <a:prstGeom prst="rect">
            <a:avLst/>
          </a:prstGeom>
          <a:solidFill>
            <a:schemeClr val="bg1"/>
          </a:solidFill>
        </p:spPr>
        <p:txBody>
          <a:bodyPr anchor="ctr"/>
          <a:lstStyle>
            <a:lvl1pPr>
              <a:defRPr sz="1600" i="0">
                <a:solidFill>
                  <a:schemeClr val="tx1"/>
                </a:solidFill>
              </a:defRPr>
            </a:lvl1pPr>
            <a:lvl2pPr>
              <a:defRPr/>
            </a:lvl2pPr>
          </a:lstStyle>
          <a:p>
            <a:r>
              <a:rPr lang="en-GB" b="1"/>
              <a:t>Forename Surname</a:t>
            </a:r>
          </a:p>
        </p:txBody>
      </p:sp>
      <p:sp>
        <p:nvSpPr>
          <p:cNvPr id="23" name="Content Placeholder 16">
            <a:extLst>
              <a:ext uri="{FF2B5EF4-FFF2-40B4-BE49-F238E27FC236}">
                <a16:creationId xmlns:a16="http://schemas.microsoft.com/office/drawing/2014/main" id="{D1A5FCF1-FD3E-8EED-FB71-E63D18738D8E}"/>
              </a:ext>
            </a:extLst>
          </p:cNvPr>
          <p:cNvSpPr>
            <a:spLocks noGrp="1"/>
          </p:cNvSpPr>
          <p:nvPr>
            <p:ph sz="quarter" idx="49" hasCustomPrompt="1"/>
          </p:nvPr>
        </p:nvSpPr>
        <p:spPr>
          <a:xfrm>
            <a:off x="473059" y="3765139"/>
            <a:ext cx="2633329" cy="531629"/>
          </a:xfrm>
          <a:prstGeom prst="rect">
            <a:avLst/>
          </a:prstGeom>
          <a:solidFill>
            <a:schemeClr val="bg1"/>
          </a:solidFill>
        </p:spPr>
        <p:txBody>
          <a:bodyPr/>
          <a:lstStyle>
            <a:lvl1pPr>
              <a:spcBef>
                <a:spcPts val="0"/>
              </a:spcBef>
              <a:defRPr sz="1000">
                <a:solidFill>
                  <a:schemeClr val="tx1"/>
                </a:solidFill>
              </a:defRPr>
            </a:lvl1pPr>
            <a:lvl2pPr>
              <a:defRPr/>
            </a:lvl2pPr>
          </a:lstStyle>
          <a:p>
            <a:pPr marL="0" marR="0" lvl="0" indent="0" algn="l" defTabSz="919569" rtl="0" eaLnBrk="1" fontAlgn="auto" latinLnBrk="0" hangingPunct="1">
              <a:lnSpc>
                <a:spcPct val="100000"/>
              </a:lnSpc>
              <a:spcBef>
                <a:spcPts val="800"/>
              </a:spcBef>
              <a:spcAft>
                <a:spcPts val="0"/>
              </a:spcAft>
              <a:buClrTx/>
              <a:buSzTx/>
              <a:buFont typeface="Arial" panose="020B0604020202020204" pitchFamily="34" charset="0"/>
              <a:buNone/>
              <a:tabLst/>
              <a:defRPr/>
            </a:pPr>
            <a:r>
              <a:rPr lang="en-GB" sz="1050"/>
              <a:t>Title</a:t>
            </a:r>
            <a:br>
              <a:rPr lang="en-GB" sz="1050"/>
            </a:br>
            <a:r>
              <a:rPr lang="en-GB" sz="1050"/>
              <a:t>+44 20 7903 ####</a:t>
            </a:r>
            <a:br>
              <a:rPr lang="en-GB" sz="1050"/>
            </a:br>
            <a:r>
              <a:rPr lang="en-GB" sz="1050">
                <a:hlinkClick r:id="rId2">
                  <a:extLst>
                    <a:ext uri="{A12FA001-AC4F-418D-AE19-62706E023703}">
                      <ahyp:hlinkClr xmlns:ahyp="http://schemas.microsoft.com/office/drawing/2018/hyperlinkcolor" xmlns="" val="tx"/>
                    </a:ext>
                  </a:extLst>
                </a:hlinkClick>
              </a:rPr>
              <a:t>forename.surname@crugroup.com</a:t>
            </a:r>
            <a:endParaRPr lang="en-GB" sz="1050"/>
          </a:p>
        </p:txBody>
      </p:sp>
      <p:sp>
        <p:nvSpPr>
          <p:cNvPr id="24" name="Rectangle: Rounded Corners 23">
            <a:extLst>
              <a:ext uri="{FF2B5EF4-FFF2-40B4-BE49-F238E27FC236}">
                <a16:creationId xmlns:a16="http://schemas.microsoft.com/office/drawing/2014/main" id="{C397F6BF-F80E-A0F7-1422-B767B06A3011}"/>
              </a:ext>
            </a:extLst>
          </p:cNvPr>
          <p:cNvSpPr/>
          <p:nvPr userDrawn="1"/>
        </p:nvSpPr>
        <p:spPr>
          <a:xfrm>
            <a:off x="3310222" y="2878384"/>
            <a:ext cx="2876811" cy="1488767"/>
          </a:xfrm>
          <a:prstGeom prst="roundRect">
            <a:avLst/>
          </a:prstGeom>
          <a:ln>
            <a:solidFill>
              <a:srgbClr val="00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sp>
        <p:nvSpPr>
          <p:cNvPr id="25" name="Picture Placeholder 35">
            <a:extLst>
              <a:ext uri="{FF2B5EF4-FFF2-40B4-BE49-F238E27FC236}">
                <a16:creationId xmlns:a16="http://schemas.microsoft.com/office/drawing/2014/main" id="{4A9E53A8-A8FE-55EB-A1CC-42186E7CB034}"/>
              </a:ext>
            </a:extLst>
          </p:cNvPr>
          <p:cNvSpPr>
            <a:spLocks noGrp="1"/>
          </p:cNvSpPr>
          <p:nvPr>
            <p:ph type="pic" sz="quarter" idx="50" hasCustomPrompt="1"/>
          </p:nvPr>
        </p:nvSpPr>
        <p:spPr>
          <a:xfrm>
            <a:off x="3415481" y="2969426"/>
            <a:ext cx="709809" cy="636319"/>
          </a:xfrm>
          <a:prstGeom prst="roundRect">
            <a:avLst/>
          </a:prstGeom>
        </p:spPr>
        <p:txBody>
          <a:bodyPr/>
          <a:lstStyle>
            <a:lvl1pPr algn="ctr">
              <a:defRPr/>
            </a:lvl1pPr>
          </a:lstStyle>
          <a:p>
            <a:r>
              <a:rPr lang="en-US"/>
              <a:t>Add photo</a:t>
            </a:r>
            <a:endParaRPr lang="en-GB"/>
          </a:p>
        </p:txBody>
      </p:sp>
      <p:sp>
        <p:nvSpPr>
          <p:cNvPr id="26" name="Content Placeholder 16">
            <a:extLst>
              <a:ext uri="{FF2B5EF4-FFF2-40B4-BE49-F238E27FC236}">
                <a16:creationId xmlns:a16="http://schemas.microsoft.com/office/drawing/2014/main" id="{36C2BCF7-09C8-3A05-16FA-A35CB3152D8B}"/>
              </a:ext>
            </a:extLst>
          </p:cNvPr>
          <p:cNvSpPr>
            <a:spLocks noGrp="1"/>
          </p:cNvSpPr>
          <p:nvPr>
            <p:ph sz="quarter" idx="51" hasCustomPrompt="1"/>
          </p:nvPr>
        </p:nvSpPr>
        <p:spPr>
          <a:xfrm>
            <a:off x="4241275" y="2969426"/>
            <a:ext cx="1828799" cy="636319"/>
          </a:xfrm>
          <a:prstGeom prst="rect">
            <a:avLst/>
          </a:prstGeom>
          <a:solidFill>
            <a:schemeClr val="bg1"/>
          </a:solidFill>
        </p:spPr>
        <p:txBody>
          <a:bodyPr anchor="ctr"/>
          <a:lstStyle>
            <a:lvl1pPr>
              <a:defRPr sz="1600" i="0">
                <a:solidFill>
                  <a:schemeClr val="tx1"/>
                </a:solidFill>
              </a:defRPr>
            </a:lvl1pPr>
            <a:lvl2pPr>
              <a:defRPr/>
            </a:lvl2pPr>
          </a:lstStyle>
          <a:p>
            <a:r>
              <a:rPr lang="en-GB" b="1"/>
              <a:t>Forename Surname</a:t>
            </a:r>
          </a:p>
        </p:txBody>
      </p:sp>
      <p:sp>
        <p:nvSpPr>
          <p:cNvPr id="27" name="Content Placeholder 16">
            <a:extLst>
              <a:ext uri="{FF2B5EF4-FFF2-40B4-BE49-F238E27FC236}">
                <a16:creationId xmlns:a16="http://schemas.microsoft.com/office/drawing/2014/main" id="{6430A049-C5E3-2EA6-E84D-E15EC5F286CF}"/>
              </a:ext>
            </a:extLst>
          </p:cNvPr>
          <p:cNvSpPr>
            <a:spLocks noGrp="1"/>
          </p:cNvSpPr>
          <p:nvPr>
            <p:ph sz="quarter" idx="52" hasCustomPrompt="1"/>
          </p:nvPr>
        </p:nvSpPr>
        <p:spPr>
          <a:xfrm>
            <a:off x="3415481" y="3765139"/>
            <a:ext cx="2633329" cy="531629"/>
          </a:xfrm>
          <a:prstGeom prst="rect">
            <a:avLst/>
          </a:prstGeom>
          <a:solidFill>
            <a:schemeClr val="bg1"/>
          </a:solidFill>
        </p:spPr>
        <p:txBody>
          <a:bodyPr/>
          <a:lstStyle>
            <a:lvl1pPr>
              <a:spcBef>
                <a:spcPts val="0"/>
              </a:spcBef>
              <a:defRPr sz="1000">
                <a:solidFill>
                  <a:schemeClr val="tx1"/>
                </a:solidFill>
              </a:defRPr>
            </a:lvl1pPr>
            <a:lvl2pPr>
              <a:defRPr/>
            </a:lvl2pPr>
          </a:lstStyle>
          <a:p>
            <a:pPr marL="0" marR="0" lvl="0" indent="0" algn="l" defTabSz="919569" rtl="0" eaLnBrk="1" fontAlgn="auto" latinLnBrk="0" hangingPunct="1">
              <a:lnSpc>
                <a:spcPct val="100000"/>
              </a:lnSpc>
              <a:spcBef>
                <a:spcPts val="800"/>
              </a:spcBef>
              <a:spcAft>
                <a:spcPts val="0"/>
              </a:spcAft>
              <a:buClrTx/>
              <a:buSzTx/>
              <a:buFont typeface="Arial" panose="020B0604020202020204" pitchFamily="34" charset="0"/>
              <a:buNone/>
              <a:tabLst/>
              <a:defRPr/>
            </a:pPr>
            <a:r>
              <a:rPr lang="en-GB" sz="1050"/>
              <a:t>Title</a:t>
            </a:r>
            <a:br>
              <a:rPr lang="en-GB" sz="1050"/>
            </a:br>
            <a:r>
              <a:rPr lang="en-GB" sz="1050"/>
              <a:t>+44 20 7903 ####</a:t>
            </a:r>
            <a:br>
              <a:rPr lang="en-GB" sz="1050"/>
            </a:br>
            <a:r>
              <a:rPr lang="en-GB" sz="1050">
                <a:hlinkClick r:id="rId2">
                  <a:extLst>
                    <a:ext uri="{A12FA001-AC4F-418D-AE19-62706E023703}">
                      <ahyp:hlinkClr xmlns:ahyp="http://schemas.microsoft.com/office/drawing/2018/hyperlinkcolor" xmlns="" val="tx"/>
                    </a:ext>
                  </a:extLst>
                </a:hlinkClick>
              </a:rPr>
              <a:t>forename.surname@crugroup.com</a:t>
            </a:r>
            <a:endParaRPr lang="en-GB" sz="1050"/>
          </a:p>
        </p:txBody>
      </p:sp>
      <p:sp>
        <p:nvSpPr>
          <p:cNvPr id="28" name="Rectangle: Rounded Corners 27">
            <a:extLst>
              <a:ext uri="{FF2B5EF4-FFF2-40B4-BE49-F238E27FC236}">
                <a16:creationId xmlns:a16="http://schemas.microsoft.com/office/drawing/2014/main" id="{5A55BAAD-4D77-08CF-A6E3-EB3624D6DB0A}"/>
              </a:ext>
            </a:extLst>
          </p:cNvPr>
          <p:cNvSpPr/>
          <p:nvPr userDrawn="1"/>
        </p:nvSpPr>
        <p:spPr>
          <a:xfrm>
            <a:off x="6252829" y="2878384"/>
            <a:ext cx="2876811" cy="1488767"/>
          </a:xfrm>
          <a:prstGeom prst="roundRect">
            <a:avLst/>
          </a:prstGeom>
          <a:ln>
            <a:solidFill>
              <a:srgbClr val="00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sp>
        <p:nvSpPr>
          <p:cNvPr id="29" name="Picture Placeholder 35">
            <a:extLst>
              <a:ext uri="{FF2B5EF4-FFF2-40B4-BE49-F238E27FC236}">
                <a16:creationId xmlns:a16="http://schemas.microsoft.com/office/drawing/2014/main" id="{FB749911-500D-2FCC-EF68-0F904191723C}"/>
              </a:ext>
            </a:extLst>
          </p:cNvPr>
          <p:cNvSpPr>
            <a:spLocks noGrp="1"/>
          </p:cNvSpPr>
          <p:nvPr>
            <p:ph type="pic" sz="quarter" idx="53" hasCustomPrompt="1"/>
          </p:nvPr>
        </p:nvSpPr>
        <p:spPr>
          <a:xfrm>
            <a:off x="6358088" y="2969426"/>
            <a:ext cx="709809" cy="636319"/>
          </a:xfrm>
          <a:prstGeom prst="roundRect">
            <a:avLst/>
          </a:prstGeom>
        </p:spPr>
        <p:txBody>
          <a:bodyPr/>
          <a:lstStyle>
            <a:lvl1pPr algn="ctr">
              <a:defRPr/>
            </a:lvl1pPr>
          </a:lstStyle>
          <a:p>
            <a:r>
              <a:rPr lang="en-US"/>
              <a:t>Add photo</a:t>
            </a:r>
            <a:endParaRPr lang="en-GB"/>
          </a:p>
        </p:txBody>
      </p:sp>
      <p:sp>
        <p:nvSpPr>
          <p:cNvPr id="30" name="Content Placeholder 16">
            <a:extLst>
              <a:ext uri="{FF2B5EF4-FFF2-40B4-BE49-F238E27FC236}">
                <a16:creationId xmlns:a16="http://schemas.microsoft.com/office/drawing/2014/main" id="{D746C92E-98E3-AE5C-8197-AAC9CDBD0A48}"/>
              </a:ext>
            </a:extLst>
          </p:cNvPr>
          <p:cNvSpPr>
            <a:spLocks noGrp="1"/>
          </p:cNvSpPr>
          <p:nvPr>
            <p:ph sz="quarter" idx="54" hasCustomPrompt="1"/>
          </p:nvPr>
        </p:nvSpPr>
        <p:spPr>
          <a:xfrm>
            <a:off x="7183882" y="2969426"/>
            <a:ext cx="1828799" cy="636319"/>
          </a:xfrm>
          <a:prstGeom prst="rect">
            <a:avLst/>
          </a:prstGeom>
          <a:solidFill>
            <a:schemeClr val="bg1"/>
          </a:solidFill>
        </p:spPr>
        <p:txBody>
          <a:bodyPr anchor="ctr"/>
          <a:lstStyle>
            <a:lvl1pPr>
              <a:defRPr sz="1600" i="0">
                <a:solidFill>
                  <a:schemeClr val="tx1"/>
                </a:solidFill>
              </a:defRPr>
            </a:lvl1pPr>
            <a:lvl2pPr>
              <a:defRPr/>
            </a:lvl2pPr>
          </a:lstStyle>
          <a:p>
            <a:r>
              <a:rPr lang="en-GB" b="1"/>
              <a:t>Forename Surname</a:t>
            </a:r>
          </a:p>
        </p:txBody>
      </p:sp>
      <p:sp>
        <p:nvSpPr>
          <p:cNvPr id="31" name="Content Placeholder 16">
            <a:extLst>
              <a:ext uri="{FF2B5EF4-FFF2-40B4-BE49-F238E27FC236}">
                <a16:creationId xmlns:a16="http://schemas.microsoft.com/office/drawing/2014/main" id="{8FE49FA2-1B10-9F26-3CA9-7D865A819EEB}"/>
              </a:ext>
            </a:extLst>
          </p:cNvPr>
          <p:cNvSpPr>
            <a:spLocks noGrp="1"/>
          </p:cNvSpPr>
          <p:nvPr>
            <p:ph sz="quarter" idx="55" hasCustomPrompt="1"/>
          </p:nvPr>
        </p:nvSpPr>
        <p:spPr>
          <a:xfrm>
            <a:off x="6358088" y="3765139"/>
            <a:ext cx="2633329" cy="531629"/>
          </a:xfrm>
          <a:prstGeom prst="rect">
            <a:avLst/>
          </a:prstGeom>
          <a:solidFill>
            <a:schemeClr val="bg1"/>
          </a:solidFill>
        </p:spPr>
        <p:txBody>
          <a:bodyPr/>
          <a:lstStyle>
            <a:lvl1pPr>
              <a:spcBef>
                <a:spcPts val="0"/>
              </a:spcBef>
              <a:defRPr sz="1000">
                <a:solidFill>
                  <a:schemeClr val="tx1"/>
                </a:solidFill>
              </a:defRPr>
            </a:lvl1pPr>
            <a:lvl2pPr>
              <a:defRPr/>
            </a:lvl2pPr>
          </a:lstStyle>
          <a:p>
            <a:pPr marL="0" marR="0" lvl="0" indent="0" algn="l" defTabSz="919569" rtl="0" eaLnBrk="1" fontAlgn="auto" latinLnBrk="0" hangingPunct="1">
              <a:lnSpc>
                <a:spcPct val="100000"/>
              </a:lnSpc>
              <a:spcBef>
                <a:spcPts val="800"/>
              </a:spcBef>
              <a:spcAft>
                <a:spcPts val="0"/>
              </a:spcAft>
              <a:buClrTx/>
              <a:buSzTx/>
              <a:buFont typeface="Arial" panose="020B0604020202020204" pitchFamily="34" charset="0"/>
              <a:buNone/>
              <a:tabLst/>
              <a:defRPr/>
            </a:pPr>
            <a:r>
              <a:rPr lang="en-GB" sz="1050"/>
              <a:t>Title</a:t>
            </a:r>
            <a:br>
              <a:rPr lang="en-GB" sz="1050"/>
            </a:br>
            <a:r>
              <a:rPr lang="en-GB" sz="1050"/>
              <a:t>+44 20 7903 ####</a:t>
            </a:r>
            <a:br>
              <a:rPr lang="en-GB" sz="1050"/>
            </a:br>
            <a:r>
              <a:rPr lang="en-GB" sz="1050">
                <a:hlinkClick r:id="rId2">
                  <a:extLst>
                    <a:ext uri="{A12FA001-AC4F-418D-AE19-62706E023703}">
                      <ahyp:hlinkClr xmlns:ahyp="http://schemas.microsoft.com/office/drawing/2018/hyperlinkcolor" xmlns="" val="tx"/>
                    </a:ext>
                  </a:extLst>
                </a:hlinkClick>
              </a:rPr>
              <a:t>forename.surname@crugroup.com</a:t>
            </a:r>
            <a:endParaRPr lang="en-GB" sz="1050"/>
          </a:p>
        </p:txBody>
      </p:sp>
      <p:sp>
        <p:nvSpPr>
          <p:cNvPr id="32" name="Rectangle: Rounded Corners 31">
            <a:extLst>
              <a:ext uri="{FF2B5EF4-FFF2-40B4-BE49-F238E27FC236}">
                <a16:creationId xmlns:a16="http://schemas.microsoft.com/office/drawing/2014/main" id="{283D7489-4ACE-2405-B728-51A158D427FE}"/>
              </a:ext>
            </a:extLst>
          </p:cNvPr>
          <p:cNvSpPr/>
          <p:nvPr userDrawn="1"/>
        </p:nvSpPr>
        <p:spPr>
          <a:xfrm>
            <a:off x="9179582" y="2878384"/>
            <a:ext cx="2876811" cy="1488767"/>
          </a:xfrm>
          <a:prstGeom prst="roundRect">
            <a:avLst/>
          </a:prstGeom>
          <a:ln>
            <a:solidFill>
              <a:srgbClr val="00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sp>
        <p:nvSpPr>
          <p:cNvPr id="33" name="Picture Placeholder 35">
            <a:extLst>
              <a:ext uri="{FF2B5EF4-FFF2-40B4-BE49-F238E27FC236}">
                <a16:creationId xmlns:a16="http://schemas.microsoft.com/office/drawing/2014/main" id="{7A9F52CE-D1D8-4ACD-3FAC-5C8C2F349EE8}"/>
              </a:ext>
            </a:extLst>
          </p:cNvPr>
          <p:cNvSpPr>
            <a:spLocks noGrp="1"/>
          </p:cNvSpPr>
          <p:nvPr>
            <p:ph type="pic" sz="quarter" idx="56" hasCustomPrompt="1"/>
          </p:nvPr>
        </p:nvSpPr>
        <p:spPr>
          <a:xfrm>
            <a:off x="9284841" y="2969426"/>
            <a:ext cx="709809" cy="636319"/>
          </a:xfrm>
          <a:prstGeom prst="roundRect">
            <a:avLst/>
          </a:prstGeom>
        </p:spPr>
        <p:txBody>
          <a:bodyPr/>
          <a:lstStyle>
            <a:lvl1pPr algn="ctr">
              <a:defRPr/>
            </a:lvl1pPr>
          </a:lstStyle>
          <a:p>
            <a:r>
              <a:rPr lang="en-US"/>
              <a:t>Add photo</a:t>
            </a:r>
            <a:endParaRPr lang="en-GB"/>
          </a:p>
        </p:txBody>
      </p:sp>
      <p:sp>
        <p:nvSpPr>
          <p:cNvPr id="34" name="Content Placeholder 16">
            <a:extLst>
              <a:ext uri="{FF2B5EF4-FFF2-40B4-BE49-F238E27FC236}">
                <a16:creationId xmlns:a16="http://schemas.microsoft.com/office/drawing/2014/main" id="{F6C222DE-96EC-7398-8F85-772469AF57F6}"/>
              </a:ext>
            </a:extLst>
          </p:cNvPr>
          <p:cNvSpPr>
            <a:spLocks noGrp="1"/>
          </p:cNvSpPr>
          <p:nvPr>
            <p:ph sz="quarter" idx="57" hasCustomPrompt="1"/>
          </p:nvPr>
        </p:nvSpPr>
        <p:spPr>
          <a:xfrm>
            <a:off x="10110635" y="2969426"/>
            <a:ext cx="1828799" cy="636319"/>
          </a:xfrm>
          <a:prstGeom prst="rect">
            <a:avLst/>
          </a:prstGeom>
          <a:solidFill>
            <a:schemeClr val="bg1"/>
          </a:solidFill>
        </p:spPr>
        <p:txBody>
          <a:bodyPr anchor="ctr"/>
          <a:lstStyle>
            <a:lvl1pPr>
              <a:defRPr sz="1600" i="0">
                <a:solidFill>
                  <a:schemeClr val="tx1"/>
                </a:solidFill>
              </a:defRPr>
            </a:lvl1pPr>
            <a:lvl2pPr>
              <a:defRPr/>
            </a:lvl2pPr>
          </a:lstStyle>
          <a:p>
            <a:r>
              <a:rPr lang="en-GB" b="1"/>
              <a:t>Forename Surname</a:t>
            </a:r>
          </a:p>
        </p:txBody>
      </p:sp>
      <p:sp>
        <p:nvSpPr>
          <p:cNvPr id="35" name="Content Placeholder 16">
            <a:extLst>
              <a:ext uri="{FF2B5EF4-FFF2-40B4-BE49-F238E27FC236}">
                <a16:creationId xmlns:a16="http://schemas.microsoft.com/office/drawing/2014/main" id="{792838F4-8369-C13B-B486-537756569141}"/>
              </a:ext>
            </a:extLst>
          </p:cNvPr>
          <p:cNvSpPr>
            <a:spLocks noGrp="1"/>
          </p:cNvSpPr>
          <p:nvPr>
            <p:ph sz="quarter" idx="58" hasCustomPrompt="1"/>
          </p:nvPr>
        </p:nvSpPr>
        <p:spPr>
          <a:xfrm>
            <a:off x="9284841" y="3765139"/>
            <a:ext cx="2633329" cy="531629"/>
          </a:xfrm>
          <a:prstGeom prst="rect">
            <a:avLst/>
          </a:prstGeom>
          <a:solidFill>
            <a:schemeClr val="bg1"/>
          </a:solidFill>
        </p:spPr>
        <p:txBody>
          <a:bodyPr/>
          <a:lstStyle>
            <a:lvl1pPr>
              <a:spcBef>
                <a:spcPts val="0"/>
              </a:spcBef>
              <a:defRPr sz="1000">
                <a:solidFill>
                  <a:schemeClr val="tx1"/>
                </a:solidFill>
              </a:defRPr>
            </a:lvl1pPr>
            <a:lvl2pPr>
              <a:defRPr/>
            </a:lvl2pPr>
          </a:lstStyle>
          <a:p>
            <a:pPr marL="0" marR="0" lvl="0" indent="0" algn="l" defTabSz="919569" rtl="0" eaLnBrk="1" fontAlgn="auto" latinLnBrk="0" hangingPunct="1">
              <a:lnSpc>
                <a:spcPct val="100000"/>
              </a:lnSpc>
              <a:spcBef>
                <a:spcPts val="800"/>
              </a:spcBef>
              <a:spcAft>
                <a:spcPts val="0"/>
              </a:spcAft>
              <a:buClrTx/>
              <a:buSzTx/>
              <a:buFont typeface="Arial" panose="020B0604020202020204" pitchFamily="34" charset="0"/>
              <a:buNone/>
              <a:tabLst/>
              <a:defRPr/>
            </a:pPr>
            <a:r>
              <a:rPr lang="en-GB" sz="1050"/>
              <a:t>Title</a:t>
            </a:r>
            <a:br>
              <a:rPr lang="en-GB" sz="1050"/>
            </a:br>
            <a:r>
              <a:rPr lang="en-GB" sz="1050"/>
              <a:t>+44 20 7903 ####</a:t>
            </a:r>
            <a:br>
              <a:rPr lang="en-GB" sz="1050"/>
            </a:br>
            <a:r>
              <a:rPr lang="en-GB" sz="1050">
                <a:hlinkClick r:id="rId2">
                  <a:extLst>
                    <a:ext uri="{A12FA001-AC4F-418D-AE19-62706E023703}">
                      <ahyp:hlinkClr xmlns:ahyp="http://schemas.microsoft.com/office/drawing/2018/hyperlinkcolor" xmlns="" val="tx"/>
                    </a:ext>
                  </a:extLst>
                </a:hlinkClick>
              </a:rPr>
              <a:t>forename.surname@crugroup.com</a:t>
            </a:r>
            <a:endParaRPr lang="en-GB" sz="1050"/>
          </a:p>
        </p:txBody>
      </p:sp>
      <p:sp>
        <p:nvSpPr>
          <p:cNvPr id="36" name="Rectangle: Rounded Corners 35">
            <a:extLst>
              <a:ext uri="{FF2B5EF4-FFF2-40B4-BE49-F238E27FC236}">
                <a16:creationId xmlns:a16="http://schemas.microsoft.com/office/drawing/2014/main" id="{02C5F67B-E545-59C1-3DF4-5E84C1BA8F70}"/>
              </a:ext>
            </a:extLst>
          </p:cNvPr>
          <p:cNvSpPr/>
          <p:nvPr userDrawn="1"/>
        </p:nvSpPr>
        <p:spPr>
          <a:xfrm>
            <a:off x="367800" y="4503857"/>
            <a:ext cx="2876811" cy="1488767"/>
          </a:xfrm>
          <a:prstGeom prst="roundRect">
            <a:avLst/>
          </a:prstGeom>
          <a:ln>
            <a:solidFill>
              <a:srgbClr val="00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b="1">
              <a:solidFill>
                <a:schemeClr val="tx1"/>
              </a:solidFill>
            </a:endParaRPr>
          </a:p>
        </p:txBody>
      </p:sp>
      <p:sp>
        <p:nvSpPr>
          <p:cNvPr id="37" name="Picture Placeholder 35">
            <a:extLst>
              <a:ext uri="{FF2B5EF4-FFF2-40B4-BE49-F238E27FC236}">
                <a16:creationId xmlns:a16="http://schemas.microsoft.com/office/drawing/2014/main" id="{217D30D2-7237-7EA0-E638-03B64929EBFD}"/>
              </a:ext>
            </a:extLst>
          </p:cNvPr>
          <p:cNvSpPr>
            <a:spLocks noGrp="1"/>
          </p:cNvSpPr>
          <p:nvPr>
            <p:ph type="pic" sz="quarter" idx="59" hasCustomPrompt="1"/>
          </p:nvPr>
        </p:nvSpPr>
        <p:spPr>
          <a:xfrm>
            <a:off x="473059" y="4594899"/>
            <a:ext cx="709809" cy="636319"/>
          </a:xfrm>
          <a:prstGeom prst="roundRect">
            <a:avLst/>
          </a:prstGeom>
        </p:spPr>
        <p:txBody>
          <a:bodyPr/>
          <a:lstStyle>
            <a:lvl1pPr algn="ctr">
              <a:defRPr b="0"/>
            </a:lvl1pPr>
          </a:lstStyle>
          <a:p>
            <a:r>
              <a:rPr lang="en-US"/>
              <a:t>Add photo</a:t>
            </a:r>
            <a:endParaRPr lang="en-GB"/>
          </a:p>
        </p:txBody>
      </p:sp>
      <p:sp>
        <p:nvSpPr>
          <p:cNvPr id="38" name="Content Placeholder 16">
            <a:extLst>
              <a:ext uri="{FF2B5EF4-FFF2-40B4-BE49-F238E27FC236}">
                <a16:creationId xmlns:a16="http://schemas.microsoft.com/office/drawing/2014/main" id="{B84A8470-1395-171A-D3A0-D5E4A7C1DD74}"/>
              </a:ext>
            </a:extLst>
          </p:cNvPr>
          <p:cNvSpPr>
            <a:spLocks noGrp="1"/>
          </p:cNvSpPr>
          <p:nvPr>
            <p:ph sz="quarter" idx="60" hasCustomPrompt="1"/>
          </p:nvPr>
        </p:nvSpPr>
        <p:spPr>
          <a:xfrm>
            <a:off x="1298853" y="4594899"/>
            <a:ext cx="1828799" cy="636319"/>
          </a:xfrm>
          <a:prstGeom prst="rect">
            <a:avLst/>
          </a:prstGeom>
          <a:solidFill>
            <a:schemeClr val="bg1"/>
          </a:solidFill>
        </p:spPr>
        <p:txBody>
          <a:bodyPr anchor="ctr"/>
          <a:lstStyle>
            <a:lvl1pPr>
              <a:defRPr sz="1600" b="1" i="0">
                <a:solidFill>
                  <a:schemeClr val="tx1"/>
                </a:solidFill>
              </a:defRPr>
            </a:lvl1pPr>
            <a:lvl2pPr>
              <a:defRPr/>
            </a:lvl2pPr>
          </a:lstStyle>
          <a:p>
            <a:r>
              <a:rPr lang="en-GB" b="1"/>
              <a:t>Forename Surname</a:t>
            </a:r>
          </a:p>
        </p:txBody>
      </p:sp>
      <p:sp>
        <p:nvSpPr>
          <p:cNvPr id="39" name="Content Placeholder 16">
            <a:extLst>
              <a:ext uri="{FF2B5EF4-FFF2-40B4-BE49-F238E27FC236}">
                <a16:creationId xmlns:a16="http://schemas.microsoft.com/office/drawing/2014/main" id="{286BE7A7-A117-6167-5F24-FA6345DBDF59}"/>
              </a:ext>
            </a:extLst>
          </p:cNvPr>
          <p:cNvSpPr>
            <a:spLocks noGrp="1"/>
          </p:cNvSpPr>
          <p:nvPr>
            <p:ph sz="quarter" idx="61" hasCustomPrompt="1"/>
          </p:nvPr>
        </p:nvSpPr>
        <p:spPr>
          <a:xfrm>
            <a:off x="473059" y="5358808"/>
            <a:ext cx="2633329" cy="531629"/>
          </a:xfrm>
          <a:prstGeom prst="rect">
            <a:avLst/>
          </a:prstGeom>
          <a:solidFill>
            <a:schemeClr val="bg1"/>
          </a:solidFill>
        </p:spPr>
        <p:txBody>
          <a:bodyPr/>
          <a:lstStyle>
            <a:lvl1pPr>
              <a:spcBef>
                <a:spcPts val="0"/>
              </a:spcBef>
              <a:defRPr sz="1000" b="0">
                <a:solidFill>
                  <a:schemeClr val="tx1"/>
                </a:solidFill>
              </a:defRPr>
            </a:lvl1pPr>
            <a:lvl2pPr>
              <a:defRPr/>
            </a:lvl2pPr>
          </a:lstStyle>
          <a:p>
            <a:pPr marL="0" marR="0" lvl="0" indent="0" algn="l" defTabSz="919569" rtl="0" eaLnBrk="1" fontAlgn="auto" latinLnBrk="0" hangingPunct="1">
              <a:lnSpc>
                <a:spcPct val="100000"/>
              </a:lnSpc>
              <a:spcBef>
                <a:spcPts val="800"/>
              </a:spcBef>
              <a:spcAft>
                <a:spcPts val="0"/>
              </a:spcAft>
              <a:buClrTx/>
              <a:buSzTx/>
              <a:buFont typeface="Arial" panose="020B0604020202020204" pitchFamily="34" charset="0"/>
              <a:buNone/>
              <a:tabLst/>
              <a:defRPr/>
            </a:pPr>
            <a:r>
              <a:rPr lang="en-GB" sz="1050"/>
              <a:t>Title</a:t>
            </a:r>
            <a:br>
              <a:rPr lang="en-GB" sz="1050"/>
            </a:br>
            <a:r>
              <a:rPr lang="en-GB" sz="1050"/>
              <a:t>+44 20 7903 ####</a:t>
            </a:r>
            <a:br>
              <a:rPr lang="en-GB" sz="1050"/>
            </a:br>
            <a:r>
              <a:rPr lang="en-GB" sz="1050">
                <a:hlinkClick r:id="rId2">
                  <a:extLst>
                    <a:ext uri="{A12FA001-AC4F-418D-AE19-62706E023703}">
                      <ahyp:hlinkClr xmlns:ahyp="http://schemas.microsoft.com/office/drawing/2018/hyperlinkcolor" xmlns="" val="tx"/>
                    </a:ext>
                  </a:extLst>
                </a:hlinkClick>
              </a:rPr>
              <a:t>forename.surname@crugroup.com</a:t>
            </a:r>
            <a:endParaRPr lang="en-GB" sz="1050"/>
          </a:p>
        </p:txBody>
      </p:sp>
      <p:cxnSp>
        <p:nvCxnSpPr>
          <p:cNvPr id="52" name="Straight Connector 51">
            <a:extLst>
              <a:ext uri="{FF2B5EF4-FFF2-40B4-BE49-F238E27FC236}">
                <a16:creationId xmlns:a16="http://schemas.microsoft.com/office/drawing/2014/main" id="{03BF13B1-7CA6-17FF-4FFA-820346E9B903}"/>
              </a:ext>
            </a:extLst>
          </p:cNvPr>
          <p:cNvCxnSpPr>
            <a:cxnSpLocks/>
          </p:cNvCxnSpPr>
          <p:nvPr userDrawn="1"/>
        </p:nvCxnSpPr>
        <p:spPr>
          <a:xfrm>
            <a:off x="361310" y="2076728"/>
            <a:ext cx="2876811"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B6012023-889F-4DA6-079A-8EF67A009E32}"/>
              </a:ext>
            </a:extLst>
          </p:cNvPr>
          <p:cNvCxnSpPr>
            <a:cxnSpLocks/>
          </p:cNvCxnSpPr>
          <p:nvPr userDrawn="1"/>
        </p:nvCxnSpPr>
        <p:spPr>
          <a:xfrm>
            <a:off x="354684" y="3677590"/>
            <a:ext cx="2876811"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4A268B6-6151-2F51-9258-B4AB6E888F80}"/>
              </a:ext>
            </a:extLst>
          </p:cNvPr>
          <p:cNvCxnSpPr>
            <a:cxnSpLocks/>
          </p:cNvCxnSpPr>
          <p:nvPr userDrawn="1"/>
        </p:nvCxnSpPr>
        <p:spPr>
          <a:xfrm>
            <a:off x="354683" y="5299593"/>
            <a:ext cx="2876811"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E66B849-99F1-CE0E-FC87-327ABF10A719}"/>
              </a:ext>
            </a:extLst>
          </p:cNvPr>
          <p:cNvCxnSpPr>
            <a:cxnSpLocks/>
          </p:cNvCxnSpPr>
          <p:nvPr userDrawn="1"/>
        </p:nvCxnSpPr>
        <p:spPr>
          <a:xfrm>
            <a:off x="6259821" y="2076728"/>
            <a:ext cx="2876811"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43D3364D-9A78-68FA-FB76-8327115F0C64}"/>
              </a:ext>
            </a:extLst>
          </p:cNvPr>
          <p:cNvCxnSpPr>
            <a:cxnSpLocks/>
          </p:cNvCxnSpPr>
          <p:nvPr userDrawn="1"/>
        </p:nvCxnSpPr>
        <p:spPr>
          <a:xfrm>
            <a:off x="3313895" y="2076728"/>
            <a:ext cx="2876811"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456DC5E-FC3B-89DE-7D07-64126C04F2A7}"/>
              </a:ext>
            </a:extLst>
          </p:cNvPr>
          <p:cNvCxnSpPr>
            <a:cxnSpLocks/>
          </p:cNvCxnSpPr>
          <p:nvPr userDrawn="1"/>
        </p:nvCxnSpPr>
        <p:spPr>
          <a:xfrm>
            <a:off x="9174005" y="2076728"/>
            <a:ext cx="2876811"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03246ED-D74F-C76E-BCEE-D12066B15196}"/>
              </a:ext>
            </a:extLst>
          </p:cNvPr>
          <p:cNvCxnSpPr>
            <a:cxnSpLocks/>
          </p:cNvCxnSpPr>
          <p:nvPr userDrawn="1"/>
        </p:nvCxnSpPr>
        <p:spPr>
          <a:xfrm>
            <a:off x="3313894" y="3677590"/>
            <a:ext cx="2876811"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9D19A92E-0657-D078-0808-DCFD5488B865}"/>
              </a:ext>
            </a:extLst>
          </p:cNvPr>
          <p:cNvCxnSpPr>
            <a:cxnSpLocks/>
          </p:cNvCxnSpPr>
          <p:nvPr userDrawn="1"/>
        </p:nvCxnSpPr>
        <p:spPr>
          <a:xfrm>
            <a:off x="6262471" y="3677590"/>
            <a:ext cx="2876811"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3C34136B-0236-DB91-3D05-A64CD6EA727E}"/>
              </a:ext>
            </a:extLst>
          </p:cNvPr>
          <p:cNvCxnSpPr>
            <a:cxnSpLocks/>
          </p:cNvCxnSpPr>
          <p:nvPr userDrawn="1"/>
        </p:nvCxnSpPr>
        <p:spPr>
          <a:xfrm>
            <a:off x="9167379" y="3677590"/>
            <a:ext cx="2876811"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Rounded Corners 39">
            <a:extLst>
              <a:ext uri="{FF2B5EF4-FFF2-40B4-BE49-F238E27FC236}">
                <a16:creationId xmlns:a16="http://schemas.microsoft.com/office/drawing/2014/main" id="{7578EC27-45CC-61B3-03DC-C48776EC8D7A}"/>
              </a:ext>
            </a:extLst>
          </p:cNvPr>
          <p:cNvSpPr/>
          <p:nvPr userDrawn="1"/>
        </p:nvSpPr>
        <p:spPr>
          <a:xfrm>
            <a:off x="3310222" y="4503857"/>
            <a:ext cx="2876811" cy="1488767"/>
          </a:xfrm>
          <a:prstGeom prst="roundRect">
            <a:avLst/>
          </a:prstGeom>
          <a:ln>
            <a:solidFill>
              <a:srgbClr val="00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b="1">
              <a:solidFill>
                <a:schemeClr val="tx1"/>
              </a:solidFill>
            </a:endParaRPr>
          </a:p>
        </p:txBody>
      </p:sp>
      <p:sp>
        <p:nvSpPr>
          <p:cNvPr id="41" name="Picture Placeholder 35">
            <a:extLst>
              <a:ext uri="{FF2B5EF4-FFF2-40B4-BE49-F238E27FC236}">
                <a16:creationId xmlns:a16="http://schemas.microsoft.com/office/drawing/2014/main" id="{5041FB16-87DA-A2F5-8D96-EF0AAAFF80D6}"/>
              </a:ext>
            </a:extLst>
          </p:cNvPr>
          <p:cNvSpPr>
            <a:spLocks noGrp="1"/>
          </p:cNvSpPr>
          <p:nvPr>
            <p:ph type="pic" sz="quarter" idx="62" hasCustomPrompt="1"/>
          </p:nvPr>
        </p:nvSpPr>
        <p:spPr>
          <a:xfrm>
            <a:off x="3415481" y="4594899"/>
            <a:ext cx="709809" cy="636319"/>
          </a:xfrm>
          <a:prstGeom prst="roundRect">
            <a:avLst/>
          </a:prstGeom>
        </p:spPr>
        <p:txBody>
          <a:bodyPr/>
          <a:lstStyle>
            <a:lvl1pPr algn="ctr">
              <a:defRPr b="0"/>
            </a:lvl1pPr>
          </a:lstStyle>
          <a:p>
            <a:r>
              <a:rPr lang="en-US"/>
              <a:t>Add photo</a:t>
            </a:r>
            <a:endParaRPr lang="en-GB"/>
          </a:p>
        </p:txBody>
      </p:sp>
      <p:sp>
        <p:nvSpPr>
          <p:cNvPr id="42" name="Content Placeholder 16">
            <a:extLst>
              <a:ext uri="{FF2B5EF4-FFF2-40B4-BE49-F238E27FC236}">
                <a16:creationId xmlns:a16="http://schemas.microsoft.com/office/drawing/2014/main" id="{F6E5BE44-029C-0C01-EA6B-2E56D4892E01}"/>
              </a:ext>
            </a:extLst>
          </p:cNvPr>
          <p:cNvSpPr>
            <a:spLocks noGrp="1"/>
          </p:cNvSpPr>
          <p:nvPr>
            <p:ph sz="quarter" idx="63" hasCustomPrompt="1"/>
          </p:nvPr>
        </p:nvSpPr>
        <p:spPr>
          <a:xfrm>
            <a:off x="4241275" y="4594899"/>
            <a:ext cx="1828799" cy="636319"/>
          </a:xfrm>
          <a:prstGeom prst="rect">
            <a:avLst/>
          </a:prstGeom>
          <a:solidFill>
            <a:schemeClr val="bg1"/>
          </a:solidFill>
        </p:spPr>
        <p:txBody>
          <a:bodyPr anchor="ctr"/>
          <a:lstStyle>
            <a:lvl1pPr>
              <a:defRPr sz="1600" b="1" i="0">
                <a:solidFill>
                  <a:schemeClr val="tx1"/>
                </a:solidFill>
              </a:defRPr>
            </a:lvl1pPr>
            <a:lvl2pPr>
              <a:defRPr/>
            </a:lvl2pPr>
          </a:lstStyle>
          <a:p>
            <a:r>
              <a:rPr lang="en-GB" b="1"/>
              <a:t>Forename Surname</a:t>
            </a:r>
          </a:p>
        </p:txBody>
      </p:sp>
      <p:sp>
        <p:nvSpPr>
          <p:cNvPr id="43" name="Content Placeholder 16">
            <a:extLst>
              <a:ext uri="{FF2B5EF4-FFF2-40B4-BE49-F238E27FC236}">
                <a16:creationId xmlns:a16="http://schemas.microsoft.com/office/drawing/2014/main" id="{F319B1A9-6BAF-F2D2-91D1-7DF9D977305C}"/>
              </a:ext>
            </a:extLst>
          </p:cNvPr>
          <p:cNvSpPr>
            <a:spLocks noGrp="1"/>
          </p:cNvSpPr>
          <p:nvPr>
            <p:ph sz="quarter" idx="64" hasCustomPrompt="1"/>
          </p:nvPr>
        </p:nvSpPr>
        <p:spPr>
          <a:xfrm>
            <a:off x="3415481" y="5358808"/>
            <a:ext cx="2633329" cy="531629"/>
          </a:xfrm>
          <a:prstGeom prst="rect">
            <a:avLst/>
          </a:prstGeom>
          <a:solidFill>
            <a:schemeClr val="bg1"/>
          </a:solidFill>
        </p:spPr>
        <p:txBody>
          <a:bodyPr/>
          <a:lstStyle>
            <a:lvl1pPr>
              <a:spcBef>
                <a:spcPts val="0"/>
              </a:spcBef>
              <a:defRPr sz="1000" b="0">
                <a:solidFill>
                  <a:schemeClr val="tx1"/>
                </a:solidFill>
              </a:defRPr>
            </a:lvl1pPr>
            <a:lvl2pPr>
              <a:defRPr/>
            </a:lvl2pPr>
          </a:lstStyle>
          <a:p>
            <a:pPr marL="0" marR="0" lvl="0" indent="0" algn="l" defTabSz="919569" rtl="0" eaLnBrk="1" fontAlgn="auto" latinLnBrk="0" hangingPunct="1">
              <a:lnSpc>
                <a:spcPct val="100000"/>
              </a:lnSpc>
              <a:spcBef>
                <a:spcPts val="800"/>
              </a:spcBef>
              <a:spcAft>
                <a:spcPts val="0"/>
              </a:spcAft>
              <a:buClrTx/>
              <a:buSzTx/>
              <a:buFont typeface="Arial" panose="020B0604020202020204" pitchFamily="34" charset="0"/>
              <a:buNone/>
              <a:tabLst/>
              <a:defRPr/>
            </a:pPr>
            <a:r>
              <a:rPr lang="en-GB" sz="1050"/>
              <a:t>Title</a:t>
            </a:r>
            <a:br>
              <a:rPr lang="en-GB" sz="1050"/>
            </a:br>
            <a:r>
              <a:rPr lang="en-GB" sz="1050"/>
              <a:t>+44 20 7903 ####</a:t>
            </a:r>
            <a:br>
              <a:rPr lang="en-GB" sz="1050"/>
            </a:br>
            <a:r>
              <a:rPr lang="en-GB" sz="1050">
                <a:hlinkClick r:id="rId2">
                  <a:extLst>
                    <a:ext uri="{A12FA001-AC4F-418D-AE19-62706E023703}">
                      <ahyp:hlinkClr xmlns:ahyp="http://schemas.microsoft.com/office/drawing/2018/hyperlinkcolor" xmlns="" val="tx"/>
                    </a:ext>
                  </a:extLst>
                </a:hlinkClick>
              </a:rPr>
              <a:t>forename.surname@crugroup.com</a:t>
            </a:r>
            <a:endParaRPr lang="en-GB" sz="1050"/>
          </a:p>
        </p:txBody>
      </p:sp>
      <p:cxnSp>
        <p:nvCxnSpPr>
          <p:cNvPr id="44" name="Straight Connector 43">
            <a:extLst>
              <a:ext uri="{FF2B5EF4-FFF2-40B4-BE49-F238E27FC236}">
                <a16:creationId xmlns:a16="http://schemas.microsoft.com/office/drawing/2014/main" id="{865795FC-BBAE-461B-3A99-C35CD94EC5D6}"/>
              </a:ext>
            </a:extLst>
          </p:cNvPr>
          <p:cNvCxnSpPr>
            <a:cxnSpLocks/>
          </p:cNvCxnSpPr>
          <p:nvPr userDrawn="1"/>
        </p:nvCxnSpPr>
        <p:spPr>
          <a:xfrm>
            <a:off x="3297105" y="5299593"/>
            <a:ext cx="2876811"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126142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3x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noFill/>
        </p:spPr>
        <p:txBody>
          <a:bodyPr lIns="0"/>
          <a:lstStyle/>
          <a:p>
            <a:r>
              <a:rPr lang="en-US"/>
              <a:t>Click to edit Master title style</a:t>
            </a:r>
            <a:endParaRPr lang="en-GB"/>
          </a:p>
        </p:txBody>
      </p:sp>
      <p:sp>
        <p:nvSpPr>
          <p:cNvPr id="3" name="Slide Number Placeholder 2">
            <a:extLst>
              <a:ext uri="{FF2B5EF4-FFF2-40B4-BE49-F238E27FC236}">
                <a16:creationId xmlns:a16="http://schemas.microsoft.com/office/drawing/2014/main" id="{F6A6F3C7-49FD-B21D-A71C-794307806CB1}"/>
              </a:ext>
            </a:extLst>
          </p:cNvPr>
          <p:cNvSpPr>
            <a:spLocks noGrp="1"/>
          </p:cNvSpPr>
          <p:nvPr>
            <p:ph type="sldNum" sz="quarter" idx="10"/>
          </p:nvPr>
        </p:nvSpPr>
        <p:spPr>
          <a:noFill/>
        </p:spPr>
        <p:txBody>
          <a:bodyPr/>
          <a:lstStyle>
            <a:lvl1pPr>
              <a:defRPr sz="1200">
                <a:solidFill>
                  <a:schemeClr val="tx1"/>
                </a:solidFill>
              </a:defRPr>
            </a:lvl1pPr>
          </a:lstStyle>
          <a:p>
            <a:endParaRPr lang="en-GB"/>
          </a:p>
        </p:txBody>
      </p:sp>
      <p:sp>
        <p:nvSpPr>
          <p:cNvPr id="4" name="Footer Placeholder 3">
            <a:extLst>
              <a:ext uri="{FF2B5EF4-FFF2-40B4-BE49-F238E27FC236}">
                <a16:creationId xmlns:a16="http://schemas.microsoft.com/office/drawing/2014/main" id="{5E7FC5AF-5497-9574-95D6-1D004FDD63BA}"/>
              </a:ext>
            </a:extLst>
          </p:cNvPr>
          <p:cNvSpPr>
            <a:spLocks noGrp="1"/>
          </p:cNvSpPr>
          <p:nvPr>
            <p:ph type="ftr" sz="quarter" idx="11"/>
          </p:nvPr>
        </p:nvSpPr>
        <p:spPr>
          <a:xfrm>
            <a:off x="7350369" y="6429965"/>
            <a:ext cx="3176758" cy="307777"/>
          </a:xfrm>
          <a:prstGeom prst="rect">
            <a:avLst/>
          </a:prstGeom>
          <a:noFill/>
        </p:spPr>
        <p:txBody>
          <a:bodyPr/>
          <a:lstStyle/>
          <a:p>
            <a:r>
              <a:rPr lang="en-US"/>
              <a:t>Battery Value Chain Outlook</a:t>
            </a:r>
            <a:endParaRPr lang="en-GB"/>
          </a:p>
        </p:txBody>
      </p:sp>
      <p:sp>
        <p:nvSpPr>
          <p:cNvPr id="6" name="Text Placeholder 5">
            <a:extLst>
              <a:ext uri="{FF2B5EF4-FFF2-40B4-BE49-F238E27FC236}">
                <a16:creationId xmlns:a16="http://schemas.microsoft.com/office/drawing/2014/main" id="{B4FEC989-5B95-236A-9784-44B6E6B88D85}"/>
              </a:ext>
            </a:extLst>
          </p:cNvPr>
          <p:cNvSpPr>
            <a:spLocks noGrp="1"/>
          </p:cNvSpPr>
          <p:nvPr>
            <p:ph type="body" sz="quarter" idx="12" hasCustomPrompt="1"/>
          </p:nvPr>
        </p:nvSpPr>
        <p:spPr>
          <a:xfrm>
            <a:off x="413536" y="972000"/>
            <a:ext cx="3768557" cy="288000"/>
          </a:xfrm>
          <a:noFill/>
        </p:spPr>
        <p:txBody>
          <a:bodyPr lIns="0"/>
          <a:lstStyle>
            <a:lvl1pPr>
              <a:defRPr sz="1300"/>
            </a:lvl1pPr>
          </a:lstStyle>
          <a:p>
            <a:pPr lvl="0"/>
            <a:r>
              <a:rPr lang="en-US"/>
              <a:t>Chart headline</a:t>
            </a:r>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35266" y="1260000"/>
            <a:ext cx="3744000" cy="4746998"/>
          </a:xfrm>
          <a:noFill/>
        </p:spPr>
        <p:txBody>
          <a:bodyPr/>
          <a:lstStyle>
            <a:lvl1pPr algn="ctr">
              <a:defRPr/>
            </a:lvl1pPr>
            <a:lvl5pPr>
              <a:defRPr/>
            </a:lvl5pPr>
          </a:lstStyle>
          <a:p>
            <a:pPr lvl="0"/>
            <a:r>
              <a:rPr lang="en-US"/>
              <a:t>Insert Char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11365200" cy="215999"/>
          </a:xfrm>
          <a:noFill/>
        </p:spPr>
        <p:txBody>
          <a:bodyPr lIns="0"/>
          <a:lstStyle>
            <a:lvl1pPr>
              <a:defRPr sz="1050">
                <a:solidFill>
                  <a:schemeClr val="tx1"/>
                </a:solidFill>
              </a:defRPr>
            </a:lvl1pPr>
            <a:lvl5pPr>
              <a:defRPr sz="1050">
                <a:solidFill>
                  <a:schemeClr val="tx1"/>
                </a:solidFill>
              </a:defRPr>
            </a:lvl5pPr>
          </a:lstStyle>
          <a:p>
            <a:pPr lvl="0"/>
            <a:r>
              <a:rPr lang="en-US"/>
              <a:t>DATA: CRU</a:t>
            </a:r>
            <a:endParaRPr lang="en-GB"/>
          </a:p>
        </p:txBody>
      </p:sp>
      <p:sp>
        <p:nvSpPr>
          <p:cNvPr id="13" name="Text Placeholder 5">
            <a:extLst>
              <a:ext uri="{FF2B5EF4-FFF2-40B4-BE49-F238E27FC236}">
                <a16:creationId xmlns:a16="http://schemas.microsoft.com/office/drawing/2014/main" id="{0F05E3CC-77D8-00D4-3892-43359D3D440D}"/>
              </a:ext>
            </a:extLst>
          </p:cNvPr>
          <p:cNvSpPr>
            <a:spLocks noGrp="1"/>
          </p:cNvSpPr>
          <p:nvPr>
            <p:ph type="body" sz="quarter" idx="20" hasCustomPrompt="1"/>
          </p:nvPr>
        </p:nvSpPr>
        <p:spPr>
          <a:xfrm>
            <a:off x="4212000" y="972000"/>
            <a:ext cx="3768556" cy="288000"/>
          </a:xfrm>
          <a:noFill/>
        </p:spPr>
        <p:txBody>
          <a:bodyPr lIns="108000"/>
          <a:lstStyle>
            <a:lvl1pPr>
              <a:defRPr sz="1300"/>
            </a:lvl1pPr>
          </a:lstStyle>
          <a:p>
            <a:pPr lvl="0"/>
            <a:r>
              <a:rPr lang="en-US"/>
              <a:t>Chart headline</a:t>
            </a:r>
          </a:p>
        </p:txBody>
      </p:sp>
      <p:sp>
        <p:nvSpPr>
          <p:cNvPr id="14" name="Content Placeholder 7">
            <a:extLst>
              <a:ext uri="{FF2B5EF4-FFF2-40B4-BE49-F238E27FC236}">
                <a16:creationId xmlns:a16="http://schemas.microsoft.com/office/drawing/2014/main" id="{CB8F5FCB-FB91-1CC1-0B13-4616C17F6F8D}"/>
              </a:ext>
            </a:extLst>
          </p:cNvPr>
          <p:cNvSpPr>
            <a:spLocks noGrp="1"/>
          </p:cNvSpPr>
          <p:nvPr>
            <p:ph sz="quarter" idx="21" hasCustomPrompt="1"/>
          </p:nvPr>
        </p:nvSpPr>
        <p:spPr>
          <a:xfrm>
            <a:off x="4233266" y="1260000"/>
            <a:ext cx="3744000" cy="4747000"/>
          </a:xfrm>
          <a:noFill/>
        </p:spPr>
        <p:txBody>
          <a:bodyPr/>
          <a:lstStyle>
            <a:lvl1pPr algn="ctr">
              <a:defRPr/>
            </a:lvl1pPr>
            <a:lvl5pPr>
              <a:defRPr/>
            </a:lvl5pPr>
          </a:lstStyle>
          <a:p>
            <a:pPr lvl="0"/>
            <a:r>
              <a:rPr lang="en-US"/>
              <a:t>Insert Chart</a:t>
            </a:r>
            <a:endParaRPr lang="en-GB"/>
          </a:p>
        </p:txBody>
      </p:sp>
      <p:sp>
        <p:nvSpPr>
          <p:cNvPr id="17" name="Text Placeholder 5">
            <a:extLst>
              <a:ext uri="{FF2B5EF4-FFF2-40B4-BE49-F238E27FC236}">
                <a16:creationId xmlns:a16="http://schemas.microsoft.com/office/drawing/2014/main" id="{82725930-D425-C749-FEC9-D1707FF63950}"/>
              </a:ext>
            </a:extLst>
          </p:cNvPr>
          <p:cNvSpPr>
            <a:spLocks noGrp="1"/>
          </p:cNvSpPr>
          <p:nvPr>
            <p:ph type="body" sz="quarter" idx="24" hasCustomPrompt="1"/>
          </p:nvPr>
        </p:nvSpPr>
        <p:spPr>
          <a:xfrm>
            <a:off x="8010000" y="972000"/>
            <a:ext cx="3767950" cy="288000"/>
          </a:xfrm>
          <a:noFill/>
        </p:spPr>
        <p:txBody>
          <a:bodyPr lIns="108000"/>
          <a:lstStyle>
            <a:lvl1pPr>
              <a:defRPr sz="1300"/>
            </a:lvl1pPr>
          </a:lstStyle>
          <a:p>
            <a:pPr lvl="0"/>
            <a:r>
              <a:rPr lang="en-US"/>
              <a:t>Chart headline</a:t>
            </a:r>
          </a:p>
        </p:txBody>
      </p:sp>
      <p:sp>
        <p:nvSpPr>
          <p:cNvPr id="18" name="Content Placeholder 7">
            <a:extLst>
              <a:ext uri="{FF2B5EF4-FFF2-40B4-BE49-F238E27FC236}">
                <a16:creationId xmlns:a16="http://schemas.microsoft.com/office/drawing/2014/main" id="{ECAB1B5D-539C-8387-B045-BAF0C5698A72}"/>
              </a:ext>
            </a:extLst>
          </p:cNvPr>
          <p:cNvSpPr>
            <a:spLocks noGrp="1"/>
          </p:cNvSpPr>
          <p:nvPr>
            <p:ph sz="quarter" idx="25" hasCustomPrompt="1"/>
          </p:nvPr>
        </p:nvSpPr>
        <p:spPr>
          <a:xfrm>
            <a:off x="8031266" y="1259999"/>
            <a:ext cx="3744000" cy="4746999"/>
          </a:xfrm>
          <a:noFill/>
        </p:spPr>
        <p:txBody>
          <a:bodyPr/>
          <a:lstStyle>
            <a:lvl1pPr algn="ctr">
              <a:defRPr/>
            </a:lvl1pPr>
            <a:lvl5pPr>
              <a:defRPr/>
            </a:lvl5pPr>
          </a:lstStyle>
          <a:p>
            <a:pPr lvl="0"/>
            <a:r>
              <a:rPr lang="en-US"/>
              <a:t>Insert Chart</a:t>
            </a:r>
            <a:endParaRPr lang="en-GB"/>
          </a:p>
        </p:txBody>
      </p:sp>
      <p:cxnSp>
        <p:nvCxnSpPr>
          <p:cNvPr id="7" name="Straight Connector 6">
            <a:extLst>
              <a:ext uri="{FF2B5EF4-FFF2-40B4-BE49-F238E27FC236}">
                <a16:creationId xmlns:a16="http://schemas.microsoft.com/office/drawing/2014/main" id="{975CDD6E-035F-9465-32D7-99297026358F}"/>
              </a:ext>
            </a:extLst>
          </p:cNvPr>
          <p:cNvCxnSpPr/>
          <p:nvPr userDrawn="1"/>
        </p:nvCxnSpPr>
        <p:spPr>
          <a:xfrm>
            <a:off x="4190031" y="3766451"/>
            <a:ext cx="7937" cy="1990725"/>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0" name="Straight Connector 9">
            <a:extLst>
              <a:ext uri="{FF2B5EF4-FFF2-40B4-BE49-F238E27FC236}">
                <a16:creationId xmlns:a16="http://schemas.microsoft.com/office/drawing/2014/main" id="{2A904D48-4B83-5BF3-D639-51D8FAB1FCCD}"/>
              </a:ext>
            </a:extLst>
          </p:cNvPr>
          <p:cNvCxnSpPr/>
          <p:nvPr userDrawn="1"/>
        </p:nvCxnSpPr>
        <p:spPr>
          <a:xfrm>
            <a:off x="7991475" y="3766451"/>
            <a:ext cx="7937" cy="1990725"/>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1" name="Straight Connector 10">
            <a:extLst>
              <a:ext uri="{FF2B5EF4-FFF2-40B4-BE49-F238E27FC236}">
                <a16:creationId xmlns:a16="http://schemas.microsoft.com/office/drawing/2014/main" id="{03F1CA78-3547-5512-F36A-2F1EEF65A0E0}"/>
              </a:ext>
            </a:extLst>
          </p:cNvPr>
          <p:cNvCxnSpPr/>
          <p:nvPr userDrawn="1"/>
        </p:nvCxnSpPr>
        <p:spPr>
          <a:xfrm>
            <a:off x="4197968" y="1401902"/>
            <a:ext cx="7937" cy="1990725"/>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16" name="Straight Connector 15">
            <a:extLst>
              <a:ext uri="{FF2B5EF4-FFF2-40B4-BE49-F238E27FC236}">
                <a16:creationId xmlns:a16="http://schemas.microsoft.com/office/drawing/2014/main" id="{7561E445-AB46-12BB-71E4-C5DB6124E6E7}"/>
              </a:ext>
            </a:extLst>
          </p:cNvPr>
          <p:cNvCxnSpPr/>
          <p:nvPr userDrawn="1"/>
        </p:nvCxnSpPr>
        <p:spPr>
          <a:xfrm>
            <a:off x="7999412" y="1401902"/>
            <a:ext cx="7937" cy="1990725"/>
          </a:xfrm>
          <a:prstGeom prst="line">
            <a:avLst/>
          </a:prstGeom>
          <a:ln>
            <a:solidFill>
              <a:schemeClr val="accent3">
                <a:lumMod val="20000"/>
                <a:lumOff val="80000"/>
              </a:schemeClr>
            </a:solidFill>
          </a:ln>
        </p:spPr>
        <p:style>
          <a:lnRef idx="1">
            <a:schemeClr val="accent2"/>
          </a:lnRef>
          <a:fillRef idx="0">
            <a:schemeClr val="accent2"/>
          </a:fillRef>
          <a:effectRef idx="0">
            <a:schemeClr val="accent2"/>
          </a:effectRef>
          <a:fontRef idx="minor">
            <a:schemeClr val="tx1"/>
          </a:fontRef>
        </p:style>
      </p:cxnSp>
      <p:sp>
        <p:nvSpPr>
          <p:cNvPr id="5" name="Rectangle 4">
            <a:extLst>
              <a:ext uri="{FF2B5EF4-FFF2-40B4-BE49-F238E27FC236}">
                <a16:creationId xmlns:a16="http://schemas.microsoft.com/office/drawing/2014/main" id="{A8E08B8C-3D67-710F-F333-4E871126F2E1}"/>
              </a:ext>
            </a:extLst>
          </p:cNvPr>
          <p:cNvSpPr/>
          <p:nvPr userDrawn="1"/>
        </p:nvSpPr>
        <p:spPr>
          <a:xfrm>
            <a:off x="10273" y="20548"/>
            <a:ext cx="1335640" cy="19520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178188071"/>
      </p:ext>
    </p:extLst>
  </p:cSld>
  <p:clrMapOvr>
    <a:masterClrMapping/>
  </p:clrMapOvr>
  <p:extLst>
    <p:ext uri="{DCECCB84-F9BA-43D5-87BE-67443E8EF086}">
      <p15:sldGuideLst xmlns:p15="http://schemas.microsoft.com/office/powerpoint/2012/main">
        <p15:guide id="1" pos="551">
          <p15:clr>
            <a:srgbClr val="5ACBF0"/>
          </p15:clr>
        </p15:guide>
        <p15:guide id="2" pos="2479">
          <p15:clr>
            <a:srgbClr val="5ACBF0"/>
          </p15:clr>
        </p15:guide>
        <p15:guide id="3" pos="2955">
          <p15:clr>
            <a:srgbClr val="5ACBF0"/>
          </p15:clr>
        </p15:guide>
        <p15:guide id="4" pos="4861">
          <p15:clr>
            <a:srgbClr val="5ACBF0"/>
          </p15:clr>
        </p15:guide>
        <p15:guide id="5" pos="7242">
          <p15:clr>
            <a:srgbClr val="5ACBF0"/>
          </p15:clr>
        </p15:guide>
        <p15:guide id="6" pos="5337">
          <p15:clr>
            <a:srgbClr val="5ACBF0"/>
          </p15:clr>
        </p15:guide>
        <p15:guide id="7" orient="horz" pos="1094">
          <p15:clr>
            <a:srgbClr val="5ACBF0"/>
          </p15:clr>
        </p15:guide>
        <p15:guide id="8" orient="horz" pos="1933">
          <p15:clr>
            <a:srgbClr val="5ACBF0"/>
          </p15:clr>
        </p15:guide>
        <p15:guide id="9" orient="horz" pos="799">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4 Content -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EDB8D-BB16-95A9-2AFF-8F5077DF04D9}"/>
              </a:ext>
            </a:extLst>
          </p:cNvPr>
          <p:cNvSpPr>
            <a:spLocks noGrp="1"/>
          </p:cNvSpPr>
          <p:nvPr>
            <p:ph type="title"/>
          </p:nvPr>
        </p:nvSpPr>
        <p:spPr>
          <a:noFill/>
        </p:spPr>
        <p:txBody>
          <a:bodyPr lIns="0"/>
          <a:lstStyle/>
          <a:p>
            <a:r>
              <a:rPr lang="en-US"/>
              <a:t>Click to edit Master title style</a:t>
            </a:r>
            <a:endParaRPr lang="en-GB"/>
          </a:p>
        </p:txBody>
      </p:sp>
      <p:sp>
        <p:nvSpPr>
          <p:cNvPr id="3" name="Slide Number Placeholder 2">
            <a:extLst>
              <a:ext uri="{FF2B5EF4-FFF2-40B4-BE49-F238E27FC236}">
                <a16:creationId xmlns:a16="http://schemas.microsoft.com/office/drawing/2014/main" id="{F6A6F3C7-49FD-B21D-A71C-794307806CB1}"/>
              </a:ext>
            </a:extLst>
          </p:cNvPr>
          <p:cNvSpPr>
            <a:spLocks noGrp="1"/>
          </p:cNvSpPr>
          <p:nvPr>
            <p:ph type="sldNum" sz="quarter" idx="10"/>
          </p:nvPr>
        </p:nvSpPr>
        <p:spPr>
          <a:noFill/>
        </p:spPr>
        <p:txBody>
          <a:bodyPr/>
          <a:lstStyle>
            <a:lvl1pPr>
              <a:defRPr sz="1200">
                <a:solidFill>
                  <a:schemeClr val="tx1"/>
                </a:solidFill>
              </a:defRPr>
            </a:lvl1pPr>
          </a:lstStyle>
          <a:p>
            <a:endParaRPr lang="en-GB"/>
          </a:p>
        </p:txBody>
      </p:sp>
      <p:sp>
        <p:nvSpPr>
          <p:cNvPr id="4" name="Footer Placeholder 3">
            <a:extLst>
              <a:ext uri="{FF2B5EF4-FFF2-40B4-BE49-F238E27FC236}">
                <a16:creationId xmlns:a16="http://schemas.microsoft.com/office/drawing/2014/main" id="{5E7FC5AF-5497-9574-95D6-1D004FDD63BA}"/>
              </a:ext>
            </a:extLst>
          </p:cNvPr>
          <p:cNvSpPr>
            <a:spLocks noGrp="1"/>
          </p:cNvSpPr>
          <p:nvPr>
            <p:ph type="ftr" sz="quarter" idx="11"/>
          </p:nvPr>
        </p:nvSpPr>
        <p:spPr>
          <a:xfrm>
            <a:off x="7350369" y="6429965"/>
            <a:ext cx="3176758" cy="307777"/>
          </a:xfrm>
          <a:prstGeom prst="rect">
            <a:avLst/>
          </a:prstGeom>
          <a:noFill/>
        </p:spPr>
        <p:txBody>
          <a:bodyPr/>
          <a:lstStyle/>
          <a:p>
            <a:r>
              <a:rPr lang="en-US"/>
              <a:t>Battery Value Chain Outlook</a:t>
            </a:r>
            <a:endParaRPr lang="en-GB"/>
          </a:p>
        </p:txBody>
      </p:sp>
      <p:sp>
        <p:nvSpPr>
          <p:cNvPr id="8" name="Content Placeholder 7">
            <a:extLst>
              <a:ext uri="{FF2B5EF4-FFF2-40B4-BE49-F238E27FC236}">
                <a16:creationId xmlns:a16="http://schemas.microsoft.com/office/drawing/2014/main" id="{E6F652E1-5AE3-8D12-6AE0-EDF7EB42FEDC}"/>
              </a:ext>
            </a:extLst>
          </p:cNvPr>
          <p:cNvSpPr>
            <a:spLocks noGrp="1"/>
          </p:cNvSpPr>
          <p:nvPr>
            <p:ph sz="quarter" idx="13" hasCustomPrompt="1"/>
          </p:nvPr>
        </p:nvSpPr>
        <p:spPr>
          <a:xfrm>
            <a:off x="413998" y="1148985"/>
            <a:ext cx="5626800" cy="2340000"/>
          </a:xfrm>
          <a:noFill/>
        </p:spPr>
        <p:txBody>
          <a:bodyPr/>
          <a:lstStyle>
            <a:lvl1pPr algn="ctr">
              <a:defRPr/>
            </a:lvl1pPr>
            <a:lvl5pPr>
              <a:defRPr/>
            </a:lvl5pPr>
          </a:lstStyle>
          <a:p>
            <a:pPr lvl="0"/>
            <a:r>
              <a:rPr lang="en-US"/>
              <a:t>Insert Chart</a:t>
            </a:r>
            <a:endParaRPr lang="en-GB"/>
          </a:p>
        </p:txBody>
      </p:sp>
      <p:sp>
        <p:nvSpPr>
          <p:cNvPr id="12" name="Text Placeholder 11">
            <a:extLst>
              <a:ext uri="{FF2B5EF4-FFF2-40B4-BE49-F238E27FC236}">
                <a16:creationId xmlns:a16="http://schemas.microsoft.com/office/drawing/2014/main" id="{DFF99DE8-25FC-38ED-B97E-A773CF055A5D}"/>
              </a:ext>
            </a:extLst>
          </p:cNvPr>
          <p:cNvSpPr>
            <a:spLocks noGrp="1"/>
          </p:cNvSpPr>
          <p:nvPr>
            <p:ph type="body" sz="quarter" idx="15" hasCustomPrompt="1"/>
          </p:nvPr>
        </p:nvSpPr>
        <p:spPr>
          <a:xfrm>
            <a:off x="412750" y="6007000"/>
            <a:ext cx="11377250" cy="215999"/>
          </a:xfrm>
          <a:noFill/>
        </p:spPr>
        <p:txBody>
          <a:bodyPr lIns="0"/>
          <a:lstStyle>
            <a:lvl1pPr>
              <a:defRPr sz="1050">
                <a:solidFill>
                  <a:schemeClr val="tx1"/>
                </a:solidFill>
              </a:defRPr>
            </a:lvl1pPr>
            <a:lvl5pPr>
              <a:defRPr sz="1050">
                <a:solidFill>
                  <a:schemeClr val="tx1"/>
                </a:solidFill>
              </a:defRPr>
            </a:lvl5pPr>
          </a:lstStyle>
          <a:p>
            <a:pPr lvl="0"/>
            <a:r>
              <a:rPr lang="en-US"/>
              <a:t>DATA: CRU</a:t>
            </a:r>
            <a:endParaRPr lang="en-GB"/>
          </a:p>
        </p:txBody>
      </p:sp>
      <p:sp>
        <p:nvSpPr>
          <p:cNvPr id="7" name="Content Placeholder 7">
            <a:extLst>
              <a:ext uri="{FF2B5EF4-FFF2-40B4-BE49-F238E27FC236}">
                <a16:creationId xmlns:a16="http://schemas.microsoft.com/office/drawing/2014/main" id="{301ACA0B-90BD-21BF-F5A6-4461A144284D}"/>
              </a:ext>
            </a:extLst>
          </p:cNvPr>
          <p:cNvSpPr>
            <a:spLocks noGrp="1"/>
          </p:cNvSpPr>
          <p:nvPr>
            <p:ph sz="quarter" idx="17" hasCustomPrompt="1"/>
          </p:nvPr>
        </p:nvSpPr>
        <p:spPr>
          <a:xfrm>
            <a:off x="413025" y="3592476"/>
            <a:ext cx="5626800" cy="2340000"/>
          </a:xfrm>
          <a:noFill/>
        </p:spPr>
        <p:txBody>
          <a:bodyPr/>
          <a:lstStyle>
            <a:lvl1pPr algn="ctr">
              <a:defRPr/>
            </a:lvl1pPr>
            <a:lvl5pPr>
              <a:defRPr/>
            </a:lvl5pPr>
          </a:lstStyle>
          <a:p>
            <a:pPr lvl="0"/>
            <a:r>
              <a:rPr lang="en-US"/>
              <a:t>Insert Chart</a:t>
            </a:r>
            <a:endParaRPr lang="en-GB"/>
          </a:p>
        </p:txBody>
      </p:sp>
      <p:sp>
        <p:nvSpPr>
          <p:cNvPr id="11" name="Content Placeholder 7">
            <a:extLst>
              <a:ext uri="{FF2B5EF4-FFF2-40B4-BE49-F238E27FC236}">
                <a16:creationId xmlns:a16="http://schemas.microsoft.com/office/drawing/2014/main" id="{D63835D9-5A9C-436E-DE0E-681C84B793FD}"/>
              </a:ext>
            </a:extLst>
          </p:cNvPr>
          <p:cNvSpPr>
            <a:spLocks noGrp="1"/>
          </p:cNvSpPr>
          <p:nvPr>
            <p:ph sz="quarter" idx="19" hasCustomPrompt="1"/>
          </p:nvPr>
        </p:nvSpPr>
        <p:spPr>
          <a:xfrm>
            <a:off x="6156689" y="3592476"/>
            <a:ext cx="5626800" cy="2340000"/>
          </a:xfrm>
          <a:noFill/>
        </p:spPr>
        <p:txBody>
          <a:bodyPr/>
          <a:lstStyle>
            <a:lvl1pPr algn="ctr">
              <a:defRPr/>
            </a:lvl1pPr>
            <a:lvl5pPr>
              <a:defRPr/>
            </a:lvl5pPr>
          </a:lstStyle>
          <a:p>
            <a:pPr lvl="0"/>
            <a:r>
              <a:rPr lang="en-US"/>
              <a:t>Insert Chart</a:t>
            </a:r>
            <a:endParaRPr lang="en-GB"/>
          </a:p>
        </p:txBody>
      </p:sp>
      <p:sp>
        <p:nvSpPr>
          <p:cNvPr id="14" name="Content Placeholder 7">
            <a:extLst>
              <a:ext uri="{FF2B5EF4-FFF2-40B4-BE49-F238E27FC236}">
                <a16:creationId xmlns:a16="http://schemas.microsoft.com/office/drawing/2014/main" id="{CB8F5FCB-FB91-1CC1-0B13-4616C17F6F8D}"/>
              </a:ext>
            </a:extLst>
          </p:cNvPr>
          <p:cNvSpPr>
            <a:spLocks noGrp="1"/>
          </p:cNvSpPr>
          <p:nvPr>
            <p:ph sz="quarter" idx="21" hasCustomPrompt="1"/>
          </p:nvPr>
        </p:nvSpPr>
        <p:spPr>
          <a:xfrm>
            <a:off x="6156688" y="1148985"/>
            <a:ext cx="5626800" cy="2340000"/>
          </a:xfrm>
          <a:noFill/>
        </p:spPr>
        <p:txBody>
          <a:bodyPr/>
          <a:lstStyle>
            <a:lvl1pPr algn="ctr">
              <a:defRPr/>
            </a:lvl1pPr>
            <a:lvl5pPr>
              <a:defRPr/>
            </a:lvl5pPr>
          </a:lstStyle>
          <a:p>
            <a:pPr lvl="0"/>
            <a:r>
              <a:rPr lang="en-US"/>
              <a:t>Insert Chart</a:t>
            </a:r>
            <a:endParaRPr lang="en-GB"/>
          </a:p>
        </p:txBody>
      </p:sp>
      <p:sp>
        <p:nvSpPr>
          <p:cNvPr id="5" name="Rectangle 4">
            <a:extLst>
              <a:ext uri="{FF2B5EF4-FFF2-40B4-BE49-F238E27FC236}">
                <a16:creationId xmlns:a16="http://schemas.microsoft.com/office/drawing/2014/main" id="{0A260A3E-E86E-35EF-6902-4C45EE681BCD}"/>
              </a:ext>
            </a:extLst>
          </p:cNvPr>
          <p:cNvSpPr/>
          <p:nvPr userDrawn="1"/>
        </p:nvSpPr>
        <p:spPr>
          <a:xfrm>
            <a:off x="10273" y="20548"/>
            <a:ext cx="1335640" cy="19520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637255698"/>
      </p:ext>
    </p:extLst>
  </p:cSld>
  <p:clrMapOvr>
    <a:masterClrMapping/>
  </p:clrMapOvr>
  <p:extLst>
    <p:ext uri="{DCECCB84-F9BA-43D5-87BE-67443E8EF086}">
      <p15:sldGuideLst xmlns:p15="http://schemas.microsoft.com/office/powerpoint/2012/main">
        <p15:guide id="1" pos="665">
          <p15:clr>
            <a:srgbClr val="5ACBF0"/>
          </p15:clr>
        </p15:guide>
        <p15:guide id="2" pos="2434">
          <p15:clr>
            <a:srgbClr val="5ACBF0"/>
          </p15:clr>
        </p15:guide>
        <p15:guide id="3" pos="3069">
          <p15:clr>
            <a:srgbClr val="5ACBF0"/>
          </p15:clr>
        </p15:guide>
        <p15:guide id="4" pos="4838">
          <p15:clr>
            <a:srgbClr val="5ACBF0"/>
          </p15:clr>
        </p15:guide>
        <p15:guide id="5" orient="horz" pos="1071">
          <p15:clr>
            <a:srgbClr val="5ACBF0"/>
          </p15:clr>
        </p15:guide>
        <p15:guide id="6" orient="horz" pos="1911">
          <p15:clr>
            <a:srgbClr val="5ACBF0"/>
          </p15:clr>
        </p15:guide>
        <p15:guide id="7" orient="horz" pos="3521">
          <p15:clr>
            <a:srgbClr val="5ACBF0"/>
          </p15:clr>
        </p15:guide>
        <p15:guide id="8" orient="horz" pos="2636">
          <p15:clr>
            <a:srgbClr val="5ACBF0"/>
          </p15:clr>
        </p15:guide>
        <p15:guide id="9" orient="horz" pos="799">
          <p15:clr>
            <a:srgbClr val="F26B43"/>
          </p15:clr>
        </p15:guide>
        <p15:guide id="10" orient="horz" pos="2364">
          <p15:clr>
            <a:srgbClr val="F26B43"/>
          </p15:clr>
        </p15:guide>
        <p15:guide id="11" orient="horz" pos="3725">
          <p15:clr>
            <a:srgbClr val="F26B43"/>
          </p15:clr>
        </p15:guide>
        <p15:guide id="12" pos="5042">
          <p15:clr>
            <a:srgbClr val="F26B43"/>
          </p15:clr>
        </p15:guide>
        <p15:guide id="13" pos="2638">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eam P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581E154-12C6-B32E-8C4E-90F758005B0D}"/>
              </a:ext>
            </a:extLst>
          </p:cNvPr>
          <p:cNvGraphicFramePr>
            <a:graphicFrameLocks noChangeAspect="1"/>
          </p:cNvGraphicFramePr>
          <p:nvPr userDrawn="1">
            <p:custDataLst>
              <p:tags r:id="rId2"/>
            </p:custDataLst>
            <p:extLst>
              <p:ext uri="{D42A27DB-BD31-4B8C-83A1-F6EECF244321}">
                <p14:modId xmlns:p14="http://schemas.microsoft.com/office/powerpoint/2010/main" val="620071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4" imgW="351" imgH="351" progId="TCLayout.ActiveDocument.1">
                  <p:embed/>
                </p:oleObj>
              </mc:Choice>
              <mc:Fallback>
                <p:oleObj name="think-cell Slide" r:id="rId4" imgW="351" imgH="351" progId="TCLayout.ActiveDocument.1">
                  <p:embed/>
                  <p:pic>
                    <p:nvPicPr>
                      <p:cNvPr id="5" name="Object 4" hidden="1">
                        <a:extLst>
                          <a:ext uri="{FF2B5EF4-FFF2-40B4-BE49-F238E27FC236}">
                            <a16:creationId xmlns:a16="http://schemas.microsoft.com/office/drawing/2014/main" id="{E581E154-12C6-B32E-8C4E-90F758005B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Rounded Corners 9">
            <a:extLst>
              <a:ext uri="{FF2B5EF4-FFF2-40B4-BE49-F238E27FC236}">
                <a16:creationId xmlns:a16="http://schemas.microsoft.com/office/drawing/2014/main" id="{FAE624B0-5547-F5EA-E417-94D7B3A020E3}"/>
              </a:ext>
            </a:extLst>
          </p:cNvPr>
          <p:cNvSpPr/>
          <p:nvPr userDrawn="1"/>
        </p:nvSpPr>
        <p:spPr>
          <a:xfrm>
            <a:off x="536240" y="1324723"/>
            <a:ext cx="3200873" cy="1488767"/>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Picture Placeholder 35">
            <a:extLst>
              <a:ext uri="{FF2B5EF4-FFF2-40B4-BE49-F238E27FC236}">
                <a16:creationId xmlns:a16="http://schemas.microsoft.com/office/drawing/2014/main" id="{316DD513-D78D-1467-2CE4-9E3E97407AC1}"/>
              </a:ext>
            </a:extLst>
          </p:cNvPr>
          <p:cNvSpPr>
            <a:spLocks noGrp="1"/>
          </p:cNvSpPr>
          <p:nvPr>
            <p:ph type="pic" sz="quarter" idx="22" hasCustomPrompt="1"/>
          </p:nvPr>
        </p:nvSpPr>
        <p:spPr>
          <a:xfrm>
            <a:off x="646043" y="1405826"/>
            <a:ext cx="617260" cy="631696"/>
          </a:xfrm>
          <a:prstGeom prst="roundRect">
            <a:avLst>
              <a:gd name="adj" fmla="val 0"/>
            </a:avLst>
          </a:prstGeom>
        </p:spPr>
        <p:txBody>
          <a:bodyPr>
            <a:normAutofit/>
          </a:bodyPr>
          <a:lstStyle>
            <a:lvl1pPr algn="ctr">
              <a:defRPr sz="900"/>
            </a:lvl1pPr>
          </a:lstStyle>
          <a:p>
            <a:r>
              <a:rPr lang="en-US"/>
              <a:t>Add photo</a:t>
            </a:r>
            <a:endParaRPr lang="en-GB"/>
          </a:p>
        </p:txBody>
      </p:sp>
      <p:sp>
        <p:nvSpPr>
          <p:cNvPr id="34" name="Content Placeholder 16">
            <a:extLst>
              <a:ext uri="{FF2B5EF4-FFF2-40B4-BE49-F238E27FC236}">
                <a16:creationId xmlns:a16="http://schemas.microsoft.com/office/drawing/2014/main" id="{C68F7F20-C153-6BBF-D4F1-1B5EFF3660D3}"/>
              </a:ext>
            </a:extLst>
          </p:cNvPr>
          <p:cNvSpPr>
            <a:spLocks noGrp="1"/>
          </p:cNvSpPr>
          <p:nvPr>
            <p:ph sz="quarter" idx="36" hasCustomPrompt="1"/>
          </p:nvPr>
        </p:nvSpPr>
        <p:spPr>
          <a:xfrm>
            <a:off x="655982" y="2067340"/>
            <a:ext cx="2971800" cy="694304"/>
          </a:xfrm>
        </p:spPr>
        <p:txBody>
          <a:bodyPr>
            <a:noAutofit/>
          </a:bodyPr>
          <a:lstStyle>
            <a:lvl1pPr>
              <a:lnSpc>
                <a:spcPct val="100000"/>
              </a:lnSpc>
              <a:spcBef>
                <a:spcPts val="0"/>
              </a:spcBef>
              <a:defRPr sz="900" b="0">
                <a:solidFill>
                  <a:schemeClr val="tx1"/>
                </a:solidFill>
              </a:defRPr>
            </a:lvl1pPr>
            <a:lvl2pPr>
              <a:defRPr/>
            </a:lvl2pPr>
          </a:lstStyle>
          <a:p>
            <a:pPr>
              <a:spcAft>
                <a:spcPts val="0"/>
              </a:spcAft>
            </a:pPr>
            <a:r>
              <a:rPr lang="en-GB" sz="1050"/>
              <a:t>Title</a:t>
            </a:r>
          </a:p>
          <a:p>
            <a:pPr>
              <a:spcAft>
                <a:spcPts val="0"/>
              </a:spcAft>
            </a:pPr>
            <a:r>
              <a:rPr lang="en-GB" sz="1050"/>
              <a:t>+44 20 7903 ####</a:t>
            </a:r>
            <a:br>
              <a:rPr lang="en-GB" sz="1050"/>
            </a:br>
            <a:r>
              <a:rPr lang="en-GB" sz="1050">
                <a:hlinkClick r:id="rId6">
                  <a:extLst>
                    <a:ext uri="{A12FA001-AC4F-418D-AE19-62706E023703}">
                      <ahyp:hlinkClr xmlns:ahyp="http://schemas.microsoft.com/office/drawing/2018/hyperlinkcolor" xmlns="" val="tx"/>
                    </a:ext>
                  </a:extLst>
                </a:hlinkClick>
              </a:rPr>
              <a:t>forename.surname@crugroup.com</a:t>
            </a:r>
            <a:endParaRPr lang="en-GB" sz="1050"/>
          </a:p>
        </p:txBody>
      </p:sp>
      <p:sp>
        <p:nvSpPr>
          <p:cNvPr id="35" name="Title 1">
            <a:extLst>
              <a:ext uri="{FF2B5EF4-FFF2-40B4-BE49-F238E27FC236}">
                <a16:creationId xmlns:a16="http://schemas.microsoft.com/office/drawing/2014/main" id="{820141C6-811C-1496-E441-5E0335BD5F2B}"/>
              </a:ext>
            </a:extLst>
          </p:cNvPr>
          <p:cNvSpPr>
            <a:spLocks noGrp="1"/>
          </p:cNvSpPr>
          <p:nvPr>
            <p:ph type="ctrTitle" hasCustomPrompt="1"/>
          </p:nvPr>
        </p:nvSpPr>
        <p:spPr>
          <a:xfrm>
            <a:off x="1076400" y="329400"/>
            <a:ext cx="10386000" cy="648000"/>
          </a:xfrm>
          <a:prstGeom prst="rect">
            <a:avLst/>
          </a:prstGeom>
        </p:spPr>
        <p:txBody>
          <a:bodyPr vert="horz" lIns="36000" anchor="ctr" anchorCtr="0">
            <a:normAutofit/>
          </a:bodyPr>
          <a:lstStyle>
            <a:lvl1pPr algn="l">
              <a:defRPr sz="2400" b="0">
                <a:solidFill>
                  <a:schemeClr val="accent6"/>
                </a:solidFill>
              </a:defRPr>
            </a:lvl1pPr>
          </a:lstStyle>
          <a:p>
            <a:r>
              <a:rPr lang="en-GB"/>
              <a:t>Team</a:t>
            </a:r>
          </a:p>
        </p:txBody>
      </p:sp>
      <p:sp>
        <p:nvSpPr>
          <p:cNvPr id="6" name="Content Placeholder 16">
            <a:extLst>
              <a:ext uri="{FF2B5EF4-FFF2-40B4-BE49-F238E27FC236}">
                <a16:creationId xmlns:a16="http://schemas.microsoft.com/office/drawing/2014/main" id="{A66053A2-6C75-499D-D45E-B5863D4524A5}"/>
              </a:ext>
            </a:extLst>
          </p:cNvPr>
          <p:cNvSpPr>
            <a:spLocks noGrp="1"/>
          </p:cNvSpPr>
          <p:nvPr>
            <p:ph sz="quarter" idx="39" hasCustomPrompt="1"/>
          </p:nvPr>
        </p:nvSpPr>
        <p:spPr>
          <a:xfrm>
            <a:off x="1315278" y="1404731"/>
            <a:ext cx="2302565" cy="624731"/>
          </a:xfrm>
        </p:spPr>
        <p:txBody>
          <a:bodyPr anchor="ctr">
            <a:noAutofit/>
          </a:bodyPr>
          <a:lstStyle>
            <a:lvl1pPr>
              <a:defRPr sz="1600">
                <a:solidFill>
                  <a:schemeClr val="tx1"/>
                </a:solidFill>
              </a:defRPr>
            </a:lvl1pPr>
            <a:lvl2pPr>
              <a:defRPr/>
            </a:lvl2pPr>
          </a:lstStyle>
          <a:p>
            <a:r>
              <a:rPr lang="en-GB" b="1"/>
              <a:t>Forename Surname</a:t>
            </a:r>
          </a:p>
        </p:txBody>
      </p:sp>
      <p:cxnSp>
        <p:nvCxnSpPr>
          <p:cNvPr id="8" name="Straight Connector 7">
            <a:extLst>
              <a:ext uri="{FF2B5EF4-FFF2-40B4-BE49-F238E27FC236}">
                <a16:creationId xmlns:a16="http://schemas.microsoft.com/office/drawing/2014/main" id="{3A80A350-EF92-135F-4301-688D3A079558}"/>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924A05CC-2FEE-853D-7F8F-6500D93D85A2}"/>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3EB130DC-0D21-1E15-E0C6-0E896C32BCFA}"/>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0B6B9D07-B0CA-DB18-CB71-2D01C232952A}"/>
              </a:ext>
            </a:extLst>
          </p:cNvPr>
          <p:cNvSpPr txBox="1"/>
          <p:nvPr userDrawn="1"/>
        </p:nvSpPr>
        <p:spPr>
          <a:xfrm>
            <a:off x="2623437" y="6430876"/>
            <a:ext cx="2455460" cy="307777"/>
          </a:xfrm>
          <a:prstGeom prst="rect">
            <a:avLst/>
          </a:prstGeom>
          <a:noFill/>
          <a:ln>
            <a:noFill/>
          </a:ln>
        </p:spPr>
        <p:txBody>
          <a:bodyPr wrap="square">
            <a:spAutoFit/>
          </a:bodyPr>
          <a:lstStyle/>
          <a:p>
            <a:r>
              <a:rPr lang="en-GB" sz="1000" b="0" i="0">
                <a:solidFill>
                  <a:schemeClr val="tx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tx1"/>
                </a:solidFill>
                <a:latin typeface="Garamond" panose="02020404030301010803" pitchFamily="18" charset="0"/>
                <a:ea typeface="Helvetica Neue UltraLight" panose="02000206000000020004" pitchFamily="2" charset="0"/>
              </a:rPr>
              <a:t>expert</a:t>
            </a:r>
            <a:r>
              <a:rPr lang="en-GB" sz="1000" b="0" i="0">
                <a:solidFill>
                  <a:schemeClr val="tx1"/>
                </a:solidFill>
                <a:latin typeface="Helvetica Neue UltraLight" panose="02000206000000020004" pitchFamily="2" charset="0"/>
                <a:ea typeface="Helvetica Neue UltraLight" panose="02000206000000020004" pitchFamily="2" charset="0"/>
              </a:rPr>
              <a:t> </a:t>
            </a:r>
            <a:r>
              <a:rPr lang="en-GB" sz="1000" b="0" i="0">
                <a:solidFill>
                  <a:schemeClr val="tx1"/>
                </a:solidFill>
                <a:latin typeface="Arial" panose="020B0604020202020204" pitchFamily="34" charset="0"/>
                <a:ea typeface="Helvetica Neue Thin" panose="020B0403020202020204" pitchFamily="34" charset="0"/>
                <a:cs typeface="Arial" panose="020B0604020202020204" pitchFamily="34" charset="0"/>
              </a:rPr>
              <a:t>intelligence</a:t>
            </a:r>
          </a:p>
        </p:txBody>
      </p:sp>
      <p:cxnSp>
        <p:nvCxnSpPr>
          <p:cNvPr id="14" name="Straight Connector 13">
            <a:extLst>
              <a:ext uri="{FF2B5EF4-FFF2-40B4-BE49-F238E27FC236}">
                <a16:creationId xmlns:a16="http://schemas.microsoft.com/office/drawing/2014/main" id="{AB546CAA-7358-0DA5-002D-443820B17593}"/>
              </a:ext>
            </a:extLst>
          </p:cNvPr>
          <p:cNvCxnSpPr>
            <a:cxnSpLocks/>
          </p:cNvCxnSpPr>
          <p:nvPr userDrawn="1"/>
        </p:nvCxnSpPr>
        <p:spPr>
          <a:xfrm>
            <a:off x="27036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00148053-661C-1878-27DA-50B22FA392D2}"/>
              </a:ext>
            </a:extLst>
          </p:cNvPr>
          <p:cNvCxnSpPr>
            <a:cxnSpLocks/>
          </p:cNvCxnSpPr>
          <p:nvPr userDrawn="1"/>
        </p:nvCxnSpPr>
        <p:spPr>
          <a:xfrm>
            <a:off x="54900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DF0CE452-C855-0C56-0130-7FFC627A2009}"/>
              </a:ext>
            </a:extLst>
          </p:cNvPr>
          <p:cNvCxnSpPr>
            <a:cxnSpLocks/>
          </p:cNvCxnSpPr>
          <p:nvPr userDrawn="1"/>
        </p:nvCxnSpPr>
        <p:spPr>
          <a:xfrm>
            <a:off x="74124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EF81B579-3519-62E8-7C39-8031991E0EBC}"/>
              </a:ext>
            </a:extLst>
          </p:cNvPr>
          <p:cNvSpPr txBox="1"/>
          <p:nvPr userDrawn="1"/>
        </p:nvSpPr>
        <p:spPr>
          <a:xfrm>
            <a:off x="11682742" y="6458310"/>
            <a:ext cx="409669" cy="276999"/>
          </a:xfrm>
          <a:prstGeom prst="rect">
            <a:avLst/>
          </a:prstGeom>
          <a:noFill/>
        </p:spPr>
        <p:txBody>
          <a:bodyPr wrap="square" anchor="ctr">
            <a:spAutoFit/>
          </a:bodyPr>
          <a:lstStyle/>
          <a:p>
            <a:fld id="{562BA7E0-5F5E-EE41-AE8D-BD30ED9E17AD}" type="slidenum">
              <a:rPr lang="en-GB" sz="1200" smtClean="0">
                <a:solidFill>
                  <a:schemeClr val="tx1"/>
                </a:solidFill>
                <a:latin typeface="Arial" panose="020B0604020202020204" pitchFamily="34" charset="0"/>
                <a:cs typeface="Arial" panose="020B0604020202020204" pitchFamily="34" charset="0"/>
              </a:rPr>
              <a:pPr/>
              <a:t>‹#›</a:t>
            </a:fld>
            <a:endParaRPr lang="en-GB" sz="1200">
              <a:solidFill>
                <a:schemeClr val="tx1"/>
              </a:solidFill>
              <a:latin typeface="Arial" panose="020B0604020202020204" pitchFamily="34" charset="0"/>
              <a:cs typeface="Arial" panose="020B0604020202020204" pitchFamily="34" charset="0"/>
            </a:endParaRPr>
          </a:p>
        </p:txBody>
      </p:sp>
      <p:pic>
        <p:nvPicPr>
          <p:cNvPr id="19" name="Picture 18" descr="A logo on a black background&#10;&#10;Description automatically generated">
            <a:extLst>
              <a:ext uri="{FF2B5EF4-FFF2-40B4-BE49-F238E27FC236}">
                <a16:creationId xmlns:a16="http://schemas.microsoft.com/office/drawing/2014/main" id="{C0F5C329-0EEB-0B51-D6DA-616C688658C9}"/>
              </a:ext>
            </a:extLst>
          </p:cNvPr>
          <p:cNvPicPr>
            <a:picLocks noChangeAspect="1"/>
          </p:cNvPicPr>
          <p:nvPr userDrawn="1"/>
        </p:nvPicPr>
        <p:blipFill rotWithShape="1">
          <a:blip r:embed="rId7"/>
          <a:srcRect l="7819" t="33017" r="74362" b="36885"/>
          <a:stretch/>
        </p:blipFill>
        <p:spPr>
          <a:xfrm>
            <a:off x="263816" y="329400"/>
            <a:ext cx="682031" cy="648000"/>
          </a:xfrm>
          <a:prstGeom prst="rect">
            <a:avLst/>
          </a:prstGeom>
        </p:spPr>
      </p:pic>
      <p:sp>
        <p:nvSpPr>
          <p:cNvPr id="3" name="Footer Placeholder 4">
            <a:extLst>
              <a:ext uri="{FF2B5EF4-FFF2-40B4-BE49-F238E27FC236}">
                <a16:creationId xmlns:a16="http://schemas.microsoft.com/office/drawing/2014/main" id="{F9C4B2B8-F44A-8FDA-C1AD-6424EE0D5B90}"/>
              </a:ext>
            </a:extLst>
          </p:cNvPr>
          <p:cNvSpPr>
            <a:spLocks noGrp="1"/>
          </p:cNvSpPr>
          <p:nvPr>
            <p:ph type="ftr" sz="quarter" idx="3"/>
          </p:nvPr>
        </p:nvSpPr>
        <p:spPr>
          <a:xfrm>
            <a:off x="7350369" y="6429964"/>
            <a:ext cx="3176758" cy="309600"/>
          </a:xfrm>
          <a:prstGeom prst="rect">
            <a:avLst/>
          </a:prstGeom>
          <a:ln>
            <a:noFill/>
          </a:ln>
        </p:spPr>
        <p:txBody>
          <a:bodyPr vert="horz" lIns="91440" tIns="45720" rIns="91440" bIns="45720" rtlCol="0" anchor="ctr"/>
          <a:lstStyle>
            <a:lvl1pPr algn="l">
              <a:defRPr sz="1000" b="0" i="0">
                <a:solidFill>
                  <a:schemeClr val="tx1"/>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Battery Value Chain Outlook</a:t>
            </a:r>
            <a:endParaRPr lang="en-GB"/>
          </a:p>
        </p:txBody>
      </p:sp>
      <p:sp>
        <p:nvSpPr>
          <p:cNvPr id="7" name="TextBox 6">
            <a:extLst>
              <a:ext uri="{FF2B5EF4-FFF2-40B4-BE49-F238E27FC236}">
                <a16:creationId xmlns:a16="http://schemas.microsoft.com/office/drawing/2014/main" id="{61C21230-0854-6359-BC4D-8832DDBED263}"/>
              </a:ext>
            </a:extLst>
          </p:cNvPr>
          <p:cNvSpPr txBox="1"/>
          <p:nvPr userDrawn="1"/>
        </p:nvSpPr>
        <p:spPr>
          <a:xfrm>
            <a:off x="5476126" y="6446265"/>
            <a:ext cx="1286726" cy="276999"/>
          </a:xfrm>
          <a:prstGeom prst="rect">
            <a:avLst/>
          </a:prstGeom>
          <a:noFill/>
          <a:ln>
            <a:noFill/>
          </a:ln>
        </p:spPr>
        <p:txBody>
          <a:bodyPr wrap="square">
            <a:spAutoFit/>
          </a:bodyPr>
          <a:lstStyle/>
          <a:p>
            <a:pPr algn="ctr"/>
            <a:r>
              <a:rPr lang="en-GB" sz="1200" b="0" i="1">
                <a:solidFill>
                  <a:schemeClr val="tx1">
                    <a:lumMod val="50000"/>
                  </a:schemeClr>
                </a:solidFill>
                <a:latin typeface="Garamond" panose="02020404030301010803" pitchFamily="18" charset="0"/>
                <a:ea typeface="Helvetica Neue Thin" panose="020B0403020202020204" pitchFamily="34" charset="0"/>
                <a:cs typeface="Arial" panose="020B0604020202020204" pitchFamily="34" charset="0"/>
              </a:rPr>
              <a:t>June 2025</a:t>
            </a:r>
          </a:p>
        </p:txBody>
      </p:sp>
    </p:spTree>
    <p:extLst>
      <p:ext uri="{BB962C8B-B14F-4D97-AF65-F5344CB8AC3E}">
        <p14:creationId xmlns:p14="http://schemas.microsoft.com/office/powerpoint/2010/main" val="1521189239"/>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581E154-12C6-B32E-8C4E-90F758005B0D}"/>
              </a:ext>
            </a:extLst>
          </p:cNvPr>
          <p:cNvGraphicFramePr>
            <a:graphicFrameLocks noChangeAspect="1"/>
          </p:cNvGraphicFramePr>
          <p:nvPr userDrawn="1">
            <p:custDataLst>
              <p:tags r:id="rId2"/>
            </p:custDataLst>
            <p:extLst>
              <p:ext uri="{D42A27DB-BD31-4B8C-83A1-F6EECF244321}">
                <p14:modId xmlns:p14="http://schemas.microsoft.com/office/powerpoint/2010/main" val="620071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4" imgW="351" imgH="351" progId="TCLayout.ActiveDocument.1">
                  <p:embed/>
                </p:oleObj>
              </mc:Choice>
              <mc:Fallback>
                <p:oleObj name="think-cell Slide" r:id="rId4" imgW="351" imgH="351" progId="TCLayout.ActiveDocument.1">
                  <p:embed/>
                  <p:pic>
                    <p:nvPicPr>
                      <p:cNvPr id="5" name="Object 4" hidden="1">
                        <a:extLst>
                          <a:ext uri="{FF2B5EF4-FFF2-40B4-BE49-F238E27FC236}">
                            <a16:creationId xmlns:a16="http://schemas.microsoft.com/office/drawing/2014/main" id="{E581E154-12C6-B32E-8C4E-90F758005B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Picture Placeholder 5">
            <a:extLst>
              <a:ext uri="{FF2B5EF4-FFF2-40B4-BE49-F238E27FC236}">
                <a16:creationId xmlns:a16="http://schemas.microsoft.com/office/drawing/2014/main" id="{36DA5A59-BF83-DE0C-5917-402DFEFB8C38}"/>
              </a:ext>
            </a:extLst>
          </p:cNvPr>
          <p:cNvSpPr>
            <a:spLocks noGrp="1" noChangeAspect="1"/>
          </p:cNvSpPr>
          <p:nvPr>
            <p:ph type="pic" sz="quarter" idx="18" hasCustomPrompt="1"/>
          </p:nvPr>
        </p:nvSpPr>
        <p:spPr>
          <a:xfrm>
            <a:off x="422367" y="1549106"/>
            <a:ext cx="2738486" cy="1224000"/>
          </a:xfrm>
        </p:spPr>
        <p:txBody>
          <a:bodyPr/>
          <a:lstStyle>
            <a:lvl1pPr algn="ctr">
              <a:defRPr b="0"/>
            </a:lvl1pPr>
          </a:lstStyle>
          <a:p>
            <a:r>
              <a:rPr lang="en-US"/>
              <a:t>Drag n drop section slide</a:t>
            </a:r>
            <a:endParaRPr lang="en-GB"/>
          </a:p>
        </p:txBody>
      </p:sp>
      <p:sp>
        <p:nvSpPr>
          <p:cNvPr id="7" name="Picture Placeholder 7">
            <a:extLst>
              <a:ext uri="{FF2B5EF4-FFF2-40B4-BE49-F238E27FC236}">
                <a16:creationId xmlns:a16="http://schemas.microsoft.com/office/drawing/2014/main" id="{50662AE9-18DD-C207-B02D-8ABAE44B1083}"/>
              </a:ext>
            </a:extLst>
          </p:cNvPr>
          <p:cNvSpPr>
            <a:spLocks noGrp="1" noChangeAspect="1"/>
          </p:cNvSpPr>
          <p:nvPr>
            <p:ph type="pic" sz="quarter" idx="19" hasCustomPrompt="1"/>
          </p:nvPr>
        </p:nvSpPr>
        <p:spPr>
          <a:xfrm>
            <a:off x="3254114" y="1549106"/>
            <a:ext cx="2839907" cy="1224000"/>
          </a:xfrm>
        </p:spPr>
        <p:txBody>
          <a:bodyPr/>
          <a:lstStyle>
            <a:lvl1pPr algn="ctr">
              <a:defRPr b="0"/>
            </a:lvl1pPr>
          </a:lstStyle>
          <a:p>
            <a:r>
              <a:rPr lang="en-US"/>
              <a:t>Drag n drop section slide</a:t>
            </a:r>
            <a:endParaRPr lang="en-GB"/>
          </a:p>
        </p:txBody>
      </p:sp>
      <p:sp>
        <p:nvSpPr>
          <p:cNvPr id="8" name="Picture Placeholder 7">
            <a:extLst>
              <a:ext uri="{FF2B5EF4-FFF2-40B4-BE49-F238E27FC236}">
                <a16:creationId xmlns:a16="http://schemas.microsoft.com/office/drawing/2014/main" id="{8C715289-9D6C-7FA2-0770-999CDEF06C80}"/>
              </a:ext>
            </a:extLst>
          </p:cNvPr>
          <p:cNvSpPr>
            <a:spLocks noGrp="1" noChangeAspect="1"/>
          </p:cNvSpPr>
          <p:nvPr>
            <p:ph type="pic" sz="quarter" idx="20" hasCustomPrompt="1"/>
          </p:nvPr>
        </p:nvSpPr>
        <p:spPr>
          <a:xfrm>
            <a:off x="6184145" y="1549106"/>
            <a:ext cx="2839907" cy="1224000"/>
          </a:xfrm>
        </p:spPr>
        <p:txBody>
          <a:bodyPr/>
          <a:lstStyle>
            <a:lvl1pPr algn="ctr">
              <a:defRPr b="0"/>
            </a:lvl1pPr>
          </a:lstStyle>
          <a:p>
            <a:r>
              <a:rPr lang="en-US"/>
              <a:t>Drag n drop section slide</a:t>
            </a:r>
            <a:endParaRPr lang="en-GB"/>
          </a:p>
        </p:txBody>
      </p:sp>
      <p:sp>
        <p:nvSpPr>
          <p:cNvPr id="9" name="Picture Placeholder 7">
            <a:extLst>
              <a:ext uri="{FF2B5EF4-FFF2-40B4-BE49-F238E27FC236}">
                <a16:creationId xmlns:a16="http://schemas.microsoft.com/office/drawing/2014/main" id="{81D0CD92-68B7-E0B2-74A8-FBFD382598FA}"/>
              </a:ext>
            </a:extLst>
          </p:cNvPr>
          <p:cNvSpPr>
            <a:spLocks noGrp="1" noChangeAspect="1"/>
          </p:cNvSpPr>
          <p:nvPr>
            <p:ph type="pic" sz="quarter" idx="21" hasCustomPrompt="1"/>
          </p:nvPr>
        </p:nvSpPr>
        <p:spPr>
          <a:xfrm>
            <a:off x="9114177" y="1549106"/>
            <a:ext cx="2839907" cy="1224000"/>
          </a:xfrm>
        </p:spPr>
        <p:txBody>
          <a:bodyPr/>
          <a:lstStyle>
            <a:lvl1pPr algn="ctr">
              <a:defRPr b="0"/>
            </a:lvl1pPr>
          </a:lstStyle>
          <a:p>
            <a:r>
              <a:rPr lang="en-US"/>
              <a:t>Drag n drop section slide</a:t>
            </a:r>
            <a:endParaRPr lang="en-GB"/>
          </a:p>
        </p:txBody>
      </p:sp>
      <p:pic>
        <p:nvPicPr>
          <p:cNvPr id="3" name="Picture 2">
            <a:extLst>
              <a:ext uri="{FF2B5EF4-FFF2-40B4-BE49-F238E27FC236}">
                <a16:creationId xmlns:a16="http://schemas.microsoft.com/office/drawing/2014/main" id="{1E9453E1-634C-4A45-A6C2-46A9F05D3C6D}"/>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22368" y="6210000"/>
            <a:ext cx="606504" cy="576000"/>
          </a:xfrm>
          <a:prstGeom prst="rect">
            <a:avLst/>
          </a:prstGeom>
        </p:spPr>
      </p:pic>
      <p:sp>
        <p:nvSpPr>
          <p:cNvPr id="16" name="Title 1">
            <a:extLst>
              <a:ext uri="{FF2B5EF4-FFF2-40B4-BE49-F238E27FC236}">
                <a16:creationId xmlns:a16="http://schemas.microsoft.com/office/drawing/2014/main" id="{F687563E-6141-7CD2-D650-D6DAC2DBC9D8}"/>
              </a:ext>
            </a:extLst>
          </p:cNvPr>
          <p:cNvSpPr>
            <a:spLocks noGrp="1"/>
          </p:cNvSpPr>
          <p:nvPr>
            <p:ph type="ctrTitle" hasCustomPrompt="1"/>
          </p:nvPr>
        </p:nvSpPr>
        <p:spPr>
          <a:xfrm>
            <a:off x="1076400" y="329400"/>
            <a:ext cx="10386000" cy="648000"/>
          </a:xfrm>
          <a:prstGeom prst="rect">
            <a:avLst/>
          </a:prstGeom>
        </p:spPr>
        <p:txBody>
          <a:bodyPr vert="horz" lIns="36000" anchor="ctr" anchorCtr="0">
            <a:normAutofit/>
          </a:bodyPr>
          <a:lstStyle>
            <a:lvl1pPr algn="l">
              <a:defRPr sz="2400" b="0">
                <a:solidFill>
                  <a:schemeClr val="accent6"/>
                </a:solidFill>
              </a:defRPr>
            </a:lvl1pPr>
          </a:lstStyle>
          <a:p>
            <a:r>
              <a:rPr lang="en-GB"/>
              <a:t>Contents</a:t>
            </a:r>
          </a:p>
        </p:txBody>
      </p:sp>
      <p:cxnSp>
        <p:nvCxnSpPr>
          <p:cNvPr id="18" name="Straight Connector 17">
            <a:extLst>
              <a:ext uri="{FF2B5EF4-FFF2-40B4-BE49-F238E27FC236}">
                <a16:creationId xmlns:a16="http://schemas.microsoft.com/office/drawing/2014/main" id="{7F719F48-EE31-3F7E-3424-7AC85470B969}"/>
              </a:ext>
            </a:extLst>
          </p:cNvPr>
          <p:cNvCxnSpPr>
            <a:cxnSpLocks/>
          </p:cNvCxnSpPr>
          <p:nvPr userDrawn="1"/>
        </p:nvCxnSpPr>
        <p:spPr>
          <a:xfrm>
            <a:off x="2702950"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4BBE08DB-2638-CD5E-4BBC-BB24AEFF1FF9}"/>
              </a:ext>
            </a:extLst>
          </p:cNvPr>
          <p:cNvCxnSpPr>
            <a:cxnSpLocks/>
          </p:cNvCxnSpPr>
          <p:nvPr userDrawn="1"/>
        </p:nvCxnSpPr>
        <p:spPr>
          <a:xfrm>
            <a:off x="5488473"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5024E3DE-3AE9-ED05-E144-EB3C0635DA95}"/>
              </a:ext>
            </a:extLst>
          </p:cNvPr>
          <p:cNvCxnSpPr>
            <a:cxnSpLocks/>
          </p:cNvCxnSpPr>
          <p:nvPr userDrawn="1"/>
        </p:nvCxnSpPr>
        <p:spPr>
          <a:xfrm>
            <a:off x="7411982" y="6356350"/>
            <a:ext cx="1274379" cy="0"/>
          </a:xfrm>
          <a:prstGeom prst="line">
            <a:avLst/>
          </a:prstGeom>
          <a:ln w="635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6BA4DEDC-C5AB-F3EA-4ABF-927FBEDCAB98}"/>
              </a:ext>
            </a:extLst>
          </p:cNvPr>
          <p:cNvSpPr txBox="1"/>
          <p:nvPr userDrawn="1"/>
        </p:nvSpPr>
        <p:spPr>
          <a:xfrm>
            <a:off x="2623437" y="6430876"/>
            <a:ext cx="2455460" cy="307777"/>
          </a:xfrm>
          <a:prstGeom prst="rect">
            <a:avLst/>
          </a:prstGeom>
          <a:noFill/>
          <a:ln>
            <a:noFill/>
          </a:ln>
        </p:spPr>
        <p:txBody>
          <a:bodyPr wrap="square">
            <a:spAutoFit/>
          </a:bodyPr>
          <a:lstStyle/>
          <a:p>
            <a:r>
              <a:rPr lang="en-GB"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tx1">
                    <a:lumMod val="50000"/>
                  </a:schemeClr>
                </a:solidFill>
                <a:latin typeface="Garamond" panose="02020404030301010803" pitchFamily="18" charset="0"/>
                <a:ea typeface="Helvetica Neue UltraLight" panose="02000206000000020004" pitchFamily="2" charset="0"/>
              </a:rPr>
              <a:t>expert</a:t>
            </a:r>
            <a:r>
              <a:rPr lang="en-GB" sz="1000" b="0" i="0">
                <a:solidFill>
                  <a:schemeClr val="tx1">
                    <a:lumMod val="50000"/>
                  </a:schemeClr>
                </a:solidFill>
                <a:latin typeface="Helvetica Neue UltraLight" panose="02000206000000020004" pitchFamily="2" charset="0"/>
                <a:ea typeface="Helvetica Neue UltraLight" panose="02000206000000020004" pitchFamily="2" charset="0"/>
              </a:rPr>
              <a:t> </a:t>
            </a:r>
            <a:r>
              <a:rPr lang="en-GB" sz="1000" b="0" i="0">
                <a:solidFill>
                  <a:schemeClr val="tx1">
                    <a:lumMod val="50000"/>
                  </a:schemeClr>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2" name="Picture Placeholder 5">
            <a:extLst>
              <a:ext uri="{FF2B5EF4-FFF2-40B4-BE49-F238E27FC236}">
                <a16:creationId xmlns:a16="http://schemas.microsoft.com/office/drawing/2014/main" id="{E31E5DA5-564E-9086-9805-71AE5E0941E0}"/>
              </a:ext>
            </a:extLst>
          </p:cNvPr>
          <p:cNvSpPr>
            <a:spLocks noGrp="1" noChangeAspect="1"/>
          </p:cNvSpPr>
          <p:nvPr>
            <p:ph type="pic" sz="quarter" idx="22" hasCustomPrompt="1"/>
          </p:nvPr>
        </p:nvSpPr>
        <p:spPr>
          <a:xfrm>
            <a:off x="415742" y="2900276"/>
            <a:ext cx="2738486" cy="1224000"/>
          </a:xfrm>
        </p:spPr>
        <p:txBody>
          <a:bodyPr/>
          <a:lstStyle>
            <a:lvl1pPr algn="ctr">
              <a:defRPr b="0"/>
            </a:lvl1pPr>
          </a:lstStyle>
          <a:p>
            <a:r>
              <a:rPr lang="en-US"/>
              <a:t>Drag n drop section slide</a:t>
            </a:r>
            <a:endParaRPr lang="en-GB"/>
          </a:p>
        </p:txBody>
      </p:sp>
      <p:sp>
        <p:nvSpPr>
          <p:cNvPr id="17" name="Picture Placeholder 7">
            <a:extLst>
              <a:ext uri="{FF2B5EF4-FFF2-40B4-BE49-F238E27FC236}">
                <a16:creationId xmlns:a16="http://schemas.microsoft.com/office/drawing/2014/main" id="{9C8C18EE-D4A7-5652-5C56-CA3376D5792A}"/>
              </a:ext>
            </a:extLst>
          </p:cNvPr>
          <p:cNvSpPr>
            <a:spLocks noGrp="1" noChangeAspect="1"/>
          </p:cNvSpPr>
          <p:nvPr>
            <p:ph type="pic" sz="quarter" idx="23" hasCustomPrompt="1"/>
          </p:nvPr>
        </p:nvSpPr>
        <p:spPr>
          <a:xfrm>
            <a:off x="3247489" y="2900276"/>
            <a:ext cx="2839907" cy="1224000"/>
          </a:xfrm>
        </p:spPr>
        <p:txBody>
          <a:bodyPr/>
          <a:lstStyle>
            <a:lvl1pPr algn="ctr">
              <a:defRPr b="0"/>
            </a:lvl1pPr>
          </a:lstStyle>
          <a:p>
            <a:r>
              <a:rPr lang="en-US"/>
              <a:t>Drag n drop section slide</a:t>
            </a:r>
            <a:endParaRPr lang="en-GB"/>
          </a:p>
        </p:txBody>
      </p:sp>
      <p:sp>
        <p:nvSpPr>
          <p:cNvPr id="22" name="Picture Placeholder 7">
            <a:extLst>
              <a:ext uri="{FF2B5EF4-FFF2-40B4-BE49-F238E27FC236}">
                <a16:creationId xmlns:a16="http://schemas.microsoft.com/office/drawing/2014/main" id="{C611C755-0FB9-25C3-F957-E7E7490CC8F1}"/>
              </a:ext>
            </a:extLst>
          </p:cNvPr>
          <p:cNvSpPr>
            <a:spLocks noGrp="1" noChangeAspect="1"/>
          </p:cNvSpPr>
          <p:nvPr>
            <p:ph type="pic" sz="quarter" idx="24" hasCustomPrompt="1"/>
          </p:nvPr>
        </p:nvSpPr>
        <p:spPr>
          <a:xfrm>
            <a:off x="6177520" y="2900276"/>
            <a:ext cx="2839907" cy="1224000"/>
          </a:xfrm>
        </p:spPr>
        <p:txBody>
          <a:bodyPr/>
          <a:lstStyle>
            <a:lvl1pPr algn="ctr">
              <a:defRPr b="0"/>
            </a:lvl1pPr>
          </a:lstStyle>
          <a:p>
            <a:r>
              <a:rPr lang="en-US"/>
              <a:t>Drag n drop section slide</a:t>
            </a:r>
            <a:endParaRPr lang="en-GB"/>
          </a:p>
        </p:txBody>
      </p:sp>
      <p:sp>
        <p:nvSpPr>
          <p:cNvPr id="23" name="Picture Placeholder 7">
            <a:extLst>
              <a:ext uri="{FF2B5EF4-FFF2-40B4-BE49-F238E27FC236}">
                <a16:creationId xmlns:a16="http://schemas.microsoft.com/office/drawing/2014/main" id="{623E7F9A-E663-E8EA-3D49-8CA69F84BEF7}"/>
              </a:ext>
            </a:extLst>
          </p:cNvPr>
          <p:cNvSpPr>
            <a:spLocks noGrp="1" noChangeAspect="1"/>
          </p:cNvSpPr>
          <p:nvPr>
            <p:ph type="pic" sz="quarter" idx="25" hasCustomPrompt="1"/>
          </p:nvPr>
        </p:nvSpPr>
        <p:spPr>
          <a:xfrm>
            <a:off x="9107552" y="2900276"/>
            <a:ext cx="2839907" cy="1224000"/>
          </a:xfrm>
        </p:spPr>
        <p:txBody>
          <a:bodyPr/>
          <a:lstStyle>
            <a:lvl1pPr algn="ctr">
              <a:defRPr b="0"/>
            </a:lvl1pPr>
          </a:lstStyle>
          <a:p>
            <a:r>
              <a:rPr lang="en-US"/>
              <a:t>Drag n drop section slide</a:t>
            </a:r>
            <a:endParaRPr lang="en-GB"/>
          </a:p>
        </p:txBody>
      </p:sp>
      <p:sp>
        <p:nvSpPr>
          <p:cNvPr id="24" name="Picture Placeholder 5">
            <a:extLst>
              <a:ext uri="{FF2B5EF4-FFF2-40B4-BE49-F238E27FC236}">
                <a16:creationId xmlns:a16="http://schemas.microsoft.com/office/drawing/2014/main" id="{1087F912-FFF1-F6EE-0BDB-72B934075D45}"/>
              </a:ext>
            </a:extLst>
          </p:cNvPr>
          <p:cNvSpPr>
            <a:spLocks noGrp="1" noChangeAspect="1"/>
          </p:cNvSpPr>
          <p:nvPr>
            <p:ph type="pic" sz="quarter" idx="26" hasCustomPrompt="1"/>
          </p:nvPr>
        </p:nvSpPr>
        <p:spPr>
          <a:xfrm>
            <a:off x="448873" y="4242328"/>
            <a:ext cx="2738486" cy="1224000"/>
          </a:xfrm>
        </p:spPr>
        <p:txBody>
          <a:bodyPr/>
          <a:lstStyle>
            <a:lvl1pPr algn="ctr">
              <a:defRPr b="0"/>
            </a:lvl1pPr>
          </a:lstStyle>
          <a:p>
            <a:r>
              <a:rPr lang="en-US"/>
              <a:t>Drag n drop section slide</a:t>
            </a:r>
            <a:endParaRPr lang="en-GB"/>
          </a:p>
        </p:txBody>
      </p:sp>
      <p:sp>
        <p:nvSpPr>
          <p:cNvPr id="25" name="Picture Placeholder 7">
            <a:extLst>
              <a:ext uri="{FF2B5EF4-FFF2-40B4-BE49-F238E27FC236}">
                <a16:creationId xmlns:a16="http://schemas.microsoft.com/office/drawing/2014/main" id="{7AEB131A-D0CA-47B3-6D4D-B1ADEF9171B2}"/>
              </a:ext>
            </a:extLst>
          </p:cNvPr>
          <p:cNvSpPr>
            <a:spLocks noGrp="1" noChangeAspect="1"/>
          </p:cNvSpPr>
          <p:nvPr>
            <p:ph type="pic" sz="quarter" idx="27" hasCustomPrompt="1"/>
          </p:nvPr>
        </p:nvSpPr>
        <p:spPr>
          <a:xfrm>
            <a:off x="3280620" y="4242328"/>
            <a:ext cx="2839907" cy="1224000"/>
          </a:xfrm>
        </p:spPr>
        <p:txBody>
          <a:bodyPr/>
          <a:lstStyle>
            <a:lvl1pPr algn="ctr">
              <a:defRPr b="0"/>
            </a:lvl1pPr>
          </a:lstStyle>
          <a:p>
            <a:r>
              <a:rPr lang="en-US"/>
              <a:t>Drag n drop section slide</a:t>
            </a:r>
            <a:endParaRPr lang="en-GB"/>
          </a:p>
        </p:txBody>
      </p:sp>
      <p:sp>
        <p:nvSpPr>
          <p:cNvPr id="26" name="Picture Placeholder 7">
            <a:extLst>
              <a:ext uri="{FF2B5EF4-FFF2-40B4-BE49-F238E27FC236}">
                <a16:creationId xmlns:a16="http://schemas.microsoft.com/office/drawing/2014/main" id="{A308A6DB-E97A-0D6C-D897-21551C0ECDEE}"/>
              </a:ext>
            </a:extLst>
          </p:cNvPr>
          <p:cNvSpPr>
            <a:spLocks noGrp="1" noChangeAspect="1"/>
          </p:cNvSpPr>
          <p:nvPr>
            <p:ph type="pic" sz="quarter" idx="28" hasCustomPrompt="1"/>
          </p:nvPr>
        </p:nvSpPr>
        <p:spPr>
          <a:xfrm>
            <a:off x="6210651" y="4242328"/>
            <a:ext cx="2839907" cy="1224000"/>
          </a:xfrm>
        </p:spPr>
        <p:txBody>
          <a:bodyPr/>
          <a:lstStyle>
            <a:lvl1pPr algn="ctr">
              <a:defRPr b="0"/>
            </a:lvl1pPr>
          </a:lstStyle>
          <a:p>
            <a:r>
              <a:rPr lang="en-US"/>
              <a:t>Drag n drop section slide</a:t>
            </a:r>
            <a:endParaRPr lang="en-GB"/>
          </a:p>
        </p:txBody>
      </p:sp>
      <p:sp>
        <p:nvSpPr>
          <p:cNvPr id="27" name="Picture Placeholder 7">
            <a:extLst>
              <a:ext uri="{FF2B5EF4-FFF2-40B4-BE49-F238E27FC236}">
                <a16:creationId xmlns:a16="http://schemas.microsoft.com/office/drawing/2014/main" id="{CD9BE19E-1E1D-7AA2-A17F-612AFE31BB53}"/>
              </a:ext>
            </a:extLst>
          </p:cNvPr>
          <p:cNvSpPr>
            <a:spLocks noGrp="1" noChangeAspect="1"/>
          </p:cNvSpPr>
          <p:nvPr>
            <p:ph type="pic" sz="quarter" idx="29" hasCustomPrompt="1"/>
          </p:nvPr>
        </p:nvSpPr>
        <p:spPr>
          <a:xfrm>
            <a:off x="9140683" y="4242328"/>
            <a:ext cx="2839907" cy="1224000"/>
          </a:xfrm>
        </p:spPr>
        <p:txBody>
          <a:bodyPr/>
          <a:lstStyle>
            <a:lvl1pPr algn="ctr">
              <a:defRPr b="0"/>
            </a:lvl1pPr>
          </a:lstStyle>
          <a:p>
            <a:r>
              <a:rPr lang="en-US"/>
              <a:t>Drag n drop section slide</a:t>
            </a:r>
            <a:endParaRPr lang="en-GB"/>
          </a:p>
        </p:txBody>
      </p:sp>
      <p:sp>
        <p:nvSpPr>
          <p:cNvPr id="10" name="TextBox 9">
            <a:extLst>
              <a:ext uri="{FF2B5EF4-FFF2-40B4-BE49-F238E27FC236}">
                <a16:creationId xmlns:a16="http://schemas.microsoft.com/office/drawing/2014/main" id="{F456025F-3F39-3336-9925-3C93CDDB158E}"/>
              </a:ext>
            </a:extLst>
          </p:cNvPr>
          <p:cNvSpPr txBox="1"/>
          <p:nvPr userDrawn="1"/>
        </p:nvSpPr>
        <p:spPr>
          <a:xfrm>
            <a:off x="11682742" y="6458310"/>
            <a:ext cx="409669" cy="276999"/>
          </a:xfrm>
          <a:prstGeom prst="rect">
            <a:avLst/>
          </a:prstGeom>
          <a:noFill/>
        </p:spPr>
        <p:txBody>
          <a:bodyPr wrap="square" anchor="ctr">
            <a:spAutoFit/>
          </a:bodyPr>
          <a:lstStyle/>
          <a:p>
            <a:fld id="{562BA7E0-5F5E-EE41-AE8D-BD30ED9E17AD}" type="slidenum">
              <a:rPr lang="en-GB" sz="1200" smtClean="0">
                <a:solidFill>
                  <a:schemeClr val="tx1"/>
                </a:solidFill>
                <a:latin typeface="Arial" panose="020B0604020202020204" pitchFamily="34" charset="0"/>
                <a:cs typeface="Arial" panose="020B0604020202020204" pitchFamily="34" charset="0"/>
              </a:rPr>
              <a:pPr/>
              <a:t>‹#›</a:t>
            </a:fld>
            <a:endParaRPr lang="en-GB" sz="1200">
              <a:solidFill>
                <a:schemeClr val="tx1"/>
              </a:solidFill>
              <a:latin typeface="Arial" panose="020B0604020202020204" pitchFamily="34" charset="0"/>
              <a:cs typeface="Arial" panose="020B0604020202020204" pitchFamily="34" charset="0"/>
            </a:endParaRPr>
          </a:p>
        </p:txBody>
      </p:sp>
      <p:pic>
        <p:nvPicPr>
          <p:cNvPr id="12" name="Picture 11" descr="A logo on a black background&#10;&#10;Description automatically generated">
            <a:extLst>
              <a:ext uri="{FF2B5EF4-FFF2-40B4-BE49-F238E27FC236}">
                <a16:creationId xmlns:a16="http://schemas.microsoft.com/office/drawing/2014/main" id="{4284300E-D272-2A48-0ADB-580BE8448E2D}"/>
              </a:ext>
            </a:extLst>
          </p:cNvPr>
          <p:cNvPicPr>
            <a:picLocks noChangeAspect="1"/>
          </p:cNvPicPr>
          <p:nvPr userDrawn="1"/>
        </p:nvPicPr>
        <p:blipFill rotWithShape="1">
          <a:blip r:embed="rId7"/>
          <a:srcRect l="7819" t="33017" r="74362" b="36885"/>
          <a:stretch/>
        </p:blipFill>
        <p:spPr>
          <a:xfrm>
            <a:off x="263816" y="329400"/>
            <a:ext cx="682031" cy="648000"/>
          </a:xfrm>
          <a:prstGeom prst="rect">
            <a:avLst/>
          </a:prstGeom>
        </p:spPr>
      </p:pic>
      <p:sp>
        <p:nvSpPr>
          <p:cNvPr id="11" name="Footer Placeholder 4">
            <a:extLst>
              <a:ext uri="{FF2B5EF4-FFF2-40B4-BE49-F238E27FC236}">
                <a16:creationId xmlns:a16="http://schemas.microsoft.com/office/drawing/2014/main" id="{BAD39FEC-C47C-3952-05B1-B2EC1C7825DF}"/>
              </a:ext>
            </a:extLst>
          </p:cNvPr>
          <p:cNvSpPr>
            <a:spLocks noGrp="1"/>
          </p:cNvSpPr>
          <p:nvPr>
            <p:ph type="ftr" sz="quarter" idx="3"/>
          </p:nvPr>
        </p:nvSpPr>
        <p:spPr>
          <a:xfrm>
            <a:off x="7350369" y="6429964"/>
            <a:ext cx="3176758" cy="309600"/>
          </a:xfrm>
          <a:prstGeom prst="rect">
            <a:avLst/>
          </a:prstGeom>
          <a:ln>
            <a:noFill/>
          </a:ln>
        </p:spPr>
        <p:txBody>
          <a:bodyPr vert="horz" lIns="91440" tIns="45720" rIns="91440" bIns="45720" rtlCol="0" anchor="ctr"/>
          <a:lstStyle>
            <a:lvl1pPr algn="l">
              <a:defRPr sz="1000" b="0" i="0">
                <a:solidFill>
                  <a:schemeClr val="tx1"/>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Battery Value Chain Outlook </a:t>
            </a:r>
            <a:endParaRPr lang="en-GB"/>
          </a:p>
        </p:txBody>
      </p:sp>
      <p:sp>
        <p:nvSpPr>
          <p:cNvPr id="13" name="TextBox 12">
            <a:extLst>
              <a:ext uri="{FF2B5EF4-FFF2-40B4-BE49-F238E27FC236}">
                <a16:creationId xmlns:a16="http://schemas.microsoft.com/office/drawing/2014/main" id="{4AA0C791-0C91-D34F-A875-09C82EEA0F22}"/>
              </a:ext>
            </a:extLst>
          </p:cNvPr>
          <p:cNvSpPr txBox="1"/>
          <p:nvPr userDrawn="1"/>
        </p:nvSpPr>
        <p:spPr>
          <a:xfrm>
            <a:off x="5476126" y="6446265"/>
            <a:ext cx="1286726" cy="276999"/>
          </a:xfrm>
          <a:prstGeom prst="rect">
            <a:avLst/>
          </a:prstGeom>
          <a:noFill/>
          <a:ln>
            <a:noFill/>
          </a:ln>
        </p:spPr>
        <p:txBody>
          <a:bodyPr wrap="square">
            <a:spAutoFit/>
          </a:bodyPr>
          <a:lstStyle/>
          <a:p>
            <a:pPr algn="ctr"/>
            <a:r>
              <a:rPr lang="en-GB" sz="1200" b="0" i="1">
                <a:solidFill>
                  <a:schemeClr val="tx1">
                    <a:lumMod val="50000"/>
                  </a:schemeClr>
                </a:solidFill>
                <a:latin typeface="Garamond" panose="02020404030301010803" pitchFamily="18" charset="0"/>
                <a:ea typeface="Helvetica Neue Thin" panose="020B0403020202020204" pitchFamily="34" charset="0"/>
                <a:cs typeface="Arial" panose="020B0604020202020204" pitchFamily="34" charset="0"/>
              </a:rPr>
              <a:t>June 2025</a:t>
            </a:r>
          </a:p>
        </p:txBody>
      </p:sp>
    </p:spTree>
    <p:extLst>
      <p:ext uri="{BB962C8B-B14F-4D97-AF65-F5344CB8AC3E}">
        <p14:creationId xmlns:p14="http://schemas.microsoft.com/office/powerpoint/2010/main" val="3087207950"/>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vmlDrawing" Target="../drawings/vmlDrawing3.vml"/><Relationship Id="rId3" Type="http://schemas.openxmlformats.org/officeDocument/2006/relationships/slideLayout" Target="../slideLayouts/slideLayout8.xml"/><Relationship Id="rId21" Type="http://schemas.openxmlformats.org/officeDocument/2006/relationships/image" Target="../media/image1.emf"/><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theme" Target="../theme/theme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oleObject" Target="../embeddings/oleObject3.bin"/><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19" Type="http://schemas.openxmlformats.org/officeDocument/2006/relationships/tags" Target="../tags/tag4.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image" Target="../media/image8.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image" Target="../media/image1.emf"/><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oleObject" Target="../embeddings/oleObject6.bin"/><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tags" Target="../tags/tag7.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vmlDrawing" Target="../drawings/vmlDrawing6.v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theme" Target="../theme/theme3.xml"/><Relationship Id="rId27" Type="http://schemas.openxmlformats.org/officeDocument/2006/relationships/image" Target="../media/image8.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vmlDrawing" Target="../drawings/vmlDrawing9.vml"/><Relationship Id="rId26" Type="http://schemas.openxmlformats.org/officeDocument/2006/relationships/image" Target="../media/image18.png"/><Relationship Id="rId3" Type="http://schemas.openxmlformats.org/officeDocument/2006/relationships/slideLayout" Target="../slideLayouts/slideLayout45.xml"/><Relationship Id="rId21" Type="http://schemas.openxmlformats.org/officeDocument/2006/relationships/image" Target="../media/image1.emf"/><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theme" Target="../theme/theme4.xml"/><Relationship Id="rId25" Type="http://schemas.openxmlformats.org/officeDocument/2006/relationships/image" Target="../media/image17.png"/><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oleObject" Target="../embeddings/oleObject7.bin"/><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image" Target="../media/image16.png"/><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image" Target="../media/image15.png"/><Relationship Id="rId10" Type="http://schemas.openxmlformats.org/officeDocument/2006/relationships/slideLayout" Target="../slideLayouts/slideLayout52.xml"/><Relationship Id="rId19" Type="http://schemas.openxmlformats.org/officeDocument/2006/relationships/tags" Target="../tags/tag10.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image" Target="../media/image8.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3" Type="http://schemas.openxmlformats.org/officeDocument/2006/relationships/slideLayout" Target="../slideLayouts/slideLayout61.xml"/><Relationship Id="rId21" Type="http://schemas.openxmlformats.org/officeDocument/2006/relationships/tags" Target="../tags/tag13.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vmlDrawing" Target="../drawings/vmlDrawing12.v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image" Target="../media/image8.png"/><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image" Target="../media/image1.emf"/><Relationship Id="rId10" Type="http://schemas.openxmlformats.org/officeDocument/2006/relationships/slideLayout" Target="../slideLayouts/slideLayout68.xml"/><Relationship Id="rId19" Type="http://schemas.openxmlformats.org/officeDocument/2006/relationships/theme" Target="../theme/theme5.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oleObject" Target="../embeddings/oleObject6.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image" Target="../media/image1.emf"/><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oleObject" Target="../embeddings/oleObject6.bin"/><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tags" Target="../tags/tag16.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vmlDrawing" Target="../drawings/vmlDrawing15.v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theme" Target="../theme/theme6.xml"/><Relationship Id="rId27" Type="http://schemas.openxmlformats.org/officeDocument/2006/relationships/image" Target="../media/image8.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26" Type="http://schemas.openxmlformats.org/officeDocument/2006/relationships/oleObject" Target="../embeddings/oleObject8.bin"/><Relationship Id="rId3" Type="http://schemas.openxmlformats.org/officeDocument/2006/relationships/slideLayout" Target="../slideLayouts/slideLayout100.xml"/><Relationship Id="rId21" Type="http://schemas.openxmlformats.org/officeDocument/2006/relationships/slideLayout" Target="../slideLayouts/slideLayout118.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tags" Target="../tags/tag19.xml"/><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slideLayout" Target="../slideLayouts/slideLayout117.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24" Type="http://schemas.openxmlformats.org/officeDocument/2006/relationships/vmlDrawing" Target="../drawings/vmlDrawing18.vml"/><Relationship Id="rId5" Type="http://schemas.openxmlformats.org/officeDocument/2006/relationships/slideLayout" Target="../slideLayouts/slideLayout102.xml"/><Relationship Id="rId15" Type="http://schemas.openxmlformats.org/officeDocument/2006/relationships/slideLayout" Target="../slideLayouts/slideLayout112.xml"/><Relationship Id="rId23" Type="http://schemas.openxmlformats.org/officeDocument/2006/relationships/theme" Target="../theme/theme7.xml"/><Relationship Id="rId28" Type="http://schemas.openxmlformats.org/officeDocument/2006/relationships/image" Target="../media/image8.png"/><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image" Target="../media/image19.emf"/></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32.xml"/><Relationship Id="rId18" Type="http://schemas.openxmlformats.org/officeDocument/2006/relationships/slideLayout" Target="../slideLayouts/slideLayout137.xml"/><Relationship Id="rId26" Type="http://schemas.openxmlformats.org/officeDocument/2006/relationships/slideLayout" Target="../slideLayouts/slideLayout145.xml"/><Relationship Id="rId39" Type="http://schemas.openxmlformats.org/officeDocument/2006/relationships/slideLayout" Target="../slideLayouts/slideLayout158.xml"/><Relationship Id="rId21" Type="http://schemas.openxmlformats.org/officeDocument/2006/relationships/slideLayout" Target="../slideLayouts/slideLayout140.xml"/><Relationship Id="rId34" Type="http://schemas.openxmlformats.org/officeDocument/2006/relationships/slideLayout" Target="../slideLayouts/slideLayout153.xml"/><Relationship Id="rId42" Type="http://schemas.openxmlformats.org/officeDocument/2006/relationships/slideLayout" Target="../slideLayouts/slideLayout161.xml"/><Relationship Id="rId47" Type="http://schemas.openxmlformats.org/officeDocument/2006/relationships/tags" Target="../tags/tag22.xml"/><Relationship Id="rId50" Type="http://schemas.openxmlformats.org/officeDocument/2006/relationships/image" Target="../media/image20.jpeg"/><Relationship Id="rId7" Type="http://schemas.openxmlformats.org/officeDocument/2006/relationships/slideLayout" Target="../slideLayouts/slideLayout126.xml"/><Relationship Id="rId2" Type="http://schemas.openxmlformats.org/officeDocument/2006/relationships/slideLayout" Target="../slideLayouts/slideLayout121.xml"/><Relationship Id="rId16" Type="http://schemas.openxmlformats.org/officeDocument/2006/relationships/slideLayout" Target="../slideLayouts/slideLayout135.xml"/><Relationship Id="rId29" Type="http://schemas.openxmlformats.org/officeDocument/2006/relationships/slideLayout" Target="../slideLayouts/slideLayout148.xml"/><Relationship Id="rId11" Type="http://schemas.openxmlformats.org/officeDocument/2006/relationships/slideLayout" Target="../slideLayouts/slideLayout130.xml"/><Relationship Id="rId24" Type="http://schemas.openxmlformats.org/officeDocument/2006/relationships/slideLayout" Target="../slideLayouts/slideLayout143.xml"/><Relationship Id="rId32" Type="http://schemas.openxmlformats.org/officeDocument/2006/relationships/slideLayout" Target="../slideLayouts/slideLayout151.xml"/><Relationship Id="rId37" Type="http://schemas.openxmlformats.org/officeDocument/2006/relationships/slideLayout" Target="../slideLayouts/slideLayout156.xml"/><Relationship Id="rId40" Type="http://schemas.openxmlformats.org/officeDocument/2006/relationships/slideLayout" Target="../slideLayouts/slideLayout159.xml"/><Relationship Id="rId45" Type="http://schemas.openxmlformats.org/officeDocument/2006/relationships/theme" Target="../theme/theme8.xml"/><Relationship Id="rId5" Type="http://schemas.openxmlformats.org/officeDocument/2006/relationships/slideLayout" Target="../slideLayouts/slideLayout124.xml"/><Relationship Id="rId15" Type="http://schemas.openxmlformats.org/officeDocument/2006/relationships/slideLayout" Target="../slideLayouts/slideLayout134.xml"/><Relationship Id="rId23" Type="http://schemas.openxmlformats.org/officeDocument/2006/relationships/slideLayout" Target="../slideLayouts/slideLayout142.xml"/><Relationship Id="rId28" Type="http://schemas.openxmlformats.org/officeDocument/2006/relationships/slideLayout" Target="../slideLayouts/slideLayout147.xml"/><Relationship Id="rId36" Type="http://schemas.openxmlformats.org/officeDocument/2006/relationships/slideLayout" Target="../slideLayouts/slideLayout155.xml"/><Relationship Id="rId49" Type="http://schemas.openxmlformats.org/officeDocument/2006/relationships/image" Target="../media/image1.emf"/><Relationship Id="rId10" Type="http://schemas.openxmlformats.org/officeDocument/2006/relationships/slideLayout" Target="../slideLayouts/slideLayout129.xml"/><Relationship Id="rId19" Type="http://schemas.openxmlformats.org/officeDocument/2006/relationships/slideLayout" Target="../slideLayouts/slideLayout138.xml"/><Relationship Id="rId31" Type="http://schemas.openxmlformats.org/officeDocument/2006/relationships/slideLayout" Target="../slideLayouts/slideLayout150.xml"/><Relationship Id="rId44" Type="http://schemas.openxmlformats.org/officeDocument/2006/relationships/slideLayout" Target="../slideLayouts/slideLayout163.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 Id="rId22" Type="http://schemas.openxmlformats.org/officeDocument/2006/relationships/slideLayout" Target="../slideLayouts/slideLayout141.xml"/><Relationship Id="rId27" Type="http://schemas.openxmlformats.org/officeDocument/2006/relationships/slideLayout" Target="../slideLayouts/slideLayout146.xml"/><Relationship Id="rId30" Type="http://schemas.openxmlformats.org/officeDocument/2006/relationships/slideLayout" Target="../slideLayouts/slideLayout149.xml"/><Relationship Id="rId35" Type="http://schemas.openxmlformats.org/officeDocument/2006/relationships/slideLayout" Target="../slideLayouts/slideLayout154.xml"/><Relationship Id="rId43" Type="http://schemas.openxmlformats.org/officeDocument/2006/relationships/slideLayout" Target="../slideLayouts/slideLayout162.xml"/><Relationship Id="rId48" Type="http://schemas.openxmlformats.org/officeDocument/2006/relationships/oleObject" Target="../embeddings/oleObject9.bin"/><Relationship Id="rId8" Type="http://schemas.openxmlformats.org/officeDocument/2006/relationships/slideLayout" Target="../slideLayouts/slideLayout127.xml"/><Relationship Id="rId51" Type="http://schemas.openxmlformats.org/officeDocument/2006/relationships/image" Target="../media/image21.png"/><Relationship Id="rId3" Type="http://schemas.openxmlformats.org/officeDocument/2006/relationships/slideLayout" Target="../slideLayouts/slideLayout122.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5" Type="http://schemas.openxmlformats.org/officeDocument/2006/relationships/slideLayout" Target="../slideLayouts/slideLayout144.xml"/><Relationship Id="rId33" Type="http://schemas.openxmlformats.org/officeDocument/2006/relationships/slideLayout" Target="../slideLayouts/slideLayout152.xml"/><Relationship Id="rId38" Type="http://schemas.openxmlformats.org/officeDocument/2006/relationships/slideLayout" Target="../slideLayouts/slideLayout157.xml"/><Relationship Id="rId46" Type="http://schemas.openxmlformats.org/officeDocument/2006/relationships/vmlDrawing" Target="../drawings/vmlDrawing21.vml"/><Relationship Id="rId20" Type="http://schemas.openxmlformats.org/officeDocument/2006/relationships/slideLayout" Target="../slideLayouts/slideLayout139.xml"/><Relationship Id="rId41" Type="http://schemas.openxmlformats.org/officeDocument/2006/relationships/slideLayout" Target="../slideLayouts/slideLayout160.xml"/><Relationship Id="rId1" Type="http://schemas.openxmlformats.org/officeDocument/2006/relationships/slideLayout" Target="../slideLayouts/slideLayout120.xml"/><Relationship Id="rId6" Type="http://schemas.openxmlformats.org/officeDocument/2006/relationships/slideLayout" Target="../slideLayouts/slideLayout1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94BCDD7-5A32-333A-59AF-DD78D59C50E2}"/>
              </a:ext>
            </a:extLst>
          </p:cNvPr>
          <p:cNvGraphicFramePr>
            <a:graphicFrameLocks noChangeAspect="1"/>
          </p:cNvGraphicFramePr>
          <p:nvPr userDrawn="1">
            <p:custDataLst>
              <p:tags r:id="rId8"/>
            </p:custDataLst>
            <p:extLst>
              <p:ext uri="{D42A27DB-BD31-4B8C-83A1-F6EECF244321}">
                <p14:modId xmlns:p14="http://schemas.microsoft.com/office/powerpoint/2010/main" val="1864247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9" imgW="405" imgH="405" progId="TCLayout.ActiveDocument.1">
                  <p:embed/>
                </p:oleObj>
              </mc:Choice>
              <mc:Fallback>
                <p:oleObj name="think-cell Slide" r:id="rId9" imgW="405" imgH="405" progId="TCLayout.ActiveDocument.1">
                  <p:embed/>
                  <p:pic>
                    <p:nvPicPr>
                      <p:cNvPr id="7" name="think-cell data - do not delete" hidden="1">
                        <a:extLst>
                          <a:ext uri="{FF2B5EF4-FFF2-40B4-BE49-F238E27FC236}">
                            <a16:creationId xmlns:a16="http://schemas.microsoft.com/office/drawing/2014/main" id="{E94BCDD7-5A32-333A-59AF-DD78D59C50E2}"/>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11" name="Picture 10" descr="A blurry image of a purple and pink background&#10;&#10;Description automatically generated">
            <a:extLst>
              <a:ext uri="{FF2B5EF4-FFF2-40B4-BE49-F238E27FC236}">
                <a16:creationId xmlns:a16="http://schemas.microsoft.com/office/drawing/2014/main" id="{4C5A386C-DA71-B6D4-A3B4-472D3A6C3B87}"/>
              </a:ext>
            </a:extLst>
          </p:cNvPr>
          <p:cNvPicPr>
            <a:picLocks noChangeAspect="1"/>
          </p:cNvPicPr>
          <p:nvPr userDrawn="1"/>
        </p:nvPicPr>
        <p:blipFill>
          <a:blip r:embed="rId11"/>
          <a:stretch>
            <a:fillRect/>
          </a:stretch>
        </p:blipFill>
        <p:spPr>
          <a:xfrm>
            <a:off x="0" y="-4562"/>
            <a:ext cx="12192000" cy="6858000"/>
          </a:xfrm>
          <a:prstGeom prst="rect">
            <a:avLst/>
          </a:prstGeom>
        </p:spPr>
      </p:pic>
      <p:sp>
        <p:nvSpPr>
          <p:cNvPr id="2" name="Title Placeholder 1">
            <a:extLst>
              <a:ext uri="{FF2B5EF4-FFF2-40B4-BE49-F238E27FC236}">
                <a16:creationId xmlns:a16="http://schemas.microsoft.com/office/drawing/2014/main" id="{6CB3F93A-7D57-E667-CF49-547D709C8ECD}"/>
              </a:ext>
            </a:extLst>
          </p:cNvPr>
          <p:cNvSpPr>
            <a:spLocks noGrp="1"/>
          </p:cNvSpPr>
          <p:nvPr>
            <p:ph type="title"/>
          </p:nvPr>
        </p:nvSpPr>
        <p:spPr bwMode="white">
          <a:xfrm>
            <a:off x="1076400" y="329400"/>
            <a:ext cx="10386000" cy="648000"/>
          </a:xfrm>
          <a:prstGeom prst="rect">
            <a:avLst/>
          </a:prstGeom>
          <a:ln>
            <a:noFill/>
          </a:ln>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526B00E-600C-3EC5-4D58-9A9470DA45F8}"/>
              </a:ext>
            </a:extLst>
          </p:cNvPr>
          <p:cNvSpPr>
            <a:spLocks noGrp="1"/>
          </p:cNvSpPr>
          <p:nvPr>
            <p:ph type="body" idx="1"/>
          </p:nvPr>
        </p:nvSpPr>
        <p:spPr bwMode="white">
          <a:xfrm>
            <a:off x="397566" y="1467854"/>
            <a:ext cx="11062252" cy="4709110"/>
          </a:xfrm>
          <a:prstGeom prst="rect">
            <a:avLst/>
          </a:prstGeom>
          <a:ln>
            <a:noFill/>
          </a:ln>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AE485163-71E9-943D-412A-2F55FAA155A8}"/>
              </a:ext>
            </a:extLst>
          </p:cNvPr>
          <p:cNvSpPr>
            <a:spLocks noGrp="1"/>
          </p:cNvSpPr>
          <p:nvPr>
            <p:ph type="ftr" sz="quarter" idx="3"/>
          </p:nvPr>
        </p:nvSpPr>
        <p:spPr bwMode="white">
          <a:xfrm>
            <a:off x="7350369" y="6442920"/>
            <a:ext cx="3176758" cy="309600"/>
          </a:xfrm>
          <a:prstGeom prst="rect">
            <a:avLst/>
          </a:prstGeom>
          <a:ln>
            <a:noFill/>
          </a:ln>
        </p:spPr>
        <p:txBody>
          <a:bodyPr vert="horz" lIns="91440" tIns="45720" rIns="91440" bIns="45720" rtlCol="0" anchor="ctr"/>
          <a:lstStyle>
            <a:lvl1pPr algn="l">
              <a:defRPr sz="1000" b="0" i="0">
                <a:solidFill>
                  <a:schemeClr val="bg1"/>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cxnSp>
        <p:nvCxnSpPr>
          <p:cNvPr id="13" name="Straight Connector 12">
            <a:extLst>
              <a:ext uri="{FF2B5EF4-FFF2-40B4-BE49-F238E27FC236}">
                <a16:creationId xmlns:a16="http://schemas.microsoft.com/office/drawing/2014/main" id="{839453CC-7F66-5B4E-91C7-ABFCBF45DD82}"/>
              </a:ext>
            </a:extLst>
          </p:cNvPr>
          <p:cNvCxnSpPr>
            <a:cxnSpLocks/>
          </p:cNvCxnSpPr>
          <p:nvPr userDrawn="1"/>
        </p:nvCxnSpPr>
        <p:spPr bwMode="white">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8AD18B8A-ABC0-1616-2A84-CD7009241CA7}"/>
              </a:ext>
            </a:extLst>
          </p:cNvPr>
          <p:cNvCxnSpPr>
            <a:cxnSpLocks/>
          </p:cNvCxnSpPr>
          <p:nvPr userDrawn="1"/>
        </p:nvCxnSpPr>
        <p:spPr bwMode="white">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74C7D8C6-6AB2-AA07-D31B-5743744A0078}"/>
              </a:ext>
            </a:extLst>
          </p:cNvPr>
          <p:cNvCxnSpPr>
            <a:cxnSpLocks/>
          </p:cNvCxnSpPr>
          <p:nvPr userDrawn="1"/>
        </p:nvCxnSpPr>
        <p:spPr bwMode="white">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D39F14FD-A4A1-3B1A-C700-D0EEC8851A68}"/>
              </a:ext>
            </a:extLst>
          </p:cNvPr>
          <p:cNvSpPr txBox="1"/>
          <p:nvPr userDrawn="1"/>
        </p:nvSpPr>
        <p:spPr bwMode="white">
          <a:xfrm>
            <a:off x="2623437" y="6442920"/>
            <a:ext cx="2455460" cy="309600"/>
          </a:xfrm>
          <a:prstGeom prst="rect">
            <a:avLst/>
          </a:prstGeom>
          <a:noFill/>
          <a:ln>
            <a:noFill/>
          </a:ln>
        </p:spPr>
        <p:txBody>
          <a:bodyPr wrap="square" anchor="ctr">
            <a:spAutoFit/>
          </a:bodyPr>
          <a:lstStyle/>
          <a:p>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bg1"/>
                </a:solidFill>
                <a:latin typeface="Garamond" panose="02020404030301010803" pitchFamily="18" charset="0"/>
                <a:ea typeface="Helvetica Neue UltraLight" panose="02000206000000020004" pitchFamily="2" charset="0"/>
              </a:rPr>
              <a:t>expert</a:t>
            </a:r>
            <a:r>
              <a:rPr lang="en-GB" sz="1000" b="0" i="0">
                <a:solidFill>
                  <a:schemeClr val="bg1"/>
                </a:solidFill>
                <a:latin typeface="Helvetica Neue UltraLight" panose="02000206000000020004" pitchFamily="2" charset="0"/>
                <a:ea typeface="Helvetica Neue UltraLight" panose="02000206000000020004" pitchFamily="2" charset="0"/>
              </a:rPr>
              <a:t> </a:t>
            </a:r>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intelligence</a:t>
            </a:r>
          </a:p>
        </p:txBody>
      </p:sp>
      <p:pic>
        <p:nvPicPr>
          <p:cNvPr id="12" name="Picture 11" descr="A black and white logo&#10;&#10;Description automatically generated">
            <a:extLst>
              <a:ext uri="{FF2B5EF4-FFF2-40B4-BE49-F238E27FC236}">
                <a16:creationId xmlns:a16="http://schemas.microsoft.com/office/drawing/2014/main" id="{C75E0303-4CDD-D570-E957-0F792364A44C}"/>
              </a:ext>
            </a:extLst>
          </p:cNvPr>
          <p:cNvPicPr>
            <a:picLocks noChangeAspect="1"/>
          </p:cNvPicPr>
          <p:nvPr userDrawn="1"/>
        </p:nvPicPr>
        <p:blipFill rotWithShape="1">
          <a:blip r:embed="rId12"/>
          <a:srcRect l="7532" t="33158" r="74173" b="35980"/>
          <a:stretch/>
        </p:blipFill>
        <p:spPr>
          <a:xfrm>
            <a:off x="262800" y="329400"/>
            <a:ext cx="682912" cy="648000"/>
          </a:xfrm>
          <a:prstGeom prst="rect">
            <a:avLst/>
          </a:prstGeom>
        </p:spPr>
      </p:pic>
      <p:sp>
        <p:nvSpPr>
          <p:cNvPr id="8" name="TextBox 7">
            <a:extLst>
              <a:ext uri="{FF2B5EF4-FFF2-40B4-BE49-F238E27FC236}">
                <a16:creationId xmlns:a16="http://schemas.microsoft.com/office/drawing/2014/main" id="{35FB17A5-581F-DFC0-A087-C80730AEA71A}"/>
              </a:ext>
            </a:extLst>
          </p:cNvPr>
          <p:cNvSpPr txBox="1"/>
          <p:nvPr userDrawn="1"/>
        </p:nvSpPr>
        <p:spPr bwMode="white">
          <a:xfrm>
            <a:off x="11682742" y="6458310"/>
            <a:ext cx="409669" cy="276999"/>
          </a:xfrm>
          <a:prstGeom prst="rect">
            <a:avLst/>
          </a:prstGeom>
          <a:noFill/>
        </p:spPr>
        <p:txBody>
          <a:bodyPr wrap="square" anchor="ctr">
            <a:spAutoFit/>
          </a:bodyPr>
          <a:lstStyle/>
          <a:p>
            <a:fld id="{562BA7E0-5F5E-EE41-AE8D-BD30ED9E17AD}" type="slidenum">
              <a:rPr lang="en-GB" sz="1200" smtClean="0">
                <a:solidFill>
                  <a:schemeClr val="bg1"/>
                </a:solidFill>
                <a:latin typeface="Arial" panose="020B0604020202020204" pitchFamily="34" charset="0"/>
                <a:cs typeface="Arial" panose="020B0604020202020204" pitchFamily="34" charset="0"/>
              </a:rPr>
              <a:pPr/>
              <a:t>‹#›</a:t>
            </a:fld>
            <a:endParaRPr lang="en-GB" sz="1200">
              <a:solidFill>
                <a:schemeClr val="bg1"/>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750DF922-616E-FE72-D3D2-265F4F32D670}"/>
              </a:ext>
            </a:extLst>
          </p:cNvPr>
          <p:cNvSpPr txBox="1"/>
          <p:nvPr userDrawn="1"/>
        </p:nvSpPr>
        <p:spPr>
          <a:xfrm>
            <a:off x="5476126" y="6473698"/>
            <a:ext cx="1286726" cy="276999"/>
          </a:xfrm>
          <a:prstGeom prst="rect">
            <a:avLst/>
          </a:prstGeom>
          <a:noFill/>
          <a:ln>
            <a:noFill/>
          </a:ln>
        </p:spPr>
        <p:txBody>
          <a:bodyPr wrap="square">
            <a:spAutoFit/>
          </a:bodyPr>
          <a:lstStyle/>
          <a:p>
            <a:pPr algn="ctr"/>
            <a:r>
              <a:rPr lang="en-GB" sz="1200" b="0" i="1">
                <a:solidFill>
                  <a:schemeClr val="bg1"/>
                </a:solidFill>
                <a:latin typeface="Garamond" panose="02020404030301010803" pitchFamily="18" charset="0"/>
                <a:ea typeface="Helvetica Neue Thin" panose="020B0403020202020204" pitchFamily="34" charset="0"/>
                <a:cs typeface="Arial" panose="020B0604020202020204" pitchFamily="34" charset="0"/>
              </a:rPr>
              <a:t>October 2025</a:t>
            </a:r>
            <a:endParaRPr lang="en-GB" sz="1000" b="0" i="1">
              <a:solidFill>
                <a:schemeClr val="bg1"/>
              </a:solidFill>
              <a:latin typeface="Garamond" panose="02020404030301010803" pitchFamily="18" charset="0"/>
              <a:ea typeface="Helvetica Neue Thin" panose="020B0403020202020204" pitchFamily="34" charset="0"/>
              <a:cs typeface="Arial" panose="020B0604020202020204" pitchFamily="34" charset="0"/>
            </a:endParaRPr>
          </a:p>
        </p:txBody>
      </p:sp>
    </p:spTree>
    <p:extLst>
      <p:ext uri="{BB962C8B-B14F-4D97-AF65-F5344CB8AC3E}">
        <p14:creationId xmlns:p14="http://schemas.microsoft.com/office/powerpoint/2010/main" val="269344473"/>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4465" r:id="rId5"/>
  </p:sldLayoutIdLst>
  <p:hf sldNum="0" hdr="0"/>
  <p:txStyles>
    <p:titleStyle>
      <a:lvl1pPr algn="l" defTabSz="914400" rtl="0" eaLnBrk="1" latinLnBrk="0" hangingPunct="1">
        <a:lnSpc>
          <a:spcPct val="90000"/>
        </a:lnSpc>
        <a:spcBef>
          <a:spcPct val="0"/>
        </a:spcBef>
        <a:buNone/>
        <a:defRPr sz="2400" b="0" i="0" kern="1200">
          <a:solidFill>
            <a:schemeClr val="bg1"/>
          </a:solidFill>
          <a:latin typeface="Arial" panose="020B0604020202020204" pitchFamily="34" charset="0"/>
          <a:ea typeface="Helvetica Neue" panose="02000503000000020004" pitchFamily="2" charset="0"/>
          <a:cs typeface="Arial" panose="020B0604020202020204" pitchFamily="34" charset="0"/>
        </a:defRPr>
      </a:lvl1pPr>
    </p:titleStyle>
    <p:bodyStyle>
      <a:lvl1pPr marL="0" indent="0" algn="l" defTabSz="914400" rtl="0" eaLnBrk="1" latinLnBrk="0" hangingPunct="1">
        <a:lnSpc>
          <a:spcPct val="90000"/>
        </a:lnSpc>
        <a:spcBef>
          <a:spcPts val="1000"/>
        </a:spcBef>
        <a:buClr>
          <a:schemeClr val="tx2"/>
        </a:buClr>
        <a:buFont typeface="Arial" panose="020B0604020202020204" pitchFamily="34" charset="0"/>
        <a:buNone/>
        <a:defRPr sz="2400" kern="1200">
          <a:solidFill>
            <a:schemeClr val="bg1"/>
          </a:solidFill>
          <a:latin typeface="Arial" panose="020B0604020202020204" pitchFamily="34" charset="0"/>
          <a:ea typeface="Helvetica Neue" panose="02000503000000020004" pitchFamily="2" charset="0"/>
          <a:cs typeface="Arial" panose="020B0604020202020204" pitchFamily="34" charset="0"/>
        </a:defRPr>
      </a:lvl1pPr>
      <a:lvl2pPr marL="457200" indent="0" algn="l" defTabSz="914400" rtl="0" eaLnBrk="1" latinLnBrk="0" hangingPunct="1">
        <a:lnSpc>
          <a:spcPct val="90000"/>
        </a:lnSpc>
        <a:spcBef>
          <a:spcPts val="500"/>
        </a:spcBef>
        <a:buClr>
          <a:schemeClr val="accent3">
            <a:lumMod val="20000"/>
            <a:lumOff val="80000"/>
          </a:schemeClr>
        </a:buClr>
        <a:buFont typeface="Arial" panose="020B0604020202020204" pitchFamily="34" charset="0"/>
        <a:buNone/>
        <a:defRPr sz="2000" kern="1200">
          <a:solidFill>
            <a:schemeClr val="bg1"/>
          </a:solidFill>
          <a:latin typeface="Arial" panose="020B0604020202020204" pitchFamily="34" charset="0"/>
          <a:ea typeface="Helvetica Neue" panose="02000503000000020004" pitchFamily="2" charset="0"/>
          <a:cs typeface="Arial" panose="020B0604020202020204" pitchFamily="34" charset="0"/>
        </a:defRPr>
      </a:lvl2pPr>
      <a:lvl3pPr marL="1143000" indent="-228600" algn="l" defTabSz="914400" rtl="0" eaLnBrk="1" latinLnBrk="0" hangingPunct="1">
        <a:lnSpc>
          <a:spcPct val="90000"/>
        </a:lnSpc>
        <a:spcBef>
          <a:spcPts val="500"/>
        </a:spcBef>
        <a:buClr>
          <a:schemeClr val="accent3">
            <a:lumMod val="20000"/>
            <a:lumOff val="80000"/>
          </a:schemeClr>
        </a:buClr>
        <a:buFont typeface="Arial" panose="020B0604020202020204" pitchFamily="34" charset="0"/>
        <a:buChar char="•"/>
        <a:defRPr sz="1800" kern="1200">
          <a:solidFill>
            <a:schemeClr val="bg1"/>
          </a:solidFill>
          <a:latin typeface="Arial" panose="020B0604020202020204" pitchFamily="34" charset="0"/>
          <a:ea typeface="Helvetica Neue" panose="02000503000000020004" pitchFamily="2" charset="0"/>
          <a:cs typeface="Arial" panose="020B0604020202020204" pitchFamily="34" charset="0"/>
        </a:defRPr>
      </a:lvl3pPr>
      <a:lvl4pPr marL="1600200" indent="-228600" algn="l" defTabSz="914400" rtl="0" eaLnBrk="1" latinLnBrk="0" hangingPunct="1">
        <a:lnSpc>
          <a:spcPct val="90000"/>
        </a:lnSpc>
        <a:spcBef>
          <a:spcPts val="500"/>
        </a:spcBef>
        <a:buClr>
          <a:schemeClr val="accent3">
            <a:lumMod val="20000"/>
            <a:lumOff val="80000"/>
          </a:schemeClr>
        </a:buClr>
        <a:buFont typeface="Arial" panose="020B0604020202020204" pitchFamily="34" charset="0"/>
        <a:buChar char="•"/>
        <a:defRPr sz="1600" kern="1200">
          <a:solidFill>
            <a:schemeClr val="bg1"/>
          </a:solidFill>
          <a:latin typeface="Arial" panose="020B0604020202020204" pitchFamily="34" charset="0"/>
          <a:ea typeface="Helvetica Neue" panose="02000503000000020004" pitchFamily="2" charset="0"/>
          <a:cs typeface="Arial" panose="020B0604020202020204" pitchFamily="34" charset="0"/>
        </a:defRPr>
      </a:lvl4pPr>
      <a:lvl5pPr marL="2057400" indent="-228600" algn="l" defTabSz="914400" rtl="0" eaLnBrk="1" latinLnBrk="0" hangingPunct="1">
        <a:lnSpc>
          <a:spcPct val="90000"/>
        </a:lnSpc>
        <a:spcBef>
          <a:spcPts val="500"/>
        </a:spcBef>
        <a:buClr>
          <a:schemeClr val="accent3">
            <a:lumMod val="20000"/>
            <a:lumOff val="80000"/>
          </a:schemeClr>
        </a:buClr>
        <a:buFont typeface="Arial" panose="020B0604020202020204" pitchFamily="34" charset="0"/>
        <a:buChar char="•"/>
        <a:defRPr sz="1600" kern="1200">
          <a:solidFill>
            <a:schemeClr val="bg1"/>
          </a:solidFill>
          <a:latin typeface="Arial" panose="020B0604020202020204" pitchFamily="34" charset="0"/>
          <a:ea typeface="Helvetica Neue" panose="02000503000000020004" pitchFamily="2"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57A0C37-FB3E-737A-5615-C546B6D466D8}"/>
              </a:ext>
            </a:extLst>
          </p:cNvPr>
          <p:cNvGraphicFramePr>
            <a:graphicFrameLocks noChangeAspect="1"/>
          </p:cNvGraphicFramePr>
          <p:nvPr userDrawn="1">
            <p:custDataLst>
              <p:tags r:id="rId19"/>
            </p:custDataLst>
            <p:extLst>
              <p:ext uri="{D42A27DB-BD31-4B8C-83A1-F6EECF244321}">
                <p14:modId xmlns:p14="http://schemas.microsoft.com/office/powerpoint/2010/main" val="1466590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20" imgW="405" imgH="405" progId="TCLayout.ActiveDocument.1">
                  <p:embed/>
                </p:oleObj>
              </mc:Choice>
              <mc:Fallback>
                <p:oleObj name="think-cell Slide" r:id="rId20" imgW="405" imgH="405" progId="TCLayout.ActiveDocument.1">
                  <p:embed/>
                  <p:pic>
                    <p:nvPicPr>
                      <p:cNvPr id="5" name="think-cell data - do not delete" hidden="1">
                        <a:extLst>
                          <a:ext uri="{FF2B5EF4-FFF2-40B4-BE49-F238E27FC236}">
                            <a16:creationId xmlns:a16="http://schemas.microsoft.com/office/drawing/2014/main" id="{F57A0C37-FB3E-737A-5615-C546B6D466D8}"/>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CB3F93A-7D57-E667-CF49-547D709C8ECD}"/>
              </a:ext>
            </a:extLst>
          </p:cNvPr>
          <p:cNvSpPr>
            <a:spLocks noGrp="1"/>
          </p:cNvSpPr>
          <p:nvPr>
            <p:ph type="title"/>
          </p:nvPr>
        </p:nvSpPr>
        <p:spPr>
          <a:xfrm>
            <a:off x="1076400" y="324000"/>
            <a:ext cx="10386000" cy="648000"/>
          </a:xfrm>
          <a:prstGeom prst="rect">
            <a:avLst/>
          </a:prstGeom>
          <a:ln>
            <a:noFill/>
          </a:ln>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526B00E-600C-3EC5-4D58-9A9470DA45F8}"/>
              </a:ext>
            </a:extLst>
          </p:cNvPr>
          <p:cNvSpPr>
            <a:spLocks noGrp="1"/>
          </p:cNvSpPr>
          <p:nvPr>
            <p:ph type="body" idx="1"/>
          </p:nvPr>
        </p:nvSpPr>
        <p:spPr>
          <a:xfrm>
            <a:off x="397566" y="1468800"/>
            <a:ext cx="11062252" cy="4708800"/>
          </a:xfrm>
          <a:prstGeom prst="rect">
            <a:avLst/>
          </a:prstGeom>
          <a:ln>
            <a:noFill/>
          </a:ln>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3" name="Straight Connector 12">
            <a:extLst>
              <a:ext uri="{FF2B5EF4-FFF2-40B4-BE49-F238E27FC236}">
                <a16:creationId xmlns:a16="http://schemas.microsoft.com/office/drawing/2014/main" id="{839453CC-7F66-5B4E-91C7-ABFCBF45DD82}"/>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8AD18B8A-ABC0-1616-2A84-CD7009241CA7}"/>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74C7D8C6-6AB2-AA07-D31B-5743744A0078}"/>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D39F14FD-A4A1-3B1A-C700-D0EEC8851A68}"/>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tx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tx1"/>
                </a:solidFill>
                <a:latin typeface="Garamond" panose="02020404030301010803" pitchFamily="18" charset="0"/>
                <a:ea typeface="Helvetica Neue UltraLight" panose="02000206000000020004" pitchFamily="2" charset="0"/>
              </a:rPr>
              <a:t>expert</a:t>
            </a:r>
            <a:r>
              <a:rPr lang="en-GB" sz="1000" b="0" i="0">
                <a:solidFill>
                  <a:schemeClr val="tx1"/>
                </a:solidFill>
                <a:latin typeface="Helvetica Neue UltraLight" panose="02000206000000020004" pitchFamily="2" charset="0"/>
                <a:ea typeface="Helvetica Neue UltraLight" panose="02000206000000020004" pitchFamily="2" charset="0"/>
              </a:rPr>
              <a:t> </a:t>
            </a:r>
            <a:r>
              <a:rPr lang="en-GB" sz="1000" b="0" i="0">
                <a:solidFill>
                  <a:schemeClr val="tx1"/>
                </a:solidFill>
                <a:latin typeface="Arial" panose="020B0604020202020204" pitchFamily="34" charset="0"/>
                <a:ea typeface="Helvetica Neue Thin" panose="020B0403020202020204" pitchFamily="34" charset="0"/>
                <a:cs typeface="Arial" panose="020B0604020202020204" pitchFamily="34" charset="0"/>
              </a:rPr>
              <a:t>intelligence</a:t>
            </a:r>
          </a:p>
        </p:txBody>
      </p:sp>
      <p:pic>
        <p:nvPicPr>
          <p:cNvPr id="7" name="Picture 6" descr="A logo on a black background&#10;&#10;Description automatically generated">
            <a:extLst>
              <a:ext uri="{FF2B5EF4-FFF2-40B4-BE49-F238E27FC236}">
                <a16:creationId xmlns:a16="http://schemas.microsoft.com/office/drawing/2014/main" id="{A15AF678-2014-6E7C-B31E-F56977F3E458}"/>
              </a:ext>
            </a:extLst>
          </p:cNvPr>
          <p:cNvPicPr>
            <a:picLocks noChangeAspect="1"/>
          </p:cNvPicPr>
          <p:nvPr userDrawn="1"/>
        </p:nvPicPr>
        <p:blipFill rotWithShape="1">
          <a:blip r:embed="rId22"/>
          <a:srcRect l="7819" t="33017" r="74362" b="36885"/>
          <a:stretch/>
        </p:blipFill>
        <p:spPr>
          <a:xfrm>
            <a:off x="263816" y="334800"/>
            <a:ext cx="682031" cy="648000"/>
          </a:xfrm>
          <a:prstGeom prst="rect">
            <a:avLst/>
          </a:prstGeom>
        </p:spPr>
      </p:pic>
      <p:cxnSp>
        <p:nvCxnSpPr>
          <p:cNvPr id="24" name="Straight Connector 23">
            <a:extLst>
              <a:ext uri="{FF2B5EF4-FFF2-40B4-BE49-F238E27FC236}">
                <a16:creationId xmlns:a16="http://schemas.microsoft.com/office/drawing/2014/main" id="{F9A8B042-F53D-A341-A10A-0A9D343D8719}"/>
              </a:ext>
            </a:extLst>
          </p:cNvPr>
          <p:cNvCxnSpPr>
            <a:cxnSpLocks/>
          </p:cNvCxnSpPr>
          <p:nvPr userDrawn="1"/>
        </p:nvCxnSpPr>
        <p:spPr>
          <a:xfrm>
            <a:off x="27036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9C6544F6-F031-A767-FD29-DA832BB008C7}"/>
              </a:ext>
            </a:extLst>
          </p:cNvPr>
          <p:cNvCxnSpPr>
            <a:cxnSpLocks/>
          </p:cNvCxnSpPr>
          <p:nvPr userDrawn="1"/>
        </p:nvCxnSpPr>
        <p:spPr>
          <a:xfrm>
            <a:off x="54900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A7BA2501-CC50-69CB-CDF1-C7E8F3A5A8F5}"/>
              </a:ext>
            </a:extLst>
          </p:cNvPr>
          <p:cNvCxnSpPr>
            <a:cxnSpLocks/>
          </p:cNvCxnSpPr>
          <p:nvPr userDrawn="1"/>
        </p:nvCxnSpPr>
        <p:spPr>
          <a:xfrm>
            <a:off x="74124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E6CA6DF8-0CFF-BD0D-993B-46C692E49013}"/>
              </a:ext>
            </a:extLst>
          </p:cNvPr>
          <p:cNvSpPr txBox="1"/>
          <p:nvPr userDrawn="1"/>
        </p:nvSpPr>
        <p:spPr>
          <a:xfrm>
            <a:off x="11682742" y="6458310"/>
            <a:ext cx="409669" cy="276999"/>
          </a:xfrm>
          <a:prstGeom prst="rect">
            <a:avLst/>
          </a:prstGeom>
          <a:noFill/>
        </p:spPr>
        <p:txBody>
          <a:bodyPr wrap="square" anchor="ctr">
            <a:spAutoFit/>
          </a:bodyPr>
          <a:lstStyle/>
          <a:p>
            <a:fld id="{562BA7E0-5F5E-EE41-AE8D-BD30ED9E17AD}" type="slidenum">
              <a:rPr lang="en-GB" sz="1200" smtClean="0">
                <a:solidFill>
                  <a:schemeClr val="tx1"/>
                </a:solidFill>
                <a:latin typeface="Arial" panose="020B0604020202020204" pitchFamily="34" charset="0"/>
                <a:cs typeface="Arial" panose="020B0604020202020204" pitchFamily="34" charset="0"/>
              </a:rPr>
              <a:pPr/>
              <a:t>‹#›</a:t>
            </a:fld>
            <a:endParaRPr lang="en-GB" sz="1200">
              <a:solidFill>
                <a:schemeClr val="tx1"/>
              </a:solidFill>
              <a:latin typeface="Arial" panose="020B0604020202020204" pitchFamily="34" charset="0"/>
              <a:cs typeface="Arial" panose="020B0604020202020204" pitchFamily="34" charset="0"/>
            </a:endParaRPr>
          </a:p>
        </p:txBody>
      </p:sp>
      <p:sp>
        <p:nvSpPr>
          <p:cNvPr id="6" name="Footer Placeholder 4">
            <a:extLst>
              <a:ext uri="{FF2B5EF4-FFF2-40B4-BE49-F238E27FC236}">
                <a16:creationId xmlns:a16="http://schemas.microsoft.com/office/drawing/2014/main" id="{731FDA51-E221-897D-6EAB-9569DFEFCD07}"/>
              </a:ext>
            </a:extLst>
          </p:cNvPr>
          <p:cNvSpPr>
            <a:spLocks noGrp="1"/>
          </p:cNvSpPr>
          <p:nvPr>
            <p:ph type="ftr" sz="quarter" idx="3"/>
          </p:nvPr>
        </p:nvSpPr>
        <p:spPr>
          <a:xfrm>
            <a:off x="7350369" y="6429964"/>
            <a:ext cx="3176758" cy="309600"/>
          </a:xfrm>
          <a:prstGeom prst="rect">
            <a:avLst/>
          </a:prstGeom>
          <a:ln>
            <a:noFill/>
          </a:ln>
        </p:spPr>
        <p:txBody>
          <a:bodyPr vert="horz" lIns="91440" tIns="45720" rIns="91440" bIns="45720" rtlCol="0" anchor="ctr"/>
          <a:lstStyle>
            <a:lvl1pPr algn="l">
              <a:defRPr sz="1000" b="0" i="0">
                <a:solidFill>
                  <a:schemeClr val="tx1"/>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
        <p:nvSpPr>
          <p:cNvPr id="10" name="TextBox 9">
            <a:extLst>
              <a:ext uri="{FF2B5EF4-FFF2-40B4-BE49-F238E27FC236}">
                <a16:creationId xmlns:a16="http://schemas.microsoft.com/office/drawing/2014/main" id="{4ED3A7C6-9F15-8CA9-3E97-8E41011FF902}"/>
              </a:ext>
            </a:extLst>
          </p:cNvPr>
          <p:cNvSpPr txBox="1"/>
          <p:nvPr userDrawn="1"/>
        </p:nvSpPr>
        <p:spPr>
          <a:xfrm>
            <a:off x="5452637" y="6473698"/>
            <a:ext cx="1286726" cy="276999"/>
          </a:xfrm>
          <a:prstGeom prst="rect">
            <a:avLst/>
          </a:prstGeom>
          <a:noFill/>
          <a:ln>
            <a:noFill/>
          </a:ln>
        </p:spPr>
        <p:txBody>
          <a:bodyPr wrap="square">
            <a:spAutoFit/>
          </a:bodyPr>
          <a:lstStyle/>
          <a:p>
            <a:pPr algn="ctr"/>
            <a:r>
              <a:rPr lang="en-GB" sz="1200" b="0" i="1">
                <a:solidFill>
                  <a:schemeClr val="tx1">
                    <a:lumMod val="50000"/>
                  </a:schemeClr>
                </a:solidFill>
                <a:latin typeface="Garamond" panose="02020404030301010803" pitchFamily="18" charset="0"/>
                <a:ea typeface="Helvetica Neue Thin" panose="020B0403020202020204" pitchFamily="34" charset="0"/>
                <a:cs typeface="Arial" panose="020B0604020202020204" pitchFamily="34" charset="0"/>
              </a:rPr>
              <a:t>October 2025</a:t>
            </a:r>
            <a:endParaRPr lang="en-GB" sz="1000" b="0" i="1">
              <a:solidFill>
                <a:schemeClr val="tx1">
                  <a:lumMod val="50000"/>
                </a:schemeClr>
              </a:solidFill>
              <a:latin typeface="Garamond" panose="02020404030301010803" pitchFamily="18" charset="0"/>
              <a:ea typeface="Helvetica Neue Thin" panose="020B0403020202020204" pitchFamily="34" charset="0"/>
              <a:cs typeface="Arial" panose="020B0604020202020204" pitchFamily="34" charset="0"/>
            </a:endParaRPr>
          </a:p>
        </p:txBody>
      </p:sp>
    </p:spTree>
    <p:extLst>
      <p:ext uri="{BB962C8B-B14F-4D97-AF65-F5344CB8AC3E}">
        <p14:creationId xmlns:p14="http://schemas.microsoft.com/office/powerpoint/2010/main" val="2980599829"/>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Lst>
  <p:hf sldNum="0" hdr="0"/>
  <p:txStyles>
    <p:titleStyle>
      <a:lvl1pPr algn="l" defTabSz="914400" rtl="0" eaLnBrk="1" latinLnBrk="0" hangingPunct="1">
        <a:lnSpc>
          <a:spcPct val="90000"/>
        </a:lnSpc>
        <a:spcBef>
          <a:spcPct val="0"/>
        </a:spcBef>
        <a:buNone/>
        <a:defRPr sz="2400" b="0" i="0" kern="1200">
          <a:solidFill>
            <a:schemeClr val="accent6"/>
          </a:solidFill>
          <a:latin typeface="Arial" panose="020B0604020202020204" pitchFamily="34" charset="0"/>
          <a:ea typeface="Helvetica Neue" panose="02000503000000020004" pitchFamily="2" charset="0"/>
          <a:cs typeface="Arial" panose="020B0604020202020204" pitchFamily="34" charset="0"/>
        </a:defRPr>
      </a:lvl1pPr>
    </p:titleStyle>
    <p:bodyStyle>
      <a:lvl1pPr marL="0" indent="0" algn="l" defTabSz="914400" rtl="0" eaLnBrk="1" latinLnBrk="0" hangingPunct="1">
        <a:lnSpc>
          <a:spcPct val="90000"/>
        </a:lnSpc>
        <a:spcBef>
          <a:spcPts val="1000"/>
        </a:spcBef>
        <a:buClr>
          <a:schemeClr val="tx2"/>
        </a:buClr>
        <a:buFont typeface="Arial" panose="020B0604020202020204" pitchFamily="34" charset="0"/>
        <a:buNone/>
        <a:defRPr sz="1600" b="0" kern="1200">
          <a:solidFill>
            <a:schemeClr val="accent6"/>
          </a:solidFill>
          <a:latin typeface="Arial" panose="020B0604020202020204" pitchFamily="34" charset="0"/>
          <a:ea typeface="Helvetica Neue" panose="02000503000000020004" pitchFamily="2" charset="0"/>
          <a:cs typeface="Arial" panose="020B0604020202020204" pitchFamily="34" charset="0"/>
        </a:defRPr>
      </a:lvl1pPr>
      <a:lvl2pPr marL="0" indent="0" algn="l" defTabSz="914400" rtl="0" eaLnBrk="1" latinLnBrk="0" hangingPunct="1">
        <a:lnSpc>
          <a:spcPct val="90000"/>
        </a:lnSpc>
        <a:spcBef>
          <a:spcPts val="500"/>
        </a:spcBef>
        <a:buClr>
          <a:schemeClr val="accent3">
            <a:lumMod val="20000"/>
            <a:lumOff val="80000"/>
          </a:schemeClr>
        </a:buClr>
        <a:buFont typeface="Arial" panose="020B0604020202020204" pitchFamily="34" charset="0"/>
        <a:buNone/>
        <a:defRPr sz="1300" kern="1200">
          <a:solidFill>
            <a:schemeClr val="bg2">
              <a:lumMod val="25000"/>
            </a:schemeClr>
          </a:solidFill>
          <a:latin typeface="Arial" panose="020B0604020202020204" pitchFamily="34" charset="0"/>
          <a:ea typeface="Helvetica Neue" panose="02000503000000020004" pitchFamily="2" charset="0"/>
          <a:cs typeface="Arial" panose="020B0604020202020204" pitchFamily="34" charset="0"/>
        </a:defRPr>
      </a:lvl2pPr>
      <a:lvl3pPr marL="355600" indent="-177800" algn="l" defTabSz="914400" rtl="0" eaLnBrk="1" latinLnBrk="0" hangingPunct="1">
        <a:lnSpc>
          <a:spcPct val="90000"/>
        </a:lnSpc>
        <a:spcBef>
          <a:spcPts val="500"/>
        </a:spcBef>
        <a:buClr>
          <a:schemeClr val="accent3">
            <a:lumMod val="75000"/>
          </a:schemeClr>
        </a:buClr>
        <a:buFont typeface="Arial" panose="020B0604020202020204" pitchFamily="34" charset="0"/>
        <a:buChar char="•"/>
        <a:defRPr sz="1300" kern="1200">
          <a:solidFill>
            <a:schemeClr val="bg2">
              <a:lumMod val="25000"/>
            </a:schemeClr>
          </a:solidFill>
          <a:latin typeface="Arial" panose="020B0604020202020204" pitchFamily="34" charset="0"/>
          <a:ea typeface="Helvetica Neue" panose="02000503000000020004" pitchFamily="2" charset="0"/>
          <a:cs typeface="Arial" panose="020B0604020202020204" pitchFamily="34" charset="0"/>
        </a:defRPr>
      </a:lvl3pPr>
      <a:lvl4pPr marL="622300" indent="-266700" algn="l" defTabSz="914400" rtl="0" eaLnBrk="1" latinLnBrk="0" hangingPunct="1">
        <a:lnSpc>
          <a:spcPct val="90000"/>
        </a:lnSpc>
        <a:spcBef>
          <a:spcPts val="500"/>
        </a:spcBef>
        <a:buClr>
          <a:schemeClr val="accent3">
            <a:lumMod val="75000"/>
          </a:schemeClr>
        </a:buClr>
        <a:buFont typeface="Courier New" panose="02070309020205020404" pitchFamily="49" charset="0"/>
        <a:buChar char="o"/>
        <a:defRPr sz="1050" kern="1200">
          <a:solidFill>
            <a:schemeClr val="bg2">
              <a:lumMod val="25000"/>
            </a:schemeClr>
          </a:solidFill>
          <a:latin typeface="Arial" panose="020B0604020202020204" pitchFamily="34" charset="0"/>
          <a:ea typeface="Helvetica Neue" panose="02000503000000020004" pitchFamily="2" charset="0"/>
          <a:cs typeface="Arial" panose="020B0604020202020204" pitchFamily="34" charset="0"/>
        </a:defRPr>
      </a:lvl4pPr>
      <a:lvl5pPr marL="0" indent="0" algn="l" defTabSz="914400" rtl="0" eaLnBrk="1" latinLnBrk="0" hangingPunct="1">
        <a:lnSpc>
          <a:spcPct val="90000"/>
        </a:lnSpc>
        <a:spcBef>
          <a:spcPts val="500"/>
        </a:spcBef>
        <a:buClr>
          <a:schemeClr val="accent3">
            <a:lumMod val="20000"/>
            <a:lumOff val="80000"/>
          </a:schemeClr>
        </a:buClr>
        <a:buFont typeface="Arial" panose="020B0604020202020204" pitchFamily="34" charset="0"/>
        <a:buNone/>
        <a:defRPr sz="1050" kern="1200">
          <a:solidFill>
            <a:schemeClr val="bg2">
              <a:lumMod val="25000"/>
            </a:schemeClr>
          </a:solidFill>
          <a:latin typeface="Arial" panose="020B0604020202020204" pitchFamily="34" charset="0"/>
          <a:ea typeface="Helvetica Neue" panose="02000503000000020004" pitchFamily="2"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EC519BC-391E-C846-F99D-8CF65C862D0B}"/>
              </a:ext>
            </a:extLst>
          </p:cNvPr>
          <p:cNvGraphicFramePr>
            <a:graphicFrameLocks noChangeAspect="1"/>
          </p:cNvGraphicFramePr>
          <p:nvPr userDrawn="1">
            <p:custDataLst>
              <p:tags r:id="rId24"/>
            </p:custDataLst>
            <p:extLst>
              <p:ext uri="{D42A27DB-BD31-4B8C-83A1-F6EECF244321}">
                <p14:modId xmlns:p14="http://schemas.microsoft.com/office/powerpoint/2010/main" val="3758250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25" imgW="405" imgH="405" progId="TCLayout.ActiveDocument.1">
                  <p:embed/>
                </p:oleObj>
              </mc:Choice>
              <mc:Fallback>
                <p:oleObj name="think-cell Slide" r:id="rId25" imgW="405" imgH="405" progId="TCLayout.ActiveDocument.1">
                  <p:embed/>
                  <p:pic>
                    <p:nvPicPr>
                      <p:cNvPr id="5" name="think-cell data - do not delete" hidden="1">
                        <a:extLst>
                          <a:ext uri="{FF2B5EF4-FFF2-40B4-BE49-F238E27FC236}">
                            <a16:creationId xmlns:a16="http://schemas.microsoft.com/office/drawing/2014/main" id="{4EC519BC-391E-C846-F99D-8CF65C862D0B}"/>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CB3F93A-7D57-E667-CF49-547D709C8ECD}"/>
              </a:ext>
            </a:extLst>
          </p:cNvPr>
          <p:cNvSpPr>
            <a:spLocks noGrp="1"/>
          </p:cNvSpPr>
          <p:nvPr>
            <p:ph type="title"/>
          </p:nvPr>
        </p:nvSpPr>
        <p:spPr>
          <a:xfrm>
            <a:off x="1076400" y="324000"/>
            <a:ext cx="10386000" cy="648000"/>
          </a:xfrm>
          <a:prstGeom prst="rect">
            <a:avLst/>
          </a:prstGeom>
          <a:ln>
            <a:noFill/>
          </a:ln>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526B00E-600C-3EC5-4D58-9A9470DA45F8}"/>
              </a:ext>
            </a:extLst>
          </p:cNvPr>
          <p:cNvSpPr>
            <a:spLocks noGrp="1"/>
          </p:cNvSpPr>
          <p:nvPr>
            <p:ph type="body" idx="1"/>
          </p:nvPr>
        </p:nvSpPr>
        <p:spPr>
          <a:xfrm>
            <a:off x="397566" y="1468800"/>
            <a:ext cx="11062252" cy="4708800"/>
          </a:xfrm>
          <a:prstGeom prst="rect">
            <a:avLst/>
          </a:prstGeom>
          <a:ln>
            <a:noFill/>
          </a:ln>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3" name="Straight Connector 12">
            <a:extLst>
              <a:ext uri="{FF2B5EF4-FFF2-40B4-BE49-F238E27FC236}">
                <a16:creationId xmlns:a16="http://schemas.microsoft.com/office/drawing/2014/main" id="{839453CC-7F66-5B4E-91C7-ABFCBF45DD82}"/>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8AD18B8A-ABC0-1616-2A84-CD7009241CA7}"/>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74C7D8C6-6AB2-AA07-D31B-5743744A0078}"/>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D39F14FD-A4A1-3B1A-C700-D0EEC8851A68}"/>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tx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tx1"/>
                </a:solidFill>
                <a:latin typeface="Garamond" panose="02020404030301010803" pitchFamily="18" charset="0"/>
                <a:ea typeface="Helvetica Neue UltraLight" panose="02000206000000020004" pitchFamily="2" charset="0"/>
              </a:rPr>
              <a:t>expert</a:t>
            </a:r>
            <a:r>
              <a:rPr lang="en-GB" sz="1000" b="0" i="0">
                <a:solidFill>
                  <a:schemeClr val="tx1"/>
                </a:solidFill>
                <a:latin typeface="Helvetica Neue UltraLight" panose="02000206000000020004" pitchFamily="2" charset="0"/>
                <a:ea typeface="Helvetica Neue UltraLight" panose="02000206000000020004" pitchFamily="2" charset="0"/>
              </a:rPr>
              <a:t> </a:t>
            </a:r>
            <a:r>
              <a:rPr lang="en-GB" sz="1000" b="0" i="0">
                <a:solidFill>
                  <a:schemeClr val="tx1"/>
                </a:solidFill>
                <a:latin typeface="Arial" panose="020B0604020202020204" pitchFamily="34" charset="0"/>
                <a:ea typeface="Helvetica Neue Thin" panose="020B0403020202020204" pitchFamily="34" charset="0"/>
                <a:cs typeface="Arial" panose="020B0604020202020204" pitchFamily="34" charset="0"/>
              </a:rPr>
              <a:t>intelligence</a:t>
            </a:r>
          </a:p>
        </p:txBody>
      </p:sp>
      <p:pic>
        <p:nvPicPr>
          <p:cNvPr id="7" name="Picture 6" descr="A logo on a black background&#10;&#10;Description automatically generated">
            <a:extLst>
              <a:ext uri="{FF2B5EF4-FFF2-40B4-BE49-F238E27FC236}">
                <a16:creationId xmlns:a16="http://schemas.microsoft.com/office/drawing/2014/main" id="{A15AF678-2014-6E7C-B31E-F56977F3E458}"/>
              </a:ext>
            </a:extLst>
          </p:cNvPr>
          <p:cNvPicPr>
            <a:picLocks noChangeAspect="1"/>
          </p:cNvPicPr>
          <p:nvPr userDrawn="1"/>
        </p:nvPicPr>
        <p:blipFill rotWithShape="1">
          <a:blip r:embed="rId27"/>
          <a:srcRect l="7819" t="33017" r="74362" b="36885"/>
          <a:stretch/>
        </p:blipFill>
        <p:spPr>
          <a:xfrm>
            <a:off x="263816" y="334800"/>
            <a:ext cx="682031" cy="648000"/>
          </a:xfrm>
          <a:prstGeom prst="rect">
            <a:avLst/>
          </a:prstGeom>
        </p:spPr>
      </p:pic>
      <p:cxnSp>
        <p:nvCxnSpPr>
          <p:cNvPr id="24" name="Straight Connector 23">
            <a:extLst>
              <a:ext uri="{FF2B5EF4-FFF2-40B4-BE49-F238E27FC236}">
                <a16:creationId xmlns:a16="http://schemas.microsoft.com/office/drawing/2014/main" id="{F9A8B042-F53D-A341-A10A-0A9D343D8719}"/>
              </a:ext>
            </a:extLst>
          </p:cNvPr>
          <p:cNvCxnSpPr>
            <a:cxnSpLocks/>
          </p:cNvCxnSpPr>
          <p:nvPr userDrawn="1"/>
        </p:nvCxnSpPr>
        <p:spPr>
          <a:xfrm>
            <a:off x="27036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9C6544F6-F031-A767-FD29-DA832BB008C7}"/>
              </a:ext>
            </a:extLst>
          </p:cNvPr>
          <p:cNvCxnSpPr>
            <a:cxnSpLocks/>
          </p:cNvCxnSpPr>
          <p:nvPr userDrawn="1"/>
        </p:nvCxnSpPr>
        <p:spPr>
          <a:xfrm>
            <a:off x="54900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A7BA2501-CC50-69CB-CDF1-C7E8F3A5A8F5}"/>
              </a:ext>
            </a:extLst>
          </p:cNvPr>
          <p:cNvCxnSpPr>
            <a:cxnSpLocks/>
          </p:cNvCxnSpPr>
          <p:nvPr userDrawn="1"/>
        </p:nvCxnSpPr>
        <p:spPr>
          <a:xfrm>
            <a:off x="74124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E6CA6DF8-0CFF-BD0D-993B-46C692E49013}"/>
              </a:ext>
            </a:extLst>
          </p:cNvPr>
          <p:cNvSpPr txBox="1"/>
          <p:nvPr userDrawn="1"/>
        </p:nvSpPr>
        <p:spPr>
          <a:xfrm>
            <a:off x="11682742" y="6458310"/>
            <a:ext cx="409669" cy="276999"/>
          </a:xfrm>
          <a:prstGeom prst="rect">
            <a:avLst/>
          </a:prstGeom>
          <a:noFill/>
        </p:spPr>
        <p:txBody>
          <a:bodyPr wrap="square" anchor="ctr">
            <a:spAutoFit/>
          </a:bodyPr>
          <a:lstStyle/>
          <a:p>
            <a:fld id="{562BA7E0-5F5E-EE41-AE8D-BD30ED9E17AD}" type="slidenum">
              <a:rPr lang="en-GB" sz="1200" smtClean="0">
                <a:solidFill>
                  <a:schemeClr val="tx1"/>
                </a:solidFill>
                <a:latin typeface="Arial" panose="020B0604020202020204" pitchFamily="34" charset="0"/>
                <a:cs typeface="Arial" panose="020B0604020202020204" pitchFamily="34" charset="0"/>
              </a:rPr>
              <a:pPr/>
              <a:t>‹#›</a:t>
            </a:fld>
            <a:endParaRPr lang="en-GB" sz="1200">
              <a:solidFill>
                <a:schemeClr val="tx1"/>
              </a:solidFill>
              <a:latin typeface="Arial" panose="020B0604020202020204" pitchFamily="34" charset="0"/>
              <a:cs typeface="Arial" panose="020B0604020202020204" pitchFamily="34" charset="0"/>
            </a:endParaRPr>
          </a:p>
        </p:txBody>
      </p:sp>
      <p:sp>
        <p:nvSpPr>
          <p:cNvPr id="6" name="Footer Placeholder 4">
            <a:extLst>
              <a:ext uri="{FF2B5EF4-FFF2-40B4-BE49-F238E27FC236}">
                <a16:creationId xmlns:a16="http://schemas.microsoft.com/office/drawing/2014/main" id="{731FDA51-E221-897D-6EAB-9569DFEFCD07}"/>
              </a:ext>
            </a:extLst>
          </p:cNvPr>
          <p:cNvSpPr>
            <a:spLocks noGrp="1"/>
          </p:cNvSpPr>
          <p:nvPr>
            <p:ph type="ftr" sz="quarter" idx="3"/>
          </p:nvPr>
        </p:nvSpPr>
        <p:spPr>
          <a:xfrm>
            <a:off x="7350369" y="6429964"/>
            <a:ext cx="3176758" cy="309600"/>
          </a:xfrm>
          <a:prstGeom prst="rect">
            <a:avLst/>
          </a:prstGeom>
          <a:ln>
            <a:noFill/>
          </a:ln>
        </p:spPr>
        <p:txBody>
          <a:bodyPr vert="horz" lIns="91440" tIns="45720" rIns="91440" bIns="45720" rtlCol="0" anchor="ctr"/>
          <a:lstStyle>
            <a:lvl1pPr algn="l">
              <a:defRPr sz="1000" b="0" i="0">
                <a:solidFill>
                  <a:schemeClr val="tx1"/>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
        <p:nvSpPr>
          <p:cNvPr id="10" name="TextBox 9">
            <a:extLst>
              <a:ext uri="{FF2B5EF4-FFF2-40B4-BE49-F238E27FC236}">
                <a16:creationId xmlns:a16="http://schemas.microsoft.com/office/drawing/2014/main" id="{4ED3A7C6-9F15-8CA9-3E97-8E41011FF902}"/>
              </a:ext>
            </a:extLst>
          </p:cNvPr>
          <p:cNvSpPr txBox="1"/>
          <p:nvPr userDrawn="1"/>
        </p:nvSpPr>
        <p:spPr>
          <a:xfrm>
            <a:off x="5476126" y="6473698"/>
            <a:ext cx="1286726" cy="276999"/>
          </a:xfrm>
          <a:prstGeom prst="rect">
            <a:avLst/>
          </a:prstGeom>
          <a:noFill/>
          <a:ln>
            <a:noFill/>
          </a:ln>
        </p:spPr>
        <p:txBody>
          <a:bodyPr wrap="square">
            <a:spAutoFit/>
          </a:bodyPr>
          <a:lstStyle/>
          <a:p>
            <a:pPr algn="ctr"/>
            <a:r>
              <a:rPr lang="en-GB" sz="1200" b="0" i="1">
                <a:solidFill>
                  <a:schemeClr val="tx1">
                    <a:lumMod val="50000"/>
                  </a:schemeClr>
                </a:solidFill>
                <a:latin typeface="Garamond" panose="02020404030301010803" pitchFamily="18" charset="0"/>
                <a:ea typeface="Helvetica Neue Thin" panose="020B0403020202020204" pitchFamily="34" charset="0"/>
                <a:cs typeface="Arial" panose="020B0604020202020204" pitchFamily="34" charset="0"/>
              </a:rPr>
              <a:t>October 2025</a:t>
            </a:r>
            <a:endParaRPr lang="en-GB" sz="1000" b="0" i="1">
              <a:solidFill>
                <a:schemeClr val="tx1">
                  <a:lumMod val="50000"/>
                </a:schemeClr>
              </a:solidFill>
              <a:latin typeface="Garamond" panose="02020404030301010803" pitchFamily="18" charset="0"/>
              <a:ea typeface="Helvetica Neue Thin" panose="020B0403020202020204" pitchFamily="34" charset="0"/>
              <a:cs typeface="Arial" panose="020B0604020202020204" pitchFamily="34" charset="0"/>
            </a:endParaRPr>
          </a:p>
        </p:txBody>
      </p:sp>
    </p:spTree>
    <p:extLst>
      <p:ext uri="{BB962C8B-B14F-4D97-AF65-F5344CB8AC3E}">
        <p14:creationId xmlns:p14="http://schemas.microsoft.com/office/powerpoint/2010/main" val="2291073692"/>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69" r:id="rId3"/>
    <p:sldLayoutId id="2147483870" r:id="rId4"/>
    <p:sldLayoutId id="2147483871" r:id="rId5"/>
    <p:sldLayoutId id="2147483872" r:id="rId6"/>
    <p:sldLayoutId id="2147483873" r:id="rId7"/>
    <p:sldLayoutId id="2147483874" r:id="rId8"/>
    <p:sldLayoutId id="2147483875" r:id="rId9"/>
    <p:sldLayoutId id="2147483876" r:id="rId10"/>
    <p:sldLayoutId id="2147483877" r:id="rId11"/>
    <p:sldLayoutId id="2147483878" r:id="rId12"/>
    <p:sldLayoutId id="2147483879" r:id="rId13"/>
    <p:sldLayoutId id="2147483880" r:id="rId14"/>
    <p:sldLayoutId id="2147483881" r:id="rId15"/>
    <p:sldLayoutId id="2147483882" r:id="rId16"/>
    <p:sldLayoutId id="2147483883" r:id="rId17"/>
    <p:sldLayoutId id="2147483884" r:id="rId18"/>
    <p:sldLayoutId id="2147483887" r:id="rId19"/>
    <p:sldLayoutId id="2147483983" r:id="rId20"/>
    <p:sldLayoutId id="2147483984" r:id="rId21"/>
  </p:sldLayoutIdLst>
  <p:hf sldNum="0" hdr="0"/>
  <p:txStyles>
    <p:titleStyle>
      <a:lvl1pPr algn="l" defTabSz="914400" rtl="0" eaLnBrk="1" latinLnBrk="0" hangingPunct="1">
        <a:lnSpc>
          <a:spcPct val="90000"/>
        </a:lnSpc>
        <a:spcBef>
          <a:spcPct val="0"/>
        </a:spcBef>
        <a:buNone/>
        <a:defRPr sz="2400" b="0" i="0" kern="1200">
          <a:solidFill>
            <a:schemeClr val="accent6"/>
          </a:solidFill>
          <a:latin typeface="Arial" panose="020B0604020202020204" pitchFamily="34" charset="0"/>
          <a:ea typeface="Helvetica Neue" panose="02000503000000020004" pitchFamily="2" charset="0"/>
          <a:cs typeface="Arial" panose="020B0604020202020204" pitchFamily="34" charset="0"/>
        </a:defRPr>
      </a:lvl1pPr>
    </p:titleStyle>
    <p:bodyStyle>
      <a:lvl1pPr marL="0" indent="0" algn="l" defTabSz="914400" rtl="0" eaLnBrk="1" latinLnBrk="0" hangingPunct="1">
        <a:lnSpc>
          <a:spcPct val="90000"/>
        </a:lnSpc>
        <a:spcBef>
          <a:spcPts val="1000"/>
        </a:spcBef>
        <a:buClr>
          <a:schemeClr val="tx2"/>
        </a:buClr>
        <a:buFont typeface="Arial" panose="020B0604020202020204" pitchFamily="34" charset="0"/>
        <a:buNone/>
        <a:defRPr sz="1600" b="0" kern="1200">
          <a:solidFill>
            <a:schemeClr val="accent6"/>
          </a:solidFill>
          <a:latin typeface="Arial" panose="020B0604020202020204" pitchFamily="34" charset="0"/>
          <a:ea typeface="Helvetica Neue" panose="02000503000000020004" pitchFamily="2" charset="0"/>
          <a:cs typeface="Arial" panose="020B0604020202020204" pitchFamily="34" charset="0"/>
        </a:defRPr>
      </a:lvl1pPr>
      <a:lvl2pPr marL="0" indent="0" algn="l" defTabSz="914400" rtl="0" eaLnBrk="1" latinLnBrk="0" hangingPunct="1">
        <a:lnSpc>
          <a:spcPct val="90000"/>
        </a:lnSpc>
        <a:spcBef>
          <a:spcPts val="500"/>
        </a:spcBef>
        <a:buClr>
          <a:schemeClr val="accent3">
            <a:lumMod val="20000"/>
            <a:lumOff val="80000"/>
          </a:schemeClr>
        </a:buClr>
        <a:buFont typeface="Arial" panose="020B0604020202020204" pitchFamily="34" charset="0"/>
        <a:buNone/>
        <a:defRPr sz="1300" kern="1200">
          <a:solidFill>
            <a:schemeClr val="bg2">
              <a:lumMod val="25000"/>
            </a:schemeClr>
          </a:solidFill>
          <a:latin typeface="Arial" panose="020B0604020202020204" pitchFamily="34" charset="0"/>
          <a:ea typeface="Helvetica Neue" panose="02000503000000020004" pitchFamily="2" charset="0"/>
          <a:cs typeface="Arial" panose="020B0604020202020204" pitchFamily="34" charset="0"/>
        </a:defRPr>
      </a:lvl2pPr>
      <a:lvl3pPr marL="355600" indent="-177800" algn="l" defTabSz="914400" rtl="0" eaLnBrk="1" latinLnBrk="0" hangingPunct="1">
        <a:lnSpc>
          <a:spcPct val="90000"/>
        </a:lnSpc>
        <a:spcBef>
          <a:spcPts val="500"/>
        </a:spcBef>
        <a:buClr>
          <a:schemeClr val="accent3">
            <a:lumMod val="75000"/>
          </a:schemeClr>
        </a:buClr>
        <a:buFont typeface="Arial" panose="020B0604020202020204" pitchFamily="34" charset="0"/>
        <a:buChar char="•"/>
        <a:defRPr sz="1300" kern="1200">
          <a:solidFill>
            <a:schemeClr val="bg2">
              <a:lumMod val="25000"/>
            </a:schemeClr>
          </a:solidFill>
          <a:latin typeface="Arial" panose="020B0604020202020204" pitchFamily="34" charset="0"/>
          <a:ea typeface="Helvetica Neue" panose="02000503000000020004" pitchFamily="2" charset="0"/>
          <a:cs typeface="Arial" panose="020B0604020202020204" pitchFamily="34" charset="0"/>
        </a:defRPr>
      </a:lvl3pPr>
      <a:lvl4pPr marL="622300" indent="-266700" algn="l" defTabSz="914400" rtl="0" eaLnBrk="1" latinLnBrk="0" hangingPunct="1">
        <a:lnSpc>
          <a:spcPct val="90000"/>
        </a:lnSpc>
        <a:spcBef>
          <a:spcPts val="500"/>
        </a:spcBef>
        <a:buClr>
          <a:schemeClr val="accent3">
            <a:lumMod val="75000"/>
          </a:schemeClr>
        </a:buClr>
        <a:buFont typeface="Courier New" panose="02070309020205020404" pitchFamily="49" charset="0"/>
        <a:buChar char="o"/>
        <a:defRPr sz="1050" kern="1200">
          <a:solidFill>
            <a:schemeClr val="bg2">
              <a:lumMod val="25000"/>
            </a:schemeClr>
          </a:solidFill>
          <a:latin typeface="Arial" panose="020B0604020202020204" pitchFamily="34" charset="0"/>
          <a:ea typeface="Helvetica Neue" panose="02000503000000020004" pitchFamily="2" charset="0"/>
          <a:cs typeface="Arial" panose="020B0604020202020204" pitchFamily="34" charset="0"/>
        </a:defRPr>
      </a:lvl4pPr>
      <a:lvl5pPr marL="0" indent="0" algn="l" defTabSz="914400" rtl="0" eaLnBrk="1" latinLnBrk="0" hangingPunct="1">
        <a:lnSpc>
          <a:spcPct val="90000"/>
        </a:lnSpc>
        <a:spcBef>
          <a:spcPts val="500"/>
        </a:spcBef>
        <a:buClr>
          <a:schemeClr val="accent3">
            <a:lumMod val="20000"/>
            <a:lumOff val="80000"/>
          </a:schemeClr>
        </a:buClr>
        <a:buFont typeface="Arial" panose="020B0604020202020204" pitchFamily="34" charset="0"/>
        <a:buNone/>
        <a:defRPr sz="1050" kern="1200">
          <a:solidFill>
            <a:schemeClr val="bg2">
              <a:lumMod val="25000"/>
            </a:schemeClr>
          </a:solidFill>
          <a:latin typeface="Arial" panose="020B0604020202020204" pitchFamily="34" charset="0"/>
          <a:ea typeface="Helvetica Neue" panose="02000503000000020004" pitchFamily="2"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5856A69-5609-D6B9-1850-22CC688E5C29}"/>
              </a:ext>
            </a:extLst>
          </p:cNvPr>
          <p:cNvGraphicFramePr>
            <a:graphicFrameLocks noChangeAspect="1"/>
          </p:cNvGraphicFramePr>
          <p:nvPr userDrawn="1">
            <p:custDataLst>
              <p:tags r:id="rId19"/>
            </p:custDataLst>
            <p:extLst>
              <p:ext uri="{D42A27DB-BD31-4B8C-83A1-F6EECF244321}">
                <p14:modId xmlns:p14="http://schemas.microsoft.com/office/powerpoint/2010/main" val="1678806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20" imgW="405" imgH="405" progId="TCLayout.ActiveDocument.1">
                  <p:embed/>
                </p:oleObj>
              </mc:Choice>
              <mc:Fallback>
                <p:oleObj name="think-cell Slide" r:id="rId20" imgW="405" imgH="405" progId="TCLayout.ActiveDocument.1">
                  <p:embed/>
                  <p:pic>
                    <p:nvPicPr>
                      <p:cNvPr id="6" name="think-cell data - do not delete" hidden="1">
                        <a:extLst>
                          <a:ext uri="{FF2B5EF4-FFF2-40B4-BE49-F238E27FC236}">
                            <a16:creationId xmlns:a16="http://schemas.microsoft.com/office/drawing/2014/main" id="{45856A69-5609-D6B9-1850-22CC688E5C29}"/>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CB3F93A-7D57-E667-CF49-547D709C8ECD}"/>
              </a:ext>
            </a:extLst>
          </p:cNvPr>
          <p:cNvSpPr>
            <a:spLocks noGrp="1"/>
          </p:cNvSpPr>
          <p:nvPr>
            <p:ph type="title"/>
          </p:nvPr>
        </p:nvSpPr>
        <p:spPr>
          <a:xfrm>
            <a:off x="1076400" y="324000"/>
            <a:ext cx="10684732" cy="648000"/>
          </a:xfrm>
          <a:prstGeom prst="rect">
            <a:avLst/>
          </a:prstGeom>
          <a:ln>
            <a:noFill/>
          </a:ln>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526B00E-600C-3EC5-4D58-9A9470DA45F8}"/>
              </a:ext>
            </a:extLst>
          </p:cNvPr>
          <p:cNvSpPr>
            <a:spLocks noGrp="1"/>
          </p:cNvSpPr>
          <p:nvPr>
            <p:ph type="body" idx="1"/>
          </p:nvPr>
        </p:nvSpPr>
        <p:spPr>
          <a:xfrm>
            <a:off x="413999" y="1188000"/>
            <a:ext cx="11380435" cy="4708800"/>
          </a:xfrm>
          <a:prstGeom prst="rect">
            <a:avLst/>
          </a:prstGeom>
          <a:ln>
            <a:noFill/>
          </a:ln>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AE485163-71E9-943D-412A-2F55FAA155A8}"/>
              </a:ext>
            </a:extLst>
          </p:cNvPr>
          <p:cNvSpPr>
            <a:spLocks noGrp="1"/>
          </p:cNvSpPr>
          <p:nvPr>
            <p:ph type="ftr" sz="quarter" idx="3"/>
          </p:nvPr>
        </p:nvSpPr>
        <p:spPr>
          <a:xfrm>
            <a:off x="7350369" y="6408000"/>
            <a:ext cx="3176758" cy="309600"/>
          </a:xfrm>
          <a:prstGeom prst="rect">
            <a:avLst/>
          </a:prstGeom>
          <a:ln>
            <a:noFill/>
          </a:ln>
        </p:spPr>
        <p:txBody>
          <a:bodyPr vert="horz" lIns="91440" tIns="45720" rIns="91440" bIns="45720" rtlCol="0" anchor="ctr"/>
          <a:lstStyle>
            <a:lvl1pPr algn="l">
              <a:defRPr sz="1000" b="0" i="0">
                <a:solidFill>
                  <a:schemeClr val="tx1"/>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cxnSp>
        <p:nvCxnSpPr>
          <p:cNvPr id="13" name="Straight Connector 12">
            <a:extLst>
              <a:ext uri="{FF2B5EF4-FFF2-40B4-BE49-F238E27FC236}">
                <a16:creationId xmlns:a16="http://schemas.microsoft.com/office/drawing/2014/main" id="{839453CC-7F66-5B4E-91C7-ABFCBF45DD82}"/>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8AD18B8A-ABC0-1616-2A84-CD7009241CA7}"/>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74C7D8C6-6AB2-AA07-D31B-5743744A0078}"/>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D39F14FD-A4A1-3B1A-C700-D0EEC8851A68}"/>
              </a:ext>
            </a:extLst>
          </p:cNvPr>
          <p:cNvSpPr txBox="1"/>
          <p:nvPr userDrawn="1"/>
        </p:nvSpPr>
        <p:spPr>
          <a:xfrm>
            <a:off x="2623437" y="6408000"/>
            <a:ext cx="2455460" cy="309600"/>
          </a:xfrm>
          <a:prstGeom prst="rect">
            <a:avLst/>
          </a:prstGeom>
          <a:noFill/>
          <a:ln>
            <a:noFill/>
          </a:ln>
        </p:spPr>
        <p:txBody>
          <a:bodyPr wrap="square" anchor="ctr">
            <a:spAutoFit/>
          </a:bodyPr>
          <a:lstStyle/>
          <a:p>
            <a:r>
              <a:rPr lang="en-GB" sz="1000" b="0" i="0">
                <a:solidFill>
                  <a:schemeClr val="tx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tx1"/>
                </a:solidFill>
                <a:latin typeface="Garamond" panose="02020404030301010803" pitchFamily="18" charset="0"/>
                <a:ea typeface="Helvetica Neue UltraLight" panose="02000206000000020004" pitchFamily="2" charset="0"/>
              </a:rPr>
              <a:t>expert</a:t>
            </a:r>
            <a:r>
              <a:rPr lang="en-GB" sz="1000" b="0" i="0">
                <a:solidFill>
                  <a:schemeClr val="tx1"/>
                </a:solidFill>
                <a:latin typeface="Helvetica Neue UltraLight" panose="02000206000000020004" pitchFamily="2" charset="0"/>
                <a:ea typeface="Helvetica Neue UltraLight" panose="02000206000000020004" pitchFamily="2" charset="0"/>
              </a:rPr>
              <a:t> </a:t>
            </a:r>
            <a:r>
              <a:rPr lang="en-GB" sz="1000" b="0" i="0">
                <a:solidFill>
                  <a:schemeClr val="tx1"/>
                </a:solidFill>
                <a:latin typeface="Arial" panose="020B0604020202020204" pitchFamily="34" charset="0"/>
                <a:ea typeface="Helvetica Neue Thin" panose="020B0403020202020204" pitchFamily="34" charset="0"/>
                <a:cs typeface="Arial" panose="020B0604020202020204" pitchFamily="34" charset="0"/>
              </a:rPr>
              <a:t>intelligence</a:t>
            </a:r>
          </a:p>
        </p:txBody>
      </p:sp>
      <p:pic>
        <p:nvPicPr>
          <p:cNvPr id="7" name="Picture 6" descr="A logo on a black background&#10;&#10;Description automatically generated">
            <a:extLst>
              <a:ext uri="{FF2B5EF4-FFF2-40B4-BE49-F238E27FC236}">
                <a16:creationId xmlns:a16="http://schemas.microsoft.com/office/drawing/2014/main" id="{A15AF678-2014-6E7C-B31E-F56977F3E458}"/>
              </a:ext>
            </a:extLst>
          </p:cNvPr>
          <p:cNvPicPr>
            <a:picLocks noChangeAspect="1"/>
          </p:cNvPicPr>
          <p:nvPr userDrawn="1"/>
        </p:nvPicPr>
        <p:blipFill rotWithShape="1">
          <a:blip r:embed="rId22"/>
          <a:srcRect l="8433" t="34147" r="75111" b="37880"/>
          <a:stretch/>
        </p:blipFill>
        <p:spPr>
          <a:xfrm>
            <a:off x="262800" y="331200"/>
            <a:ext cx="684000" cy="648000"/>
          </a:xfrm>
          <a:prstGeom prst="rect">
            <a:avLst/>
          </a:prstGeom>
        </p:spPr>
      </p:pic>
      <p:cxnSp>
        <p:nvCxnSpPr>
          <p:cNvPr id="24" name="Straight Connector 23">
            <a:extLst>
              <a:ext uri="{FF2B5EF4-FFF2-40B4-BE49-F238E27FC236}">
                <a16:creationId xmlns:a16="http://schemas.microsoft.com/office/drawing/2014/main" id="{F9A8B042-F53D-A341-A10A-0A9D343D8719}"/>
              </a:ext>
            </a:extLst>
          </p:cNvPr>
          <p:cNvCxnSpPr>
            <a:cxnSpLocks/>
          </p:cNvCxnSpPr>
          <p:nvPr userDrawn="1"/>
        </p:nvCxnSpPr>
        <p:spPr>
          <a:xfrm>
            <a:off x="27036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9C6544F6-F031-A767-FD29-DA832BB008C7}"/>
              </a:ext>
            </a:extLst>
          </p:cNvPr>
          <p:cNvCxnSpPr>
            <a:cxnSpLocks/>
          </p:cNvCxnSpPr>
          <p:nvPr userDrawn="1"/>
        </p:nvCxnSpPr>
        <p:spPr>
          <a:xfrm>
            <a:off x="54900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A7BA2501-CC50-69CB-CDF1-C7E8F3A5A8F5}"/>
              </a:ext>
            </a:extLst>
          </p:cNvPr>
          <p:cNvCxnSpPr>
            <a:cxnSpLocks/>
          </p:cNvCxnSpPr>
          <p:nvPr userDrawn="1"/>
        </p:nvCxnSpPr>
        <p:spPr>
          <a:xfrm>
            <a:off x="74124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E6CA6DF8-0CFF-BD0D-993B-46C692E49013}"/>
              </a:ext>
            </a:extLst>
          </p:cNvPr>
          <p:cNvSpPr txBox="1"/>
          <p:nvPr userDrawn="1"/>
        </p:nvSpPr>
        <p:spPr>
          <a:xfrm>
            <a:off x="11682742" y="6458310"/>
            <a:ext cx="409669" cy="276999"/>
          </a:xfrm>
          <a:prstGeom prst="rect">
            <a:avLst/>
          </a:prstGeom>
          <a:noFill/>
        </p:spPr>
        <p:txBody>
          <a:bodyPr wrap="square" anchor="ctr">
            <a:spAutoFit/>
          </a:bodyPr>
          <a:lstStyle/>
          <a:p>
            <a:fld id="{562BA7E0-5F5E-EE41-AE8D-BD30ED9E17AD}" type="slidenum">
              <a:rPr lang="en-GB" sz="1200" smtClean="0">
                <a:solidFill>
                  <a:schemeClr val="tx1"/>
                </a:solidFill>
                <a:latin typeface="Arial" panose="020B0604020202020204" pitchFamily="34" charset="0"/>
                <a:cs typeface="Arial" panose="020B0604020202020204" pitchFamily="34" charset="0"/>
              </a:rPr>
              <a:pPr/>
              <a:t>‹#›</a:t>
            </a:fld>
            <a:endParaRPr lang="en-GB" sz="1200">
              <a:solidFill>
                <a:schemeClr val="tx1"/>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0AFF12E8-A7F5-9B0D-7A22-6F15ED81C7C3}"/>
              </a:ext>
            </a:extLst>
          </p:cNvPr>
          <p:cNvSpPr txBox="1"/>
          <p:nvPr userDrawn="1"/>
        </p:nvSpPr>
        <p:spPr>
          <a:xfrm>
            <a:off x="5409963" y="6424301"/>
            <a:ext cx="1342176" cy="276999"/>
          </a:xfrm>
          <a:prstGeom prst="rect">
            <a:avLst/>
          </a:prstGeom>
          <a:noFill/>
        </p:spPr>
        <p:txBody>
          <a:bodyPr wrap="square" anchor="ctr">
            <a:spAutoFit/>
          </a:bodyPr>
          <a:lstStyle/>
          <a:p>
            <a:pPr algn="ctr"/>
            <a:r>
              <a:rPr lang="en-GB" sz="1200" i="1">
                <a:solidFill>
                  <a:schemeClr val="tx1"/>
                </a:solidFill>
                <a:latin typeface="Garamond" panose="02020404030301010803" pitchFamily="18" charset="0"/>
                <a:cs typeface="Arial" panose="020B0604020202020204" pitchFamily="34" charset="0"/>
              </a:rPr>
              <a:t>October 2025</a:t>
            </a:r>
            <a:endParaRPr lang="en-GB" sz="1100" i="1">
              <a:solidFill>
                <a:schemeClr val="tx1"/>
              </a:solidFill>
              <a:latin typeface="Garamond" panose="02020404030301010803" pitchFamily="18" charset="0"/>
              <a:cs typeface="Arial" panose="020B0604020202020204" pitchFamily="34" charset="0"/>
            </a:endParaRPr>
          </a:p>
        </p:txBody>
      </p:sp>
      <p:pic>
        <p:nvPicPr>
          <p:cNvPr id="11" name="Picture 10">
            <a:extLst>
              <a:ext uri="{FF2B5EF4-FFF2-40B4-BE49-F238E27FC236}">
                <a16:creationId xmlns:a16="http://schemas.microsoft.com/office/drawing/2014/main" id="{D7D98269-D583-D851-687D-F97AB92FC72F}"/>
              </a:ext>
            </a:extLst>
          </p:cNvPr>
          <p:cNvPicPr>
            <a:picLocks noChangeAspect="1"/>
          </p:cNvPicPr>
          <p:nvPr userDrawn="1"/>
        </p:nvPicPr>
        <p:blipFill>
          <a:blip r:embed="rId23"/>
          <a:stretch>
            <a:fillRect/>
          </a:stretch>
        </p:blipFill>
        <p:spPr>
          <a:xfrm>
            <a:off x="-2244269" y="87724"/>
            <a:ext cx="2175899" cy="1592324"/>
          </a:xfrm>
          <a:prstGeom prst="rect">
            <a:avLst/>
          </a:prstGeom>
        </p:spPr>
      </p:pic>
      <p:sp>
        <p:nvSpPr>
          <p:cNvPr id="16" name="Rectangle 15">
            <a:extLst>
              <a:ext uri="{FF2B5EF4-FFF2-40B4-BE49-F238E27FC236}">
                <a16:creationId xmlns:a16="http://schemas.microsoft.com/office/drawing/2014/main" id="{7C1495A2-12F4-81BA-071D-E9E3D8BE270C}"/>
              </a:ext>
            </a:extLst>
          </p:cNvPr>
          <p:cNvSpPr/>
          <p:nvPr userDrawn="1"/>
        </p:nvSpPr>
        <p:spPr>
          <a:xfrm>
            <a:off x="12272066" y="-14619"/>
            <a:ext cx="2872581" cy="6858000"/>
          </a:xfrm>
          <a:prstGeom prst="rect">
            <a:avLst/>
          </a:prstGeom>
          <a:solidFill>
            <a:srgbClr val="FFFFFF">
              <a:alpha val="50196"/>
            </a:srgbClr>
          </a:solid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B7BE3896-1B8B-8E98-EC6E-845CD2D90BCC}"/>
              </a:ext>
            </a:extLst>
          </p:cNvPr>
          <p:cNvSpPr txBox="1"/>
          <p:nvPr userDrawn="1"/>
        </p:nvSpPr>
        <p:spPr>
          <a:xfrm>
            <a:off x="12420706" y="98189"/>
            <a:ext cx="2542086" cy="323165"/>
          </a:xfrm>
          <a:prstGeom prst="rect">
            <a:avLst/>
          </a:prstGeom>
          <a:noFill/>
        </p:spPr>
        <p:txBody>
          <a:bodyPr wrap="square" rtlCol="0">
            <a:spAutoFit/>
          </a:bodyPr>
          <a:lstStyle/>
          <a:p>
            <a:r>
              <a:rPr lang="en-GB" sz="1500" u="sng">
                <a:solidFill>
                  <a:schemeClr val="accent3">
                    <a:lumMod val="75000"/>
                  </a:schemeClr>
                </a:solidFill>
                <a:latin typeface="Arial" panose="020B0604020202020204" pitchFamily="34" charset="0"/>
                <a:cs typeface="Arial" panose="020B0604020202020204" pitchFamily="34" charset="0"/>
              </a:rPr>
              <a:t>Font Styles</a:t>
            </a:r>
          </a:p>
        </p:txBody>
      </p:sp>
      <p:sp>
        <p:nvSpPr>
          <p:cNvPr id="18" name="TextBox 17">
            <a:extLst>
              <a:ext uri="{FF2B5EF4-FFF2-40B4-BE49-F238E27FC236}">
                <a16:creationId xmlns:a16="http://schemas.microsoft.com/office/drawing/2014/main" id="{3EF3CFE1-467B-7635-F4A7-40A8463FC98D}"/>
              </a:ext>
            </a:extLst>
          </p:cNvPr>
          <p:cNvSpPr txBox="1"/>
          <p:nvPr userDrawn="1"/>
        </p:nvSpPr>
        <p:spPr>
          <a:xfrm>
            <a:off x="12420702" y="1142155"/>
            <a:ext cx="2471097" cy="1184940"/>
          </a:xfrm>
          <a:prstGeom prst="rect">
            <a:avLst/>
          </a:prstGeom>
          <a:noFill/>
          <a:ln>
            <a:solidFill>
              <a:schemeClr val="tx1"/>
            </a:solidFill>
          </a:ln>
        </p:spPr>
        <p:txBody>
          <a:bodyPr wrap="square">
            <a:spAutoFit/>
          </a:bodyPr>
          <a:lstStyle/>
          <a:p>
            <a:r>
              <a:rPr lang="en-GB" sz="1600">
                <a:solidFill>
                  <a:schemeClr val="accent6"/>
                </a:solidFill>
                <a:latin typeface="Arial" panose="020B0604020202020204" pitchFamily="34" charset="0"/>
                <a:cs typeface="Arial" panose="020B0604020202020204" pitchFamily="34" charset="0"/>
              </a:rPr>
              <a:t>Headline</a:t>
            </a:r>
            <a:r>
              <a:rPr lang="en-GB" sz="1400">
                <a:latin typeface="Arial" panose="020B0604020202020204" pitchFamily="34" charset="0"/>
                <a:cs typeface="Arial" panose="020B0604020202020204" pitchFamily="34" charset="0"/>
              </a:rPr>
              <a:t> </a:t>
            </a:r>
            <a:br>
              <a:rPr lang="en-GB" sz="1400">
                <a:latin typeface="Arial" panose="020B0604020202020204" pitchFamily="34" charset="0"/>
                <a:cs typeface="Arial" panose="020B0604020202020204" pitchFamily="34" charset="0"/>
              </a:rPr>
            </a:br>
            <a:r>
              <a:rPr lang="en-GB" sz="1400">
                <a:latin typeface="Arial" panose="020B0604020202020204" pitchFamily="34" charset="0"/>
                <a:cs typeface="Arial" panose="020B0604020202020204" pitchFamily="34" charset="0"/>
              </a:rPr>
              <a:t>Arial 16 regular Dark Purple</a:t>
            </a:r>
            <a:endParaRPr lang="en-GB" sz="1600">
              <a:latin typeface="Arial" panose="020B0604020202020204" pitchFamily="34" charset="0"/>
              <a:cs typeface="Arial" panose="020B0604020202020204" pitchFamily="34" charset="0"/>
            </a:endParaRPr>
          </a:p>
          <a:p>
            <a:pPr marL="0" lvl="1" indent="0">
              <a:buNone/>
            </a:pPr>
            <a:r>
              <a:rPr lang="en-GB" sz="1500">
                <a:latin typeface="Arial" panose="020B0604020202020204" pitchFamily="34" charset="0"/>
                <a:cs typeface="Arial" panose="020B0604020202020204" pitchFamily="34" charset="0"/>
              </a:rPr>
              <a:t>Body text </a:t>
            </a:r>
            <a:r>
              <a:rPr lang="en-GB" sz="1400">
                <a:latin typeface="Arial" panose="020B0604020202020204" pitchFamily="34" charset="0"/>
                <a:cs typeface="Arial" panose="020B0604020202020204" pitchFamily="34" charset="0"/>
              </a:rPr>
              <a:t>Arial Dark grey 13</a:t>
            </a:r>
          </a:p>
          <a:p>
            <a:pPr marL="177800" lvl="0" indent="-177800">
              <a:buClr>
                <a:schemeClr val="bg2">
                  <a:lumMod val="10000"/>
                </a:schemeClr>
              </a:buClr>
              <a:buFont typeface="Arial" panose="020B0604020202020204" pitchFamily="34" charset="0"/>
              <a:buChar char="●"/>
            </a:pPr>
            <a:r>
              <a:rPr lang="en-GB" sz="1300" b="0" kern="1200">
                <a:solidFill>
                  <a:schemeClr val="tx1"/>
                </a:solidFill>
                <a:latin typeface="Arial" panose="020B0604020202020204" pitchFamily="34" charset="0"/>
                <a:cs typeface="Arial" panose="020B0604020202020204" pitchFamily="34" charset="0"/>
              </a:rPr>
              <a:t>Use bullets for list</a:t>
            </a:r>
            <a:br>
              <a:rPr lang="en-GB" sz="1300" b="0" kern="1200">
                <a:solidFill>
                  <a:schemeClr val="tx1"/>
                </a:solidFill>
                <a:latin typeface="Arial" panose="020B0604020202020204" pitchFamily="34" charset="0"/>
                <a:cs typeface="Arial" panose="020B0604020202020204" pitchFamily="34" charset="0"/>
              </a:rPr>
            </a:br>
            <a:r>
              <a:rPr lang="en-GB" sz="1300" b="0" u="sng" kern="1200">
                <a:solidFill>
                  <a:schemeClr val="tx1"/>
                </a:solidFill>
                <a:latin typeface="Arial" panose="020B0604020202020204" pitchFamily="34" charset="0"/>
                <a:cs typeface="Arial" panose="020B0604020202020204" pitchFamily="34" charset="0"/>
              </a:rPr>
              <a:t>don’t</a:t>
            </a:r>
            <a:r>
              <a:rPr lang="en-GB" sz="1300" b="0" u="none" kern="1200">
                <a:solidFill>
                  <a:schemeClr val="tx1"/>
                </a:solidFill>
                <a:latin typeface="Arial" panose="020B0604020202020204" pitchFamily="34" charset="0"/>
                <a:cs typeface="Arial" panose="020B0604020202020204" pitchFamily="34" charset="0"/>
              </a:rPr>
              <a:t> add bullets</a:t>
            </a:r>
            <a:endParaRPr lang="en-GB" sz="1300" b="0" kern="1200">
              <a:solidFill>
                <a:schemeClr val="tx1"/>
              </a:solidFill>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A7F0D037-E963-0378-2ECB-456DCA04EC31}"/>
              </a:ext>
            </a:extLst>
          </p:cNvPr>
          <p:cNvSpPr txBox="1"/>
          <p:nvPr userDrawn="1"/>
        </p:nvSpPr>
        <p:spPr>
          <a:xfrm>
            <a:off x="12420701" y="4302893"/>
            <a:ext cx="2471097" cy="2462213"/>
          </a:xfrm>
          <a:prstGeom prst="rect">
            <a:avLst/>
          </a:prstGeom>
          <a:noFill/>
        </p:spPr>
        <p:txBody>
          <a:bodyPr wrap="square">
            <a:spAutoFit/>
          </a:bodyPr>
          <a:lstStyle/>
          <a:p>
            <a:pPr marL="0" lvl="1" indent="0">
              <a:buNone/>
            </a:pPr>
            <a:r>
              <a:rPr lang="en-GB" sz="1400">
                <a:latin typeface="Arial" panose="020B0604020202020204" pitchFamily="34" charset="0"/>
                <a:cs typeface="Arial" panose="020B0604020202020204" pitchFamily="34" charset="0"/>
              </a:rPr>
              <a:t>Write in short clear complete sentences and short paragraphs. </a:t>
            </a:r>
          </a:p>
          <a:p>
            <a:pPr marL="0" lvl="1" indent="0">
              <a:buNone/>
            </a:pPr>
            <a:endParaRPr lang="en-GB" sz="1400">
              <a:latin typeface="Arial" panose="020B0604020202020204" pitchFamily="34" charset="0"/>
              <a:cs typeface="Arial" panose="020B0604020202020204" pitchFamily="34" charset="0"/>
            </a:endParaRPr>
          </a:p>
          <a:p>
            <a:pPr marL="0" lvl="1" indent="0">
              <a:buNone/>
            </a:pPr>
            <a:r>
              <a:rPr lang="en-GB" sz="1400">
                <a:latin typeface="Arial" panose="020B0604020202020204" pitchFamily="34" charset="0"/>
                <a:cs typeface="Arial" panose="020B0604020202020204" pitchFamily="34" charset="0"/>
              </a:rPr>
              <a:t>Text should expand on and refer to the visual information.</a:t>
            </a:r>
          </a:p>
          <a:p>
            <a:pPr marL="0" lvl="1" indent="0">
              <a:buNone/>
            </a:pPr>
            <a:endParaRPr lang="en-GB" sz="1400">
              <a:latin typeface="Arial" panose="020B0604020202020204" pitchFamily="34" charset="0"/>
              <a:cs typeface="Arial" panose="020B0604020202020204" pitchFamily="34" charset="0"/>
            </a:endParaRPr>
          </a:p>
          <a:p>
            <a:pPr marL="0" lvl="1" indent="0">
              <a:buNone/>
            </a:pPr>
            <a:r>
              <a:rPr lang="en-GB" sz="1400">
                <a:latin typeface="Arial" panose="020B0604020202020204" pitchFamily="34" charset="0"/>
                <a:cs typeface="Arial" panose="020B0604020202020204" pitchFamily="34" charset="0"/>
              </a:rPr>
              <a:t>Text must not run more than one half slide width. Use columns if appropriate. </a:t>
            </a:r>
          </a:p>
        </p:txBody>
      </p:sp>
      <p:sp>
        <p:nvSpPr>
          <p:cNvPr id="20" name="TextBox 19">
            <a:extLst>
              <a:ext uri="{FF2B5EF4-FFF2-40B4-BE49-F238E27FC236}">
                <a16:creationId xmlns:a16="http://schemas.microsoft.com/office/drawing/2014/main" id="{FA8230B5-78C8-61FC-8AB7-8408A9613588}"/>
              </a:ext>
            </a:extLst>
          </p:cNvPr>
          <p:cNvSpPr txBox="1"/>
          <p:nvPr userDrawn="1"/>
        </p:nvSpPr>
        <p:spPr>
          <a:xfrm>
            <a:off x="12420702" y="4018488"/>
            <a:ext cx="2542086" cy="323165"/>
          </a:xfrm>
          <a:prstGeom prst="rect">
            <a:avLst/>
          </a:prstGeom>
          <a:noFill/>
        </p:spPr>
        <p:txBody>
          <a:bodyPr wrap="square" rtlCol="0">
            <a:spAutoFit/>
          </a:bodyPr>
          <a:lstStyle/>
          <a:p>
            <a:r>
              <a:rPr lang="en-GB" sz="1500" u="sng">
                <a:solidFill>
                  <a:schemeClr val="accent3">
                    <a:lumMod val="75000"/>
                  </a:schemeClr>
                </a:solidFill>
                <a:latin typeface="Arial" panose="020B0604020202020204" pitchFamily="34" charset="0"/>
                <a:cs typeface="Arial" panose="020B0604020202020204" pitchFamily="34" charset="0"/>
              </a:rPr>
              <a:t>Written Style</a:t>
            </a:r>
          </a:p>
        </p:txBody>
      </p:sp>
      <p:sp>
        <p:nvSpPr>
          <p:cNvPr id="21" name="TextBox 20">
            <a:extLst>
              <a:ext uri="{FF2B5EF4-FFF2-40B4-BE49-F238E27FC236}">
                <a16:creationId xmlns:a16="http://schemas.microsoft.com/office/drawing/2014/main" id="{712F79BC-DAF7-6DB4-F8A3-BEFE55B53409}"/>
              </a:ext>
            </a:extLst>
          </p:cNvPr>
          <p:cNvSpPr txBox="1"/>
          <p:nvPr userDrawn="1"/>
        </p:nvSpPr>
        <p:spPr>
          <a:xfrm>
            <a:off x="12420704" y="371971"/>
            <a:ext cx="2542086" cy="784830"/>
          </a:xfrm>
          <a:prstGeom prst="rect">
            <a:avLst/>
          </a:prstGeom>
          <a:noFill/>
        </p:spPr>
        <p:txBody>
          <a:bodyPr wrap="square" rtlCol="0">
            <a:spAutoFit/>
          </a:bodyPr>
          <a:lstStyle/>
          <a:p>
            <a:r>
              <a:rPr lang="en-GB" sz="1500" b="1" u="none">
                <a:latin typeface="Arial" panose="020B0604020202020204" pitchFamily="34" charset="0"/>
                <a:cs typeface="Arial" panose="020B0604020202020204" pitchFamily="34" charset="0"/>
              </a:rPr>
              <a:t>Always use      increase </a:t>
            </a:r>
            <a:br>
              <a:rPr lang="en-GB" sz="1500" b="1" u="none">
                <a:latin typeface="Arial" panose="020B0604020202020204" pitchFamily="34" charset="0"/>
                <a:cs typeface="Arial" panose="020B0604020202020204" pitchFamily="34" charset="0"/>
              </a:rPr>
            </a:br>
            <a:r>
              <a:rPr lang="en-GB" sz="1500" b="1" u="none">
                <a:latin typeface="Arial" panose="020B0604020202020204" pitchFamily="34" charset="0"/>
                <a:cs typeface="Arial" panose="020B0604020202020204" pitchFamily="34" charset="0"/>
              </a:rPr>
              <a:t>and      decrease list levels to choose font.</a:t>
            </a:r>
          </a:p>
        </p:txBody>
      </p:sp>
      <p:pic>
        <p:nvPicPr>
          <p:cNvPr id="22" name="Picture 21">
            <a:extLst>
              <a:ext uri="{FF2B5EF4-FFF2-40B4-BE49-F238E27FC236}">
                <a16:creationId xmlns:a16="http://schemas.microsoft.com/office/drawing/2014/main" id="{0231949F-F866-DCE5-92DF-2BC431E7CBA5}"/>
              </a:ext>
            </a:extLst>
          </p:cNvPr>
          <p:cNvPicPr>
            <a:picLocks noChangeAspect="1"/>
          </p:cNvPicPr>
          <p:nvPr userDrawn="1"/>
        </p:nvPicPr>
        <p:blipFill>
          <a:blip r:embed="rId24"/>
          <a:stretch>
            <a:fillRect/>
          </a:stretch>
        </p:blipFill>
        <p:spPr>
          <a:xfrm>
            <a:off x="13579750" y="457665"/>
            <a:ext cx="257211" cy="238158"/>
          </a:xfrm>
          <a:prstGeom prst="rect">
            <a:avLst/>
          </a:prstGeom>
        </p:spPr>
      </p:pic>
      <p:pic>
        <p:nvPicPr>
          <p:cNvPr id="23" name="Picture 22">
            <a:extLst>
              <a:ext uri="{FF2B5EF4-FFF2-40B4-BE49-F238E27FC236}">
                <a16:creationId xmlns:a16="http://schemas.microsoft.com/office/drawing/2014/main" id="{541942FE-F7A1-08E2-C399-B2940ABFAB8F}"/>
              </a:ext>
            </a:extLst>
          </p:cNvPr>
          <p:cNvPicPr>
            <a:picLocks noChangeAspect="1"/>
          </p:cNvPicPr>
          <p:nvPr userDrawn="1"/>
        </p:nvPicPr>
        <p:blipFill>
          <a:blip r:embed="rId25"/>
          <a:stretch>
            <a:fillRect/>
          </a:stretch>
        </p:blipFill>
        <p:spPr>
          <a:xfrm>
            <a:off x="12896008" y="664780"/>
            <a:ext cx="228632" cy="219106"/>
          </a:xfrm>
          <a:prstGeom prst="rect">
            <a:avLst/>
          </a:prstGeom>
        </p:spPr>
      </p:pic>
      <p:pic>
        <p:nvPicPr>
          <p:cNvPr id="27" name="Picture 26">
            <a:extLst>
              <a:ext uri="{FF2B5EF4-FFF2-40B4-BE49-F238E27FC236}">
                <a16:creationId xmlns:a16="http://schemas.microsoft.com/office/drawing/2014/main" id="{7BB2DB82-ACF2-A4AF-A1EF-08CB245ABDF6}"/>
              </a:ext>
            </a:extLst>
          </p:cNvPr>
          <p:cNvPicPr>
            <a:picLocks noChangeAspect="1"/>
          </p:cNvPicPr>
          <p:nvPr userDrawn="1"/>
        </p:nvPicPr>
        <p:blipFill>
          <a:blip r:embed="rId24"/>
          <a:stretch>
            <a:fillRect/>
          </a:stretch>
        </p:blipFill>
        <p:spPr>
          <a:xfrm>
            <a:off x="14081672" y="1926379"/>
            <a:ext cx="257211" cy="238158"/>
          </a:xfrm>
          <a:prstGeom prst="rect">
            <a:avLst/>
          </a:prstGeom>
        </p:spPr>
      </p:pic>
      <p:pic>
        <p:nvPicPr>
          <p:cNvPr id="28" name="Picture 27">
            <a:extLst>
              <a:ext uri="{FF2B5EF4-FFF2-40B4-BE49-F238E27FC236}">
                <a16:creationId xmlns:a16="http://schemas.microsoft.com/office/drawing/2014/main" id="{617D9E72-AEC2-258C-8F43-6667F0749842}"/>
              </a:ext>
            </a:extLst>
          </p:cNvPr>
          <p:cNvPicPr>
            <a:picLocks noChangeAspect="1"/>
          </p:cNvPicPr>
          <p:nvPr userDrawn="1"/>
        </p:nvPicPr>
        <p:blipFill>
          <a:blip r:embed="rId26"/>
          <a:stretch>
            <a:fillRect/>
          </a:stretch>
        </p:blipFill>
        <p:spPr>
          <a:xfrm>
            <a:off x="14457080" y="1946350"/>
            <a:ext cx="238158" cy="228632"/>
          </a:xfrm>
          <a:prstGeom prst="rect">
            <a:avLst/>
          </a:prstGeom>
        </p:spPr>
      </p:pic>
      <p:cxnSp>
        <p:nvCxnSpPr>
          <p:cNvPr id="29" name="Straight Connector 28">
            <a:extLst>
              <a:ext uri="{FF2B5EF4-FFF2-40B4-BE49-F238E27FC236}">
                <a16:creationId xmlns:a16="http://schemas.microsoft.com/office/drawing/2014/main" id="{2C3C1531-3C80-1E04-8A86-1DDB0E4E0B26}"/>
              </a:ext>
            </a:extLst>
          </p:cNvPr>
          <p:cNvCxnSpPr/>
          <p:nvPr userDrawn="1"/>
        </p:nvCxnSpPr>
        <p:spPr>
          <a:xfrm flipV="1">
            <a:off x="14413829" y="1956336"/>
            <a:ext cx="257211" cy="228632"/>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CFE50C4B-E1A8-B02E-415F-6324EFA4304E}"/>
              </a:ext>
            </a:extLst>
          </p:cNvPr>
          <p:cNvSpPr/>
          <p:nvPr userDrawn="1"/>
        </p:nvSpPr>
        <p:spPr>
          <a:xfrm>
            <a:off x="14419492" y="1926985"/>
            <a:ext cx="288000" cy="28800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31" name="TextBox 30">
            <a:extLst>
              <a:ext uri="{FF2B5EF4-FFF2-40B4-BE49-F238E27FC236}">
                <a16:creationId xmlns:a16="http://schemas.microsoft.com/office/drawing/2014/main" id="{AF3FC3BF-9E65-D9E8-DC59-87376D330FF2}"/>
              </a:ext>
            </a:extLst>
          </p:cNvPr>
          <p:cNvSpPr txBox="1"/>
          <p:nvPr userDrawn="1"/>
        </p:nvSpPr>
        <p:spPr>
          <a:xfrm>
            <a:off x="12420702" y="2655984"/>
            <a:ext cx="2471097" cy="523220"/>
          </a:xfrm>
          <a:prstGeom prst="rect">
            <a:avLst/>
          </a:prstGeom>
          <a:noFill/>
        </p:spPr>
        <p:txBody>
          <a:bodyPr wrap="square">
            <a:spAutoFit/>
          </a:bodyPr>
          <a:lstStyle/>
          <a:p>
            <a:pPr marL="0" lvl="1" indent="0">
              <a:buNone/>
            </a:pPr>
            <a:r>
              <a:rPr lang="en-GB" sz="1400">
                <a:latin typeface="Arial" panose="020B0604020202020204" pitchFamily="34" charset="0"/>
                <a:cs typeface="Arial" panose="020B0604020202020204" pitchFamily="34" charset="0"/>
              </a:rPr>
              <a:t>Choose a layout and </a:t>
            </a:r>
            <a:r>
              <a:rPr lang="en-GB" sz="1400" i="1">
                <a:latin typeface="Arial" panose="020B0604020202020204" pitchFamily="34" charset="0"/>
                <a:cs typeface="Arial" panose="020B0604020202020204" pitchFamily="34" charset="0"/>
              </a:rPr>
              <a:t>always</a:t>
            </a:r>
            <a:r>
              <a:rPr lang="en-GB" sz="1400">
                <a:latin typeface="Arial" panose="020B0604020202020204" pitchFamily="34" charset="0"/>
                <a:cs typeface="Arial" panose="020B0604020202020204" pitchFamily="34" charset="0"/>
              </a:rPr>
              <a:t> put content in a placeholder.</a:t>
            </a:r>
          </a:p>
        </p:txBody>
      </p:sp>
      <p:sp>
        <p:nvSpPr>
          <p:cNvPr id="32" name="TextBox 31">
            <a:extLst>
              <a:ext uri="{FF2B5EF4-FFF2-40B4-BE49-F238E27FC236}">
                <a16:creationId xmlns:a16="http://schemas.microsoft.com/office/drawing/2014/main" id="{857E3304-6192-9462-E912-8F44F9D997DF}"/>
              </a:ext>
            </a:extLst>
          </p:cNvPr>
          <p:cNvSpPr txBox="1"/>
          <p:nvPr userDrawn="1"/>
        </p:nvSpPr>
        <p:spPr>
          <a:xfrm>
            <a:off x="12420702" y="2368907"/>
            <a:ext cx="2542086" cy="323165"/>
          </a:xfrm>
          <a:prstGeom prst="rect">
            <a:avLst/>
          </a:prstGeom>
          <a:noFill/>
        </p:spPr>
        <p:txBody>
          <a:bodyPr wrap="square" rtlCol="0">
            <a:spAutoFit/>
          </a:bodyPr>
          <a:lstStyle/>
          <a:p>
            <a:r>
              <a:rPr lang="en-GB" sz="1500" u="sng">
                <a:solidFill>
                  <a:schemeClr val="accent3">
                    <a:lumMod val="75000"/>
                  </a:schemeClr>
                </a:solidFill>
                <a:latin typeface="Arial" panose="020B0604020202020204" pitchFamily="34" charset="0"/>
                <a:cs typeface="Arial" panose="020B0604020202020204" pitchFamily="34" charset="0"/>
              </a:rPr>
              <a:t>Use Layouts / Placeholders</a:t>
            </a:r>
          </a:p>
        </p:txBody>
      </p:sp>
      <p:sp>
        <p:nvSpPr>
          <p:cNvPr id="33" name="TextBox 32">
            <a:extLst>
              <a:ext uri="{FF2B5EF4-FFF2-40B4-BE49-F238E27FC236}">
                <a16:creationId xmlns:a16="http://schemas.microsoft.com/office/drawing/2014/main" id="{3970952C-5B24-5D65-C263-8BC11A503E48}"/>
              </a:ext>
            </a:extLst>
          </p:cNvPr>
          <p:cNvSpPr txBox="1"/>
          <p:nvPr userDrawn="1"/>
        </p:nvSpPr>
        <p:spPr>
          <a:xfrm>
            <a:off x="12420700" y="3476275"/>
            <a:ext cx="2471097" cy="523220"/>
          </a:xfrm>
          <a:prstGeom prst="rect">
            <a:avLst/>
          </a:prstGeom>
          <a:noFill/>
        </p:spPr>
        <p:txBody>
          <a:bodyPr wrap="square">
            <a:spAutoFit/>
          </a:bodyPr>
          <a:lstStyle/>
          <a:p>
            <a:pPr marL="0" lvl="1" indent="0">
              <a:buNone/>
            </a:pPr>
            <a:r>
              <a:rPr lang="en-GB" sz="1400">
                <a:latin typeface="Arial" panose="020B0604020202020204" pitchFamily="34" charset="0"/>
                <a:cs typeface="Arial" panose="020B0604020202020204" pitchFamily="34" charset="0"/>
              </a:rPr>
              <a:t>Use Guides on each layout to size chart plot area.</a:t>
            </a:r>
          </a:p>
        </p:txBody>
      </p:sp>
      <p:sp>
        <p:nvSpPr>
          <p:cNvPr id="34" name="TextBox 33">
            <a:extLst>
              <a:ext uri="{FF2B5EF4-FFF2-40B4-BE49-F238E27FC236}">
                <a16:creationId xmlns:a16="http://schemas.microsoft.com/office/drawing/2014/main" id="{66FDFDAA-CDA2-89FF-0CFD-DEF6E3B15368}"/>
              </a:ext>
            </a:extLst>
          </p:cNvPr>
          <p:cNvSpPr txBox="1"/>
          <p:nvPr userDrawn="1"/>
        </p:nvSpPr>
        <p:spPr>
          <a:xfrm>
            <a:off x="12420702" y="3191194"/>
            <a:ext cx="2542086" cy="323165"/>
          </a:xfrm>
          <a:prstGeom prst="rect">
            <a:avLst/>
          </a:prstGeom>
          <a:noFill/>
        </p:spPr>
        <p:txBody>
          <a:bodyPr wrap="square" rtlCol="0">
            <a:spAutoFit/>
          </a:bodyPr>
          <a:lstStyle/>
          <a:p>
            <a:r>
              <a:rPr lang="en-GB" sz="1500" u="sng">
                <a:solidFill>
                  <a:schemeClr val="accent3">
                    <a:lumMod val="75000"/>
                  </a:schemeClr>
                </a:solidFill>
                <a:latin typeface="Arial" panose="020B0604020202020204" pitchFamily="34" charset="0"/>
                <a:cs typeface="Arial" panose="020B0604020202020204" pitchFamily="34" charset="0"/>
              </a:rPr>
              <a:t>Use Guides</a:t>
            </a:r>
          </a:p>
        </p:txBody>
      </p:sp>
    </p:spTree>
    <p:extLst>
      <p:ext uri="{BB962C8B-B14F-4D97-AF65-F5344CB8AC3E}">
        <p14:creationId xmlns:p14="http://schemas.microsoft.com/office/powerpoint/2010/main" val="987808660"/>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11" r:id="rId3"/>
    <p:sldLayoutId id="2147483812" r:id="rId4"/>
    <p:sldLayoutId id="2147483815" r:id="rId5"/>
    <p:sldLayoutId id="2147483821" r:id="rId6"/>
    <p:sldLayoutId id="2147483813" r:id="rId7"/>
    <p:sldLayoutId id="2147483819" r:id="rId8"/>
    <p:sldLayoutId id="2147483822" r:id="rId9"/>
    <p:sldLayoutId id="2147483823" r:id="rId10"/>
    <p:sldLayoutId id="2147483820" r:id="rId11"/>
    <p:sldLayoutId id="2147483816" r:id="rId12"/>
    <p:sldLayoutId id="2147483818" r:id="rId13"/>
    <p:sldLayoutId id="2147483832" r:id="rId14"/>
    <p:sldLayoutId id="2147483834" r:id="rId15"/>
    <p:sldLayoutId id="2147483928" r:id="rId16"/>
  </p:sldLayoutIdLst>
  <p:hf sldNum="0" hdr="0"/>
  <p:txStyles>
    <p:titleStyle>
      <a:lvl1pPr algn="l" defTabSz="914400" rtl="0" eaLnBrk="1" latinLnBrk="0" hangingPunct="1">
        <a:lnSpc>
          <a:spcPct val="90000"/>
        </a:lnSpc>
        <a:spcBef>
          <a:spcPct val="0"/>
        </a:spcBef>
        <a:buNone/>
        <a:defRPr sz="2400" b="0" i="0" kern="1200">
          <a:solidFill>
            <a:schemeClr val="accent6"/>
          </a:solidFill>
          <a:latin typeface="Arial" panose="020B0604020202020204" pitchFamily="34" charset="0"/>
          <a:ea typeface="Helvetica Neue" panose="02000503000000020004" pitchFamily="2" charset="0"/>
          <a:cs typeface="Arial" panose="020B0604020202020204" pitchFamily="34" charset="0"/>
        </a:defRPr>
      </a:lvl1pPr>
    </p:titleStyle>
    <p:bodyStyle>
      <a:lvl1pPr marL="0" indent="0" algn="l" defTabSz="914400" rtl="0" eaLnBrk="1" latinLnBrk="0" hangingPunct="1">
        <a:lnSpc>
          <a:spcPct val="100000"/>
        </a:lnSpc>
        <a:spcBef>
          <a:spcPts val="300"/>
        </a:spcBef>
        <a:buClr>
          <a:schemeClr val="tx2"/>
        </a:buClr>
        <a:buFont typeface="Arial" panose="020B0604020202020204" pitchFamily="34" charset="0"/>
        <a:buNone/>
        <a:defRPr sz="1600" b="0" kern="1200">
          <a:solidFill>
            <a:schemeClr val="accent6"/>
          </a:solidFill>
          <a:latin typeface="Arial" panose="020B0604020202020204" pitchFamily="34" charset="0"/>
          <a:ea typeface="Helvetica Neue" panose="02000503000000020004" pitchFamily="2" charset="0"/>
          <a:cs typeface="Arial" panose="020B0604020202020204" pitchFamily="34" charset="0"/>
        </a:defRPr>
      </a:lvl1pPr>
      <a:lvl2pPr marL="0" indent="0" algn="l" defTabSz="914400" rtl="0" eaLnBrk="1" latinLnBrk="0" hangingPunct="1">
        <a:lnSpc>
          <a:spcPct val="100000"/>
        </a:lnSpc>
        <a:spcBef>
          <a:spcPts val="300"/>
        </a:spcBef>
        <a:buClr>
          <a:schemeClr val="accent3">
            <a:lumMod val="20000"/>
            <a:lumOff val="80000"/>
          </a:schemeClr>
        </a:buClr>
        <a:buFont typeface="Arial" panose="020B0604020202020204" pitchFamily="34" charset="0"/>
        <a:buNone/>
        <a:defRPr sz="1300" kern="1200">
          <a:solidFill>
            <a:schemeClr val="bg2">
              <a:lumMod val="25000"/>
            </a:schemeClr>
          </a:solidFill>
          <a:latin typeface="Arial" panose="020B0604020202020204" pitchFamily="34" charset="0"/>
          <a:ea typeface="Helvetica Neue" panose="02000503000000020004" pitchFamily="2" charset="0"/>
          <a:cs typeface="Arial" panose="020B0604020202020204" pitchFamily="34" charset="0"/>
        </a:defRPr>
      </a:lvl2pPr>
      <a:lvl3pPr marL="355600" indent="-177800" algn="l" defTabSz="914400" rtl="0" eaLnBrk="1" latinLnBrk="0" hangingPunct="1">
        <a:lnSpc>
          <a:spcPct val="100000"/>
        </a:lnSpc>
        <a:spcBef>
          <a:spcPts val="300"/>
        </a:spcBef>
        <a:buClr>
          <a:schemeClr val="accent3">
            <a:lumMod val="75000"/>
          </a:schemeClr>
        </a:buClr>
        <a:buFont typeface="Arial" panose="020B0604020202020204" pitchFamily="34" charset="0"/>
        <a:buChar char="•"/>
        <a:defRPr sz="1300" kern="1200">
          <a:solidFill>
            <a:schemeClr val="bg2">
              <a:lumMod val="25000"/>
            </a:schemeClr>
          </a:solidFill>
          <a:latin typeface="Arial" panose="020B0604020202020204" pitchFamily="34" charset="0"/>
          <a:ea typeface="Helvetica Neue" panose="02000503000000020004" pitchFamily="2" charset="0"/>
          <a:cs typeface="Arial" panose="020B0604020202020204" pitchFamily="34" charset="0"/>
        </a:defRPr>
      </a:lvl3pPr>
      <a:lvl4pPr marL="622300" indent="-266700" algn="l" defTabSz="914400" rtl="0" eaLnBrk="1" latinLnBrk="0" hangingPunct="1">
        <a:lnSpc>
          <a:spcPct val="100000"/>
        </a:lnSpc>
        <a:spcBef>
          <a:spcPts val="300"/>
        </a:spcBef>
        <a:buClr>
          <a:schemeClr val="accent3">
            <a:lumMod val="75000"/>
          </a:schemeClr>
        </a:buClr>
        <a:buFont typeface="Courier New" panose="02070309020205020404" pitchFamily="49" charset="0"/>
        <a:buChar char="o"/>
        <a:defRPr sz="1050" kern="1200">
          <a:solidFill>
            <a:schemeClr val="bg2">
              <a:lumMod val="25000"/>
            </a:schemeClr>
          </a:solidFill>
          <a:latin typeface="Arial" panose="020B0604020202020204" pitchFamily="34" charset="0"/>
          <a:ea typeface="Helvetica Neue" panose="02000503000000020004" pitchFamily="2" charset="0"/>
          <a:cs typeface="Arial" panose="020B0604020202020204" pitchFamily="34" charset="0"/>
        </a:defRPr>
      </a:lvl4pPr>
      <a:lvl5pPr marL="0" indent="0" algn="l" defTabSz="914400" rtl="0" eaLnBrk="1" latinLnBrk="0" hangingPunct="1">
        <a:lnSpc>
          <a:spcPct val="100000"/>
        </a:lnSpc>
        <a:spcBef>
          <a:spcPts val="300"/>
        </a:spcBef>
        <a:buClr>
          <a:schemeClr val="accent3">
            <a:lumMod val="20000"/>
            <a:lumOff val="80000"/>
          </a:schemeClr>
        </a:buClr>
        <a:buFont typeface="Arial" panose="020B0604020202020204" pitchFamily="34" charset="0"/>
        <a:buNone/>
        <a:defRPr sz="1050" kern="1200">
          <a:solidFill>
            <a:schemeClr val="bg2">
              <a:lumMod val="25000"/>
            </a:schemeClr>
          </a:solidFill>
          <a:latin typeface="Arial" panose="020B0604020202020204" pitchFamily="34" charset="0"/>
          <a:ea typeface="Helvetica Neue" panose="02000503000000020004" pitchFamily="2"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EC519BC-391E-C846-F99D-8CF65C862D0B}"/>
              </a:ext>
            </a:extLst>
          </p:cNvPr>
          <p:cNvGraphicFramePr>
            <a:graphicFrameLocks noChangeAspect="1"/>
          </p:cNvGraphicFramePr>
          <p:nvPr userDrawn="1">
            <p:custDataLst>
              <p:tags r:id="rId21"/>
            </p:custDataLst>
            <p:extLst>
              <p:ext uri="{D42A27DB-BD31-4B8C-83A1-F6EECF244321}">
                <p14:modId xmlns:p14="http://schemas.microsoft.com/office/powerpoint/2010/main" val="3758250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22" imgW="405" imgH="405" progId="TCLayout.ActiveDocument.1">
                  <p:embed/>
                </p:oleObj>
              </mc:Choice>
              <mc:Fallback>
                <p:oleObj name="think-cell Slide" r:id="rId22" imgW="405" imgH="405" progId="TCLayout.ActiveDocument.1">
                  <p:embed/>
                  <p:pic>
                    <p:nvPicPr>
                      <p:cNvPr id="5" name="think-cell data - do not delete" hidden="1">
                        <a:extLst>
                          <a:ext uri="{FF2B5EF4-FFF2-40B4-BE49-F238E27FC236}">
                            <a16:creationId xmlns:a16="http://schemas.microsoft.com/office/drawing/2014/main" id="{4EC519BC-391E-C846-F99D-8CF65C862D0B}"/>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CB3F93A-7D57-E667-CF49-547D709C8ECD}"/>
              </a:ext>
            </a:extLst>
          </p:cNvPr>
          <p:cNvSpPr>
            <a:spLocks noGrp="1"/>
          </p:cNvSpPr>
          <p:nvPr>
            <p:ph type="title"/>
          </p:nvPr>
        </p:nvSpPr>
        <p:spPr>
          <a:xfrm>
            <a:off x="1076400" y="324000"/>
            <a:ext cx="10386000" cy="648000"/>
          </a:xfrm>
          <a:prstGeom prst="rect">
            <a:avLst/>
          </a:prstGeom>
          <a:ln>
            <a:noFill/>
          </a:ln>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526B00E-600C-3EC5-4D58-9A9470DA45F8}"/>
              </a:ext>
            </a:extLst>
          </p:cNvPr>
          <p:cNvSpPr>
            <a:spLocks noGrp="1"/>
          </p:cNvSpPr>
          <p:nvPr>
            <p:ph type="body" idx="1"/>
          </p:nvPr>
        </p:nvSpPr>
        <p:spPr>
          <a:xfrm>
            <a:off x="397566" y="1468800"/>
            <a:ext cx="11062252" cy="4708800"/>
          </a:xfrm>
          <a:prstGeom prst="rect">
            <a:avLst/>
          </a:prstGeom>
          <a:ln>
            <a:noFill/>
          </a:ln>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3" name="Straight Connector 12">
            <a:extLst>
              <a:ext uri="{FF2B5EF4-FFF2-40B4-BE49-F238E27FC236}">
                <a16:creationId xmlns:a16="http://schemas.microsoft.com/office/drawing/2014/main" id="{839453CC-7F66-5B4E-91C7-ABFCBF45DD82}"/>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8AD18B8A-ABC0-1616-2A84-CD7009241CA7}"/>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74C7D8C6-6AB2-AA07-D31B-5743744A0078}"/>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D39F14FD-A4A1-3B1A-C700-D0EEC8851A68}"/>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tx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tx1"/>
                </a:solidFill>
                <a:latin typeface="Garamond" panose="02020404030301010803" pitchFamily="18" charset="0"/>
                <a:ea typeface="Helvetica Neue UltraLight" panose="02000206000000020004" pitchFamily="2" charset="0"/>
              </a:rPr>
              <a:t>expert</a:t>
            </a:r>
            <a:r>
              <a:rPr lang="en-GB" sz="1000" b="0" i="0">
                <a:solidFill>
                  <a:schemeClr val="tx1"/>
                </a:solidFill>
                <a:latin typeface="Helvetica Neue UltraLight" panose="02000206000000020004" pitchFamily="2" charset="0"/>
                <a:ea typeface="Helvetica Neue UltraLight" panose="02000206000000020004" pitchFamily="2" charset="0"/>
              </a:rPr>
              <a:t> </a:t>
            </a:r>
            <a:r>
              <a:rPr lang="en-GB" sz="1000" b="0" i="0">
                <a:solidFill>
                  <a:schemeClr val="tx1"/>
                </a:solidFill>
                <a:latin typeface="Arial" panose="020B0604020202020204" pitchFamily="34" charset="0"/>
                <a:ea typeface="Helvetica Neue Thin" panose="020B0403020202020204" pitchFamily="34" charset="0"/>
                <a:cs typeface="Arial" panose="020B0604020202020204" pitchFamily="34" charset="0"/>
              </a:rPr>
              <a:t>intelligence</a:t>
            </a:r>
          </a:p>
        </p:txBody>
      </p:sp>
      <p:pic>
        <p:nvPicPr>
          <p:cNvPr id="7" name="Picture 6" descr="A logo on a black background&#10;&#10;Description automatically generated">
            <a:extLst>
              <a:ext uri="{FF2B5EF4-FFF2-40B4-BE49-F238E27FC236}">
                <a16:creationId xmlns:a16="http://schemas.microsoft.com/office/drawing/2014/main" id="{A15AF678-2014-6E7C-B31E-F56977F3E458}"/>
              </a:ext>
            </a:extLst>
          </p:cNvPr>
          <p:cNvPicPr>
            <a:picLocks noChangeAspect="1"/>
          </p:cNvPicPr>
          <p:nvPr userDrawn="1"/>
        </p:nvPicPr>
        <p:blipFill rotWithShape="1">
          <a:blip r:embed="rId24"/>
          <a:srcRect l="7819" t="33017" r="74362" b="36885"/>
          <a:stretch/>
        </p:blipFill>
        <p:spPr>
          <a:xfrm>
            <a:off x="263816" y="334800"/>
            <a:ext cx="682031" cy="648000"/>
          </a:xfrm>
          <a:prstGeom prst="rect">
            <a:avLst/>
          </a:prstGeom>
        </p:spPr>
      </p:pic>
      <p:cxnSp>
        <p:nvCxnSpPr>
          <p:cNvPr id="24" name="Straight Connector 23">
            <a:extLst>
              <a:ext uri="{FF2B5EF4-FFF2-40B4-BE49-F238E27FC236}">
                <a16:creationId xmlns:a16="http://schemas.microsoft.com/office/drawing/2014/main" id="{F9A8B042-F53D-A341-A10A-0A9D343D8719}"/>
              </a:ext>
            </a:extLst>
          </p:cNvPr>
          <p:cNvCxnSpPr>
            <a:cxnSpLocks/>
          </p:cNvCxnSpPr>
          <p:nvPr userDrawn="1"/>
        </p:nvCxnSpPr>
        <p:spPr>
          <a:xfrm>
            <a:off x="27036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9C6544F6-F031-A767-FD29-DA832BB008C7}"/>
              </a:ext>
            </a:extLst>
          </p:cNvPr>
          <p:cNvCxnSpPr>
            <a:cxnSpLocks/>
          </p:cNvCxnSpPr>
          <p:nvPr userDrawn="1"/>
        </p:nvCxnSpPr>
        <p:spPr>
          <a:xfrm>
            <a:off x="54900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A7BA2501-CC50-69CB-CDF1-C7E8F3A5A8F5}"/>
              </a:ext>
            </a:extLst>
          </p:cNvPr>
          <p:cNvCxnSpPr>
            <a:cxnSpLocks/>
          </p:cNvCxnSpPr>
          <p:nvPr userDrawn="1"/>
        </p:nvCxnSpPr>
        <p:spPr>
          <a:xfrm>
            <a:off x="74124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E6CA6DF8-0CFF-BD0D-993B-46C692E49013}"/>
              </a:ext>
            </a:extLst>
          </p:cNvPr>
          <p:cNvSpPr txBox="1"/>
          <p:nvPr userDrawn="1"/>
        </p:nvSpPr>
        <p:spPr>
          <a:xfrm>
            <a:off x="11682742" y="6458310"/>
            <a:ext cx="409669" cy="276999"/>
          </a:xfrm>
          <a:prstGeom prst="rect">
            <a:avLst/>
          </a:prstGeom>
          <a:noFill/>
        </p:spPr>
        <p:txBody>
          <a:bodyPr wrap="square" anchor="ctr">
            <a:spAutoFit/>
          </a:bodyPr>
          <a:lstStyle/>
          <a:p>
            <a:fld id="{562BA7E0-5F5E-EE41-AE8D-BD30ED9E17AD}" type="slidenum">
              <a:rPr lang="en-GB" sz="1200" smtClean="0">
                <a:solidFill>
                  <a:schemeClr val="tx1"/>
                </a:solidFill>
                <a:latin typeface="Arial" panose="020B0604020202020204" pitchFamily="34" charset="0"/>
                <a:cs typeface="Arial" panose="020B0604020202020204" pitchFamily="34" charset="0"/>
              </a:rPr>
              <a:pPr/>
              <a:t>‹#›</a:t>
            </a:fld>
            <a:endParaRPr lang="en-GB" sz="1200">
              <a:solidFill>
                <a:schemeClr val="tx1"/>
              </a:solidFill>
              <a:latin typeface="Arial" panose="020B0604020202020204" pitchFamily="34" charset="0"/>
              <a:cs typeface="Arial" panose="020B0604020202020204" pitchFamily="34" charset="0"/>
            </a:endParaRPr>
          </a:p>
        </p:txBody>
      </p:sp>
      <p:sp>
        <p:nvSpPr>
          <p:cNvPr id="6" name="Footer Placeholder 4">
            <a:extLst>
              <a:ext uri="{FF2B5EF4-FFF2-40B4-BE49-F238E27FC236}">
                <a16:creationId xmlns:a16="http://schemas.microsoft.com/office/drawing/2014/main" id="{731FDA51-E221-897D-6EAB-9569DFEFCD07}"/>
              </a:ext>
            </a:extLst>
          </p:cNvPr>
          <p:cNvSpPr>
            <a:spLocks noGrp="1"/>
          </p:cNvSpPr>
          <p:nvPr>
            <p:ph type="ftr" sz="quarter" idx="3"/>
          </p:nvPr>
        </p:nvSpPr>
        <p:spPr>
          <a:xfrm>
            <a:off x="7350369" y="6429964"/>
            <a:ext cx="3176758" cy="309600"/>
          </a:xfrm>
          <a:prstGeom prst="rect">
            <a:avLst/>
          </a:prstGeom>
          <a:ln>
            <a:noFill/>
          </a:ln>
        </p:spPr>
        <p:txBody>
          <a:bodyPr vert="horz" lIns="91440" tIns="45720" rIns="91440" bIns="45720" rtlCol="0" anchor="ctr"/>
          <a:lstStyle>
            <a:lvl1pPr algn="l">
              <a:defRPr sz="1000" b="0" i="0">
                <a:solidFill>
                  <a:schemeClr val="tx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Cobalt Market Outlook</a:t>
            </a:r>
          </a:p>
        </p:txBody>
      </p:sp>
      <p:sp>
        <p:nvSpPr>
          <p:cNvPr id="10" name="TextBox 9">
            <a:extLst>
              <a:ext uri="{FF2B5EF4-FFF2-40B4-BE49-F238E27FC236}">
                <a16:creationId xmlns:a16="http://schemas.microsoft.com/office/drawing/2014/main" id="{4ED3A7C6-9F15-8CA9-3E97-8E41011FF902}"/>
              </a:ext>
            </a:extLst>
          </p:cNvPr>
          <p:cNvSpPr txBox="1"/>
          <p:nvPr userDrawn="1"/>
        </p:nvSpPr>
        <p:spPr>
          <a:xfrm>
            <a:off x="5476126" y="6429964"/>
            <a:ext cx="1286726" cy="276999"/>
          </a:xfrm>
          <a:prstGeom prst="rect">
            <a:avLst/>
          </a:prstGeom>
          <a:noFill/>
          <a:ln>
            <a:noFill/>
          </a:ln>
        </p:spPr>
        <p:txBody>
          <a:bodyPr wrap="square">
            <a:spAutoFit/>
          </a:bodyPr>
          <a:lstStyle/>
          <a:p>
            <a:pPr algn="ctr"/>
            <a:r>
              <a:rPr lang="en-GB" sz="1200" b="0" i="1">
                <a:solidFill>
                  <a:schemeClr val="tx1">
                    <a:lumMod val="50000"/>
                  </a:schemeClr>
                </a:solidFill>
                <a:latin typeface="Garamond" panose="02020404030301010803" pitchFamily="18" charset="0"/>
                <a:ea typeface="Helvetica Neue Thin" panose="020B0403020202020204" pitchFamily="34" charset="0"/>
                <a:cs typeface="Arial" panose="020B0604020202020204" pitchFamily="34" charset="0"/>
              </a:rPr>
              <a:t>October 2025</a:t>
            </a:r>
          </a:p>
        </p:txBody>
      </p:sp>
    </p:spTree>
    <p:extLst>
      <p:ext uri="{BB962C8B-B14F-4D97-AF65-F5344CB8AC3E}">
        <p14:creationId xmlns:p14="http://schemas.microsoft.com/office/powerpoint/2010/main" val="2507635641"/>
      </p:ext>
    </p:extLst>
  </p:cSld>
  <p:clrMap bg1="lt1" tx1="dk1" bg2="lt2" tx2="dk2" accent1="accent1" accent2="accent2" accent3="accent3" accent4="accent4" accent5="accent5" accent6="accent6" hlink="hlink" folHlink="folHlink"/>
  <p:sldLayoutIdLst>
    <p:sldLayoutId id="2147484309" r:id="rId1"/>
    <p:sldLayoutId id="2147484310" r:id="rId2"/>
    <p:sldLayoutId id="2147484311" r:id="rId3"/>
    <p:sldLayoutId id="2147484312" r:id="rId4"/>
    <p:sldLayoutId id="2147484313" r:id="rId5"/>
    <p:sldLayoutId id="2147484314" r:id="rId6"/>
    <p:sldLayoutId id="2147484315" r:id="rId7"/>
    <p:sldLayoutId id="2147484316" r:id="rId8"/>
    <p:sldLayoutId id="2147484317" r:id="rId9"/>
    <p:sldLayoutId id="2147484318" r:id="rId10"/>
    <p:sldLayoutId id="2147484319" r:id="rId11"/>
    <p:sldLayoutId id="2147484320" r:id="rId12"/>
    <p:sldLayoutId id="2147484321" r:id="rId13"/>
    <p:sldLayoutId id="2147484322" r:id="rId14"/>
    <p:sldLayoutId id="2147484323" r:id="rId15"/>
    <p:sldLayoutId id="2147484324" r:id="rId16"/>
    <p:sldLayoutId id="2147484326" r:id="rId17"/>
    <p:sldLayoutId id="2147484327" r:id="rId18"/>
  </p:sldLayoutIdLst>
  <p:hf sldNum="0" hdr="0"/>
  <p:txStyles>
    <p:titleStyle>
      <a:lvl1pPr algn="l" defTabSz="914400" rtl="0" eaLnBrk="1" latinLnBrk="0" hangingPunct="1">
        <a:lnSpc>
          <a:spcPct val="90000"/>
        </a:lnSpc>
        <a:spcBef>
          <a:spcPct val="0"/>
        </a:spcBef>
        <a:buNone/>
        <a:defRPr sz="2400" b="0" i="0" kern="1200">
          <a:solidFill>
            <a:schemeClr val="accent6"/>
          </a:solidFill>
          <a:latin typeface="Arial" panose="020B0604020202020204" pitchFamily="34" charset="0"/>
          <a:ea typeface="Helvetica Neue" panose="02000503000000020004" pitchFamily="2" charset="0"/>
          <a:cs typeface="Arial" panose="020B0604020202020204" pitchFamily="34" charset="0"/>
        </a:defRPr>
      </a:lvl1pPr>
    </p:titleStyle>
    <p:bodyStyle>
      <a:lvl1pPr marL="0" indent="0" algn="l" defTabSz="914400" rtl="0" eaLnBrk="1" latinLnBrk="0" hangingPunct="1">
        <a:lnSpc>
          <a:spcPct val="90000"/>
        </a:lnSpc>
        <a:spcBef>
          <a:spcPts val="1000"/>
        </a:spcBef>
        <a:buClr>
          <a:schemeClr val="tx2"/>
        </a:buClr>
        <a:buFont typeface="Arial" panose="020B0604020202020204" pitchFamily="34" charset="0"/>
        <a:buNone/>
        <a:defRPr sz="1600" b="0" kern="1200">
          <a:solidFill>
            <a:schemeClr val="accent6"/>
          </a:solidFill>
          <a:latin typeface="Arial" panose="020B0604020202020204" pitchFamily="34" charset="0"/>
          <a:ea typeface="Helvetica Neue" panose="02000503000000020004" pitchFamily="2" charset="0"/>
          <a:cs typeface="Arial" panose="020B0604020202020204" pitchFamily="34" charset="0"/>
        </a:defRPr>
      </a:lvl1pPr>
      <a:lvl2pPr marL="0" indent="0" algn="l" defTabSz="914400" rtl="0" eaLnBrk="1" latinLnBrk="0" hangingPunct="1">
        <a:lnSpc>
          <a:spcPct val="90000"/>
        </a:lnSpc>
        <a:spcBef>
          <a:spcPts val="500"/>
        </a:spcBef>
        <a:buClr>
          <a:schemeClr val="accent3">
            <a:lumMod val="20000"/>
            <a:lumOff val="80000"/>
          </a:schemeClr>
        </a:buClr>
        <a:buFont typeface="Arial" panose="020B0604020202020204" pitchFamily="34" charset="0"/>
        <a:buNone/>
        <a:defRPr sz="1300" kern="1200">
          <a:solidFill>
            <a:schemeClr val="bg2">
              <a:lumMod val="25000"/>
            </a:schemeClr>
          </a:solidFill>
          <a:latin typeface="Arial" panose="020B0604020202020204" pitchFamily="34" charset="0"/>
          <a:ea typeface="Helvetica Neue" panose="02000503000000020004" pitchFamily="2" charset="0"/>
          <a:cs typeface="Arial" panose="020B0604020202020204" pitchFamily="34" charset="0"/>
        </a:defRPr>
      </a:lvl2pPr>
      <a:lvl3pPr marL="355600" indent="-177800" algn="l" defTabSz="914400" rtl="0" eaLnBrk="1" latinLnBrk="0" hangingPunct="1">
        <a:lnSpc>
          <a:spcPct val="90000"/>
        </a:lnSpc>
        <a:spcBef>
          <a:spcPts val="500"/>
        </a:spcBef>
        <a:buClr>
          <a:schemeClr val="accent3">
            <a:lumMod val="75000"/>
          </a:schemeClr>
        </a:buClr>
        <a:buFont typeface="Arial" panose="020B0604020202020204" pitchFamily="34" charset="0"/>
        <a:buChar char="•"/>
        <a:defRPr sz="1300" kern="1200">
          <a:solidFill>
            <a:schemeClr val="bg2">
              <a:lumMod val="25000"/>
            </a:schemeClr>
          </a:solidFill>
          <a:latin typeface="Arial" panose="020B0604020202020204" pitchFamily="34" charset="0"/>
          <a:ea typeface="Helvetica Neue" panose="02000503000000020004" pitchFamily="2" charset="0"/>
          <a:cs typeface="Arial" panose="020B0604020202020204" pitchFamily="34" charset="0"/>
        </a:defRPr>
      </a:lvl3pPr>
      <a:lvl4pPr marL="622300" indent="-266700" algn="l" defTabSz="914400" rtl="0" eaLnBrk="1" latinLnBrk="0" hangingPunct="1">
        <a:lnSpc>
          <a:spcPct val="90000"/>
        </a:lnSpc>
        <a:spcBef>
          <a:spcPts val="500"/>
        </a:spcBef>
        <a:buClr>
          <a:schemeClr val="accent3">
            <a:lumMod val="75000"/>
          </a:schemeClr>
        </a:buClr>
        <a:buFont typeface="Courier New" panose="02070309020205020404" pitchFamily="49" charset="0"/>
        <a:buChar char="o"/>
        <a:defRPr sz="1050" kern="1200">
          <a:solidFill>
            <a:schemeClr val="bg2">
              <a:lumMod val="25000"/>
            </a:schemeClr>
          </a:solidFill>
          <a:latin typeface="Arial" panose="020B0604020202020204" pitchFamily="34" charset="0"/>
          <a:ea typeface="Helvetica Neue" panose="02000503000000020004" pitchFamily="2" charset="0"/>
          <a:cs typeface="Arial" panose="020B0604020202020204" pitchFamily="34" charset="0"/>
        </a:defRPr>
      </a:lvl4pPr>
      <a:lvl5pPr marL="0" indent="0" algn="l" defTabSz="914400" rtl="0" eaLnBrk="1" latinLnBrk="0" hangingPunct="1">
        <a:lnSpc>
          <a:spcPct val="90000"/>
        </a:lnSpc>
        <a:spcBef>
          <a:spcPts val="500"/>
        </a:spcBef>
        <a:buClr>
          <a:schemeClr val="accent3">
            <a:lumMod val="20000"/>
            <a:lumOff val="80000"/>
          </a:schemeClr>
        </a:buClr>
        <a:buFont typeface="Arial" panose="020B0604020202020204" pitchFamily="34" charset="0"/>
        <a:buNone/>
        <a:defRPr sz="1050" kern="1200">
          <a:solidFill>
            <a:schemeClr val="bg2">
              <a:lumMod val="25000"/>
            </a:schemeClr>
          </a:solidFill>
          <a:latin typeface="Arial" panose="020B0604020202020204" pitchFamily="34" charset="0"/>
          <a:ea typeface="Helvetica Neue" panose="02000503000000020004" pitchFamily="2"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EC519BC-391E-C846-F99D-8CF65C862D0B}"/>
              </a:ext>
            </a:extLst>
          </p:cNvPr>
          <p:cNvGraphicFramePr>
            <a:graphicFrameLocks noChangeAspect="1"/>
          </p:cNvGraphicFramePr>
          <p:nvPr userDrawn="1">
            <p:custDataLst>
              <p:tags r:id="rId24"/>
            </p:custDataLst>
            <p:extLst>
              <p:ext uri="{D42A27DB-BD31-4B8C-83A1-F6EECF244321}">
                <p14:modId xmlns:p14="http://schemas.microsoft.com/office/powerpoint/2010/main" val="3758250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25" imgW="405" imgH="405" progId="TCLayout.ActiveDocument.1">
                  <p:embed/>
                </p:oleObj>
              </mc:Choice>
              <mc:Fallback>
                <p:oleObj name="think-cell Slide" r:id="rId25" imgW="405" imgH="405" progId="TCLayout.ActiveDocument.1">
                  <p:embed/>
                  <p:pic>
                    <p:nvPicPr>
                      <p:cNvPr id="5" name="think-cell data - do not delete" hidden="1">
                        <a:extLst>
                          <a:ext uri="{FF2B5EF4-FFF2-40B4-BE49-F238E27FC236}">
                            <a16:creationId xmlns:a16="http://schemas.microsoft.com/office/drawing/2014/main" id="{4EC519BC-391E-C846-F99D-8CF65C862D0B}"/>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CB3F93A-7D57-E667-CF49-547D709C8ECD}"/>
              </a:ext>
            </a:extLst>
          </p:cNvPr>
          <p:cNvSpPr>
            <a:spLocks noGrp="1"/>
          </p:cNvSpPr>
          <p:nvPr>
            <p:ph type="title"/>
          </p:nvPr>
        </p:nvSpPr>
        <p:spPr>
          <a:xfrm>
            <a:off x="1076400" y="324000"/>
            <a:ext cx="10386000" cy="648000"/>
          </a:xfrm>
          <a:prstGeom prst="rect">
            <a:avLst/>
          </a:prstGeom>
          <a:ln>
            <a:noFill/>
          </a:ln>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526B00E-600C-3EC5-4D58-9A9470DA45F8}"/>
              </a:ext>
            </a:extLst>
          </p:cNvPr>
          <p:cNvSpPr>
            <a:spLocks noGrp="1"/>
          </p:cNvSpPr>
          <p:nvPr>
            <p:ph type="body" idx="1"/>
          </p:nvPr>
        </p:nvSpPr>
        <p:spPr>
          <a:xfrm>
            <a:off x="397566" y="1468800"/>
            <a:ext cx="11062252" cy="4708800"/>
          </a:xfrm>
          <a:prstGeom prst="rect">
            <a:avLst/>
          </a:prstGeom>
          <a:ln>
            <a:noFill/>
          </a:ln>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3" name="Straight Connector 12">
            <a:extLst>
              <a:ext uri="{FF2B5EF4-FFF2-40B4-BE49-F238E27FC236}">
                <a16:creationId xmlns:a16="http://schemas.microsoft.com/office/drawing/2014/main" id="{839453CC-7F66-5B4E-91C7-ABFCBF45DD82}"/>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8AD18B8A-ABC0-1616-2A84-CD7009241CA7}"/>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74C7D8C6-6AB2-AA07-D31B-5743744A0078}"/>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D39F14FD-A4A1-3B1A-C700-D0EEC8851A68}"/>
              </a:ext>
            </a:extLst>
          </p:cNvPr>
          <p:cNvSpPr txBox="1"/>
          <p:nvPr userDrawn="1"/>
        </p:nvSpPr>
        <p:spPr>
          <a:xfrm>
            <a:off x="2623437" y="6430876"/>
            <a:ext cx="2455460" cy="307777"/>
          </a:xfrm>
          <a:prstGeom prst="rect">
            <a:avLst/>
          </a:prstGeom>
          <a:noFill/>
          <a:ln>
            <a:noFill/>
          </a:ln>
        </p:spPr>
        <p:txBody>
          <a:bodyPr wrap="square">
            <a:spAutoFit/>
          </a:bodyPr>
          <a:lstStyle/>
          <a:p>
            <a:r>
              <a:rPr lang="en-GB" sz="1000" b="0" i="0">
                <a:solidFill>
                  <a:schemeClr val="tx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tx1"/>
                </a:solidFill>
                <a:latin typeface="Garamond" panose="02020404030301010803" pitchFamily="18" charset="0"/>
                <a:ea typeface="Helvetica Neue UltraLight" panose="02000206000000020004" pitchFamily="2" charset="0"/>
              </a:rPr>
              <a:t>expert</a:t>
            </a:r>
            <a:r>
              <a:rPr lang="en-GB" sz="1000" b="0" i="0">
                <a:solidFill>
                  <a:schemeClr val="tx1"/>
                </a:solidFill>
                <a:latin typeface="Helvetica Neue UltraLight" panose="02000206000000020004" pitchFamily="2" charset="0"/>
                <a:ea typeface="Helvetica Neue UltraLight" panose="02000206000000020004" pitchFamily="2" charset="0"/>
              </a:rPr>
              <a:t> </a:t>
            </a:r>
            <a:r>
              <a:rPr lang="en-GB" sz="1000" b="0" i="0">
                <a:solidFill>
                  <a:schemeClr val="tx1"/>
                </a:solidFill>
                <a:latin typeface="Arial" panose="020B0604020202020204" pitchFamily="34" charset="0"/>
                <a:ea typeface="Helvetica Neue Thin" panose="020B0403020202020204" pitchFamily="34" charset="0"/>
                <a:cs typeface="Arial" panose="020B0604020202020204" pitchFamily="34" charset="0"/>
              </a:rPr>
              <a:t>intelligence</a:t>
            </a:r>
          </a:p>
        </p:txBody>
      </p:sp>
      <p:pic>
        <p:nvPicPr>
          <p:cNvPr id="7" name="Picture 6" descr="A logo on a black background&#10;&#10;Description automatically generated">
            <a:extLst>
              <a:ext uri="{FF2B5EF4-FFF2-40B4-BE49-F238E27FC236}">
                <a16:creationId xmlns:a16="http://schemas.microsoft.com/office/drawing/2014/main" id="{A15AF678-2014-6E7C-B31E-F56977F3E458}"/>
              </a:ext>
            </a:extLst>
          </p:cNvPr>
          <p:cNvPicPr>
            <a:picLocks noChangeAspect="1"/>
          </p:cNvPicPr>
          <p:nvPr userDrawn="1"/>
        </p:nvPicPr>
        <p:blipFill rotWithShape="1">
          <a:blip r:embed="rId27"/>
          <a:srcRect l="7819" t="33017" r="74362" b="36885"/>
          <a:stretch/>
        </p:blipFill>
        <p:spPr>
          <a:xfrm>
            <a:off x="263816" y="334800"/>
            <a:ext cx="682031" cy="648000"/>
          </a:xfrm>
          <a:prstGeom prst="rect">
            <a:avLst/>
          </a:prstGeom>
        </p:spPr>
      </p:pic>
      <p:cxnSp>
        <p:nvCxnSpPr>
          <p:cNvPr id="24" name="Straight Connector 23">
            <a:extLst>
              <a:ext uri="{FF2B5EF4-FFF2-40B4-BE49-F238E27FC236}">
                <a16:creationId xmlns:a16="http://schemas.microsoft.com/office/drawing/2014/main" id="{F9A8B042-F53D-A341-A10A-0A9D343D8719}"/>
              </a:ext>
            </a:extLst>
          </p:cNvPr>
          <p:cNvCxnSpPr>
            <a:cxnSpLocks/>
          </p:cNvCxnSpPr>
          <p:nvPr userDrawn="1"/>
        </p:nvCxnSpPr>
        <p:spPr>
          <a:xfrm>
            <a:off x="27036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9C6544F6-F031-A767-FD29-DA832BB008C7}"/>
              </a:ext>
            </a:extLst>
          </p:cNvPr>
          <p:cNvCxnSpPr>
            <a:cxnSpLocks/>
          </p:cNvCxnSpPr>
          <p:nvPr userDrawn="1"/>
        </p:nvCxnSpPr>
        <p:spPr>
          <a:xfrm>
            <a:off x="54900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A7BA2501-CC50-69CB-CDF1-C7E8F3A5A8F5}"/>
              </a:ext>
            </a:extLst>
          </p:cNvPr>
          <p:cNvCxnSpPr>
            <a:cxnSpLocks/>
          </p:cNvCxnSpPr>
          <p:nvPr userDrawn="1"/>
        </p:nvCxnSpPr>
        <p:spPr>
          <a:xfrm>
            <a:off x="74124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E6CA6DF8-0CFF-BD0D-993B-46C692E49013}"/>
              </a:ext>
            </a:extLst>
          </p:cNvPr>
          <p:cNvSpPr txBox="1"/>
          <p:nvPr userDrawn="1"/>
        </p:nvSpPr>
        <p:spPr>
          <a:xfrm>
            <a:off x="11682742" y="6458310"/>
            <a:ext cx="409669" cy="276999"/>
          </a:xfrm>
          <a:prstGeom prst="rect">
            <a:avLst/>
          </a:prstGeom>
          <a:noFill/>
        </p:spPr>
        <p:txBody>
          <a:bodyPr wrap="square" anchor="ctr">
            <a:spAutoFit/>
          </a:bodyPr>
          <a:lstStyle/>
          <a:p>
            <a:fld id="{562BA7E0-5F5E-EE41-AE8D-BD30ED9E17AD}" type="slidenum">
              <a:rPr lang="en-GB" sz="1200" smtClean="0">
                <a:solidFill>
                  <a:schemeClr val="tx1"/>
                </a:solidFill>
                <a:latin typeface="Arial" panose="020B0604020202020204" pitchFamily="34" charset="0"/>
                <a:cs typeface="Arial" panose="020B0604020202020204" pitchFamily="34" charset="0"/>
              </a:rPr>
              <a:pPr/>
              <a:t>‹#›</a:t>
            </a:fld>
            <a:endParaRPr lang="en-GB" sz="1200">
              <a:solidFill>
                <a:schemeClr val="tx1"/>
              </a:solidFill>
              <a:latin typeface="Arial" panose="020B0604020202020204" pitchFamily="34" charset="0"/>
              <a:cs typeface="Arial" panose="020B0604020202020204" pitchFamily="34" charset="0"/>
            </a:endParaRPr>
          </a:p>
        </p:txBody>
      </p:sp>
      <p:sp>
        <p:nvSpPr>
          <p:cNvPr id="6" name="Footer Placeholder 4">
            <a:extLst>
              <a:ext uri="{FF2B5EF4-FFF2-40B4-BE49-F238E27FC236}">
                <a16:creationId xmlns:a16="http://schemas.microsoft.com/office/drawing/2014/main" id="{731FDA51-E221-897D-6EAB-9569DFEFCD07}"/>
              </a:ext>
            </a:extLst>
          </p:cNvPr>
          <p:cNvSpPr>
            <a:spLocks noGrp="1"/>
          </p:cNvSpPr>
          <p:nvPr>
            <p:ph type="ftr" sz="quarter" idx="3"/>
          </p:nvPr>
        </p:nvSpPr>
        <p:spPr>
          <a:xfrm>
            <a:off x="7350369" y="6429964"/>
            <a:ext cx="3176758" cy="309600"/>
          </a:xfrm>
          <a:prstGeom prst="rect">
            <a:avLst/>
          </a:prstGeom>
          <a:ln>
            <a:noFill/>
          </a:ln>
        </p:spPr>
        <p:txBody>
          <a:bodyPr vert="horz" lIns="91440" tIns="45720" rIns="91440" bIns="45720" rtlCol="0" anchor="ctr"/>
          <a:lstStyle>
            <a:lvl1pPr algn="l">
              <a:defRPr sz="1000" b="0" i="0">
                <a:solidFill>
                  <a:schemeClr val="tx1"/>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Battery Value Chain Outlook</a:t>
            </a:r>
            <a:endParaRPr lang="en-GB"/>
          </a:p>
        </p:txBody>
      </p:sp>
      <p:sp>
        <p:nvSpPr>
          <p:cNvPr id="10" name="TextBox 9">
            <a:extLst>
              <a:ext uri="{FF2B5EF4-FFF2-40B4-BE49-F238E27FC236}">
                <a16:creationId xmlns:a16="http://schemas.microsoft.com/office/drawing/2014/main" id="{4ED3A7C6-9F15-8CA9-3E97-8E41011FF902}"/>
              </a:ext>
            </a:extLst>
          </p:cNvPr>
          <p:cNvSpPr txBox="1"/>
          <p:nvPr userDrawn="1"/>
        </p:nvSpPr>
        <p:spPr>
          <a:xfrm>
            <a:off x="5476126" y="6461654"/>
            <a:ext cx="1286726" cy="276999"/>
          </a:xfrm>
          <a:prstGeom prst="rect">
            <a:avLst/>
          </a:prstGeom>
          <a:noFill/>
          <a:ln>
            <a:noFill/>
          </a:ln>
        </p:spPr>
        <p:txBody>
          <a:bodyPr wrap="square">
            <a:spAutoFit/>
          </a:bodyPr>
          <a:lstStyle/>
          <a:p>
            <a:pPr algn="ctr"/>
            <a:r>
              <a:rPr lang="en-GB" sz="1200" b="0" i="1">
                <a:solidFill>
                  <a:schemeClr val="tx1">
                    <a:lumMod val="50000"/>
                  </a:schemeClr>
                </a:solidFill>
                <a:latin typeface="Garamond" panose="02020404030301010803" pitchFamily="18" charset="0"/>
                <a:ea typeface="Helvetica Neue Thin" panose="020B0403020202020204" pitchFamily="34" charset="0"/>
                <a:cs typeface="Arial" panose="020B0604020202020204" pitchFamily="34" charset="0"/>
              </a:rPr>
              <a:t>October 2025</a:t>
            </a:r>
          </a:p>
        </p:txBody>
      </p:sp>
    </p:spTree>
    <p:extLst>
      <p:ext uri="{BB962C8B-B14F-4D97-AF65-F5344CB8AC3E}">
        <p14:creationId xmlns:p14="http://schemas.microsoft.com/office/powerpoint/2010/main" val="1738416533"/>
      </p:ext>
    </p:extLst>
  </p:cSld>
  <p:clrMap bg1="lt1" tx1="dk1" bg2="lt2" tx2="dk2" accent1="accent1" accent2="accent2" accent3="accent3" accent4="accent4" accent5="accent5" accent6="accent6" hlink="hlink" folHlink="folHlink"/>
  <p:sldLayoutIdLst>
    <p:sldLayoutId id="2147484329" r:id="rId1"/>
    <p:sldLayoutId id="2147484330" r:id="rId2"/>
    <p:sldLayoutId id="2147484331" r:id="rId3"/>
    <p:sldLayoutId id="2147484332" r:id="rId4"/>
    <p:sldLayoutId id="2147484333" r:id="rId5"/>
    <p:sldLayoutId id="2147484334" r:id="rId6"/>
    <p:sldLayoutId id="2147484335" r:id="rId7"/>
    <p:sldLayoutId id="2147484336" r:id="rId8"/>
    <p:sldLayoutId id="2147484337" r:id="rId9"/>
    <p:sldLayoutId id="2147484338" r:id="rId10"/>
    <p:sldLayoutId id="2147484339" r:id="rId11"/>
    <p:sldLayoutId id="2147484340" r:id="rId12"/>
    <p:sldLayoutId id="2147484341" r:id="rId13"/>
    <p:sldLayoutId id="2147484342" r:id="rId14"/>
    <p:sldLayoutId id="2147484343" r:id="rId15"/>
    <p:sldLayoutId id="2147484344" r:id="rId16"/>
    <p:sldLayoutId id="2147484345" r:id="rId17"/>
    <p:sldLayoutId id="2147484346" r:id="rId18"/>
    <p:sldLayoutId id="2147484347" r:id="rId19"/>
    <p:sldLayoutId id="2147484348" r:id="rId20"/>
    <p:sldLayoutId id="2147484349" r:id="rId21"/>
  </p:sldLayoutIdLst>
  <p:hf sldNum="0" hdr="0"/>
  <p:txStyles>
    <p:titleStyle>
      <a:lvl1pPr algn="l" defTabSz="914400" rtl="0" eaLnBrk="1" latinLnBrk="0" hangingPunct="1">
        <a:lnSpc>
          <a:spcPct val="90000"/>
        </a:lnSpc>
        <a:spcBef>
          <a:spcPct val="0"/>
        </a:spcBef>
        <a:buNone/>
        <a:defRPr sz="2400" b="0" i="0" kern="1200">
          <a:solidFill>
            <a:schemeClr val="accent6"/>
          </a:solidFill>
          <a:latin typeface="Arial" panose="020B0604020202020204" pitchFamily="34" charset="0"/>
          <a:ea typeface="Helvetica Neue" panose="02000503000000020004" pitchFamily="2" charset="0"/>
          <a:cs typeface="Arial" panose="020B0604020202020204" pitchFamily="34" charset="0"/>
        </a:defRPr>
      </a:lvl1pPr>
    </p:titleStyle>
    <p:bodyStyle>
      <a:lvl1pPr marL="0" indent="0" algn="l" defTabSz="914400" rtl="0" eaLnBrk="1" latinLnBrk="0" hangingPunct="1">
        <a:lnSpc>
          <a:spcPct val="90000"/>
        </a:lnSpc>
        <a:spcBef>
          <a:spcPts val="1000"/>
        </a:spcBef>
        <a:buClr>
          <a:schemeClr val="tx2"/>
        </a:buClr>
        <a:buFont typeface="Arial" panose="020B0604020202020204" pitchFamily="34" charset="0"/>
        <a:buNone/>
        <a:defRPr sz="1600" b="0" kern="1200">
          <a:solidFill>
            <a:schemeClr val="accent6"/>
          </a:solidFill>
          <a:latin typeface="Arial" panose="020B0604020202020204" pitchFamily="34" charset="0"/>
          <a:ea typeface="Helvetica Neue" panose="02000503000000020004" pitchFamily="2" charset="0"/>
          <a:cs typeface="Arial" panose="020B0604020202020204" pitchFamily="34" charset="0"/>
        </a:defRPr>
      </a:lvl1pPr>
      <a:lvl2pPr marL="0" indent="0" algn="l" defTabSz="914400" rtl="0" eaLnBrk="1" latinLnBrk="0" hangingPunct="1">
        <a:lnSpc>
          <a:spcPct val="90000"/>
        </a:lnSpc>
        <a:spcBef>
          <a:spcPts val="500"/>
        </a:spcBef>
        <a:buClr>
          <a:schemeClr val="accent3">
            <a:lumMod val="20000"/>
            <a:lumOff val="80000"/>
          </a:schemeClr>
        </a:buClr>
        <a:buFont typeface="Arial" panose="020B0604020202020204" pitchFamily="34" charset="0"/>
        <a:buNone/>
        <a:defRPr sz="1300" kern="1200">
          <a:solidFill>
            <a:schemeClr val="bg2">
              <a:lumMod val="25000"/>
            </a:schemeClr>
          </a:solidFill>
          <a:latin typeface="Arial" panose="020B0604020202020204" pitchFamily="34" charset="0"/>
          <a:ea typeface="Helvetica Neue" panose="02000503000000020004" pitchFamily="2" charset="0"/>
          <a:cs typeface="Arial" panose="020B0604020202020204" pitchFamily="34" charset="0"/>
        </a:defRPr>
      </a:lvl2pPr>
      <a:lvl3pPr marL="355600" indent="-177800" algn="l" defTabSz="914400" rtl="0" eaLnBrk="1" latinLnBrk="0" hangingPunct="1">
        <a:lnSpc>
          <a:spcPct val="90000"/>
        </a:lnSpc>
        <a:spcBef>
          <a:spcPts val="500"/>
        </a:spcBef>
        <a:buClr>
          <a:schemeClr val="accent3">
            <a:lumMod val="75000"/>
          </a:schemeClr>
        </a:buClr>
        <a:buFont typeface="Arial" panose="020B0604020202020204" pitchFamily="34" charset="0"/>
        <a:buChar char="•"/>
        <a:defRPr sz="1300" kern="1200">
          <a:solidFill>
            <a:schemeClr val="bg2">
              <a:lumMod val="25000"/>
            </a:schemeClr>
          </a:solidFill>
          <a:latin typeface="Arial" panose="020B0604020202020204" pitchFamily="34" charset="0"/>
          <a:ea typeface="Helvetica Neue" panose="02000503000000020004" pitchFamily="2" charset="0"/>
          <a:cs typeface="Arial" panose="020B0604020202020204" pitchFamily="34" charset="0"/>
        </a:defRPr>
      </a:lvl3pPr>
      <a:lvl4pPr marL="622300" indent="-266700" algn="l" defTabSz="914400" rtl="0" eaLnBrk="1" latinLnBrk="0" hangingPunct="1">
        <a:lnSpc>
          <a:spcPct val="90000"/>
        </a:lnSpc>
        <a:spcBef>
          <a:spcPts val="500"/>
        </a:spcBef>
        <a:buClr>
          <a:schemeClr val="accent3">
            <a:lumMod val="75000"/>
          </a:schemeClr>
        </a:buClr>
        <a:buFont typeface="Courier New" panose="02070309020205020404" pitchFamily="49" charset="0"/>
        <a:buChar char="o"/>
        <a:defRPr sz="1050" kern="1200">
          <a:solidFill>
            <a:schemeClr val="bg2">
              <a:lumMod val="25000"/>
            </a:schemeClr>
          </a:solidFill>
          <a:latin typeface="Arial" panose="020B0604020202020204" pitchFamily="34" charset="0"/>
          <a:ea typeface="Helvetica Neue" panose="02000503000000020004" pitchFamily="2" charset="0"/>
          <a:cs typeface="Arial" panose="020B0604020202020204" pitchFamily="34" charset="0"/>
        </a:defRPr>
      </a:lvl4pPr>
      <a:lvl5pPr marL="0" indent="0" algn="l" defTabSz="914400" rtl="0" eaLnBrk="1" latinLnBrk="0" hangingPunct="1">
        <a:lnSpc>
          <a:spcPct val="90000"/>
        </a:lnSpc>
        <a:spcBef>
          <a:spcPts val="500"/>
        </a:spcBef>
        <a:buClr>
          <a:schemeClr val="accent3">
            <a:lumMod val="20000"/>
            <a:lumOff val="80000"/>
          </a:schemeClr>
        </a:buClr>
        <a:buFont typeface="Arial" panose="020B0604020202020204" pitchFamily="34" charset="0"/>
        <a:buNone/>
        <a:defRPr sz="1050" kern="1200">
          <a:solidFill>
            <a:schemeClr val="bg2">
              <a:lumMod val="25000"/>
            </a:schemeClr>
          </a:solidFill>
          <a:latin typeface="Arial" panose="020B0604020202020204" pitchFamily="34" charset="0"/>
          <a:ea typeface="Helvetica Neue" panose="02000503000000020004" pitchFamily="2"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4138D6E-6AF6-5FFD-E3A9-959C1B8E11EA}"/>
              </a:ext>
            </a:extLst>
          </p:cNvPr>
          <p:cNvGraphicFramePr>
            <a:graphicFrameLocks noChangeAspect="1"/>
          </p:cNvGraphicFramePr>
          <p:nvPr userDrawn="1">
            <p:custDataLst>
              <p:tags r:id="rId25"/>
            </p:custDataLst>
            <p:extLst>
              <p:ext uri="{D42A27DB-BD31-4B8C-83A1-F6EECF244321}">
                <p14:modId xmlns:p14="http://schemas.microsoft.com/office/powerpoint/2010/main" val="2681153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26" imgW="258" imgH="258" progId="TCLayout.ActiveDocument.1">
                  <p:embed/>
                </p:oleObj>
              </mc:Choice>
              <mc:Fallback>
                <p:oleObj name="think-cell Slide" r:id="rId26" imgW="258" imgH="258" progId="TCLayout.ActiveDocument.1">
                  <p:embed/>
                  <p:pic>
                    <p:nvPicPr>
                      <p:cNvPr id="5" name="think-cell data - do not delete" hidden="1">
                        <a:extLst>
                          <a:ext uri="{FF2B5EF4-FFF2-40B4-BE49-F238E27FC236}">
                            <a16:creationId xmlns:a16="http://schemas.microsoft.com/office/drawing/2014/main" id="{74138D6E-6AF6-5FFD-E3A9-959C1B8E11EA}"/>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CB3F93A-7D57-E667-CF49-547D709C8ECD}"/>
              </a:ext>
            </a:extLst>
          </p:cNvPr>
          <p:cNvSpPr>
            <a:spLocks noGrp="1"/>
          </p:cNvSpPr>
          <p:nvPr>
            <p:ph type="title"/>
          </p:nvPr>
        </p:nvSpPr>
        <p:spPr>
          <a:xfrm>
            <a:off x="1076400" y="324000"/>
            <a:ext cx="10386000" cy="648000"/>
          </a:xfrm>
          <a:prstGeom prst="rect">
            <a:avLst/>
          </a:prstGeom>
          <a:ln>
            <a:noFill/>
          </a:ln>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526B00E-600C-3EC5-4D58-9A9470DA45F8}"/>
              </a:ext>
            </a:extLst>
          </p:cNvPr>
          <p:cNvSpPr>
            <a:spLocks noGrp="1"/>
          </p:cNvSpPr>
          <p:nvPr>
            <p:ph type="body" idx="1"/>
          </p:nvPr>
        </p:nvSpPr>
        <p:spPr>
          <a:xfrm>
            <a:off x="397566" y="1468800"/>
            <a:ext cx="11062252" cy="4708800"/>
          </a:xfrm>
          <a:prstGeom prst="rect">
            <a:avLst/>
          </a:prstGeom>
          <a:ln>
            <a:noFill/>
          </a:ln>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3" name="Straight Connector 12">
            <a:extLst>
              <a:ext uri="{FF2B5EF4-FFF2-40B4-BE49-F238E27FC236}">
                <a16:creationId xmlns:a16="http://schemas.microsoft.com/office/drawing/2014/main" id="{839453CC-7F66-5B4E-91C7-ABFCBF45DD82}"/>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8AD18B8A-ABC0-1616-2A84-CD7009241CA7}"/>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74C7D8C6-6AB2-AA07-D31B-5743744A0078}"/>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D39F14FD-A4A1-3B1A-C700-D0EEC8851A68}"/>
              </a:ext>
            </a:extLst>
          </p:cNvPr>
          <p:cNvSpPr txBox="1"/>
          <p:nvPr userDrawn="1"/>
        </p:nvSpPr>
        <p:spPr>
          <a:xfrm>
            <a:off x="2623437" y="6430876"/>
            <a:ext cx="2455460" cy="307777"/>
          </a:xfrm>
          <a:prstGeom prst="rect">
            <a:avLst/>
          </a:prstGeom>
          <a:noFill/>
          <a:ln>
            <a:noFill/>
          </a:ln>
        </p:spPr>
        <p:txBody>
          <a:bodyPr wrap="square">
            <a:spAutoFit/>
          </a:bodyPr>
          <a:lstStyle/>
          <a:p>
            <a:r>
              <a:rPr lang="en-GB" sz="1000" b="0" i="0">
                <a:solidFill>
                  <a:schemeClr val="tx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tx1"/>
                </a:solidFill>
                <a:latin typeface="Garamond" panose="02020404030301010803" pitchFamily="18" charset="0"/>
                <a:ea typeface="Helvetica Neue UltraLight" panose="02000206000000020004" pitchFamily="2" charset="0"/>
              </a:rPr>
              <a:t>expert</a:t>
            </a:r>
            <a:r>
              <a:rPr lang="en-GB" sz="1000" b="0" i="0">
                <a:solidFill>
                  <a:schemeClr val="tx1"/>
                </a:solidFill>
                <a:latin typeface="Helvetica Neue UltraLight" panose="02000206000000020004" pitchFamily="2" charset="0"/>
                <a:ea typeface="Helvetica Neue UltraLight" panose="02000206000000020004" pitchFamily="2" charset="0"/>
              </a:rPr>
              <a:t> </a:t>
            </a:r>
            <a:r>
              <a:rPr lang="en-GB" sz="1000" b="0" i="0">
                <a:solidFill>
                  <a:schemeClr val="tx1"/>
                </a:solidFill>
                <a:latin typeface="Arial" panose="020B0604020202020204" pitchFamily="34" charset="0"/>
                <a:ea typeface="Helvetica Neue Thin" panose="020B0403020202020204" pitchFamily="34" charset="0"/>
                <a:cs typeface="Arial" panose="020B0604020202020204" pitchFamily="34" charset="0"/>
              </a:rPr>
              <a:t>intelligence</a:t>
            </a:r>
          </a:p>
        </p:txBody>
      </p:sp>
      <p:pic>
        <p:nvPicPr>
          <p:cNvPr id="7" name="Picture 6" descr="A logo on a black background&#10;&#10;Description automatically generated">
            <a:extLst>
              <a:ext uri="{FF2B5EF4-FFF2-40B4-BE49-F238E27FC236}">
                <a16:creationId xmlns:a16="http://schemas.microsoft.com/office/drawing/2014/main" id="{A15AF678-2014-6E7C-B31E-F56977F3E458}"/>
              </a:ext>
            </a:extLst>
          </p:cNvPr>
          <p:cNvPicPr>
            <a:picLocks noChangeAspect="1"/>
          </p:cNvPicPr>
          <p:nvPr userDrawn="1"/>
        </p:nvPicPr>
        <p:blipFill rotWithShape="1">
          <a:blip r:embed="rId28"/>
          <a:srcRect l="7819" t="33017" r="74362" b="36885"/>
          <a:stretch/>
        </p:blipFill>
        <p:spPr>
          <a:xfrm>
            <a:off x="263816" y="334800"/>
            <a:ext cx="682031" cy="648000"/>
          </a:xfrm>
          <a:prstGeom prst="rect">
            <a:avLst/>
          </a:prstGeom>
        </p:spPr>
      </p:pic>
      <p:cxnSp>
        <p:nvCxnSpPr>
          <p:cNvPr id="24" name="Straight Connector 23">
            <a:extLst>
              <a:ext uri="{FF2B5EF4-FFF2-40B4-BE49-F238E27FC236}">
                <a16:creationId xmlns:a16="http://schemas.microsoft.com/office/drawing/2014/main" id="{F9A8B042-F53D-A341-A10A-0A9D343D8719}"/>
              </a:ext>
            </a:extLst>
          </p:cNvPr>
          <p:cNvCxnSpPr>
            <a:cxnSpLocks/>
          </p:cNvCxnSpPr>
          <p:nvPr userDrawn="1"/>
        </p:nvCxnSpPr>
        <p:spPr>
          <a:xfrm>
            <a:off x="27036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9C6544F6-F031-A767-FD29-DA832BB008C7}"/>
              </a:ext>
            </a:extLst>
          </p:cNvPr>
          <p:cNvCxnSpPr>
            <a:cxnSpLocks/>
          </p:cNvCxnSpPr>
          <p:nvPr userDrawn="1"/>
        </p:nvCxnSpPr>
        <p:spPr>
          <a:xfrm>
            <a:off x="54900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A7BA2501-CC50-69CB-CDF1-C7E8F3A5A8F5}"/>
              </a:ext>
            </a:extLst>
          </p:cNvPr>
          <p:cNvCxnSpPr>
            <a:cxnSpLocks/>
          </p:cNvCxnSpPr>
          <p:nvPr userDrawn="1"/>
        </p:nvCxnSpPr>
        <p:spPr>
          <a:xfrm>
            <a:off x="7412400" y="6357600"/>
            <a:ext cx="1274379"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E6CA6DF8-0CFF-BD0D-993B-46C692E49013}"/>
              </a:ext>
            </a:extLst>
          </p:cNvPr>
          <p:cNvSpPr txBox="1"/>
          <p:nvPr userDrawn="1"/>
        </p:nvSpPr>
        <p:spPr>
          <a:xfrm>
            <a:off x="11682742" y="6458310"/>
            <a:ext cx="409669" cy="276999"/>
          </a:xfrm>
          <a:prstGeom prst="rect">
            <a:avLst/>
          </a:prstGeom>
          <a:noFill/>
        </p:spPr>
        <p:txBody>
          <a:bodyPr wrap="square" anchor="ctr">
            <a:spAutoFit/>
          </a:bodyPr>
          <a:lstStyle/>
          <a:p>
            <a:fld id="{562BA7E0-5F5E-EE41-AE8D-BD30ED9E17AD}" type="slidenum">
              <a:rPr lang="en-GB" sz="1200" smtClean="0">
                <a:solidFill>
                  <a:schemeClr val="tx1"/>
                </a:solidFill>
                <a:latin typeface="Arial" panose="020B0604020202020204" pitchFamily="34" charset="0"/>
                <a:cs typeface="Arial" panose="020B0604020202020204" pitchFamily="34" charset="0"/>
              </a:rPr>
              <a:pPr/>
              <a:t>‹#›</a:t>
            </a:fld>
            <a:endParaRPr lang="en-GB" sz="1200">
              <a:solidFill>
                <a:schemeClr val="tx1"/>
              </a:solidFill>
              <a:latin typeface="Arial" panose="020B0604020202020204" pitchFamily="34" charset="0"/>
              <a:cs typeface="Arial" panose="020B0604020202020204" pitchFamily="34" charset="0"/>
            </a:endParaRPr>
          </a:p>
        </p:txBody>
      </p:sp>
      <p:sp>
        <p:nvSpPr>
          <p:cNvPr id="6" name="Footer Placeholder 4">
            <a:extLst>
              <a:ext uri="{FF2B5EF4-FFF2-40B4-BE49-F238E27FC236}">
                <a16:creationId xmlns:a16="http://schemas.microsoft.com/office/drawing/2014/main" id="{731FDA51-E221-897D-6EAB-9569DFEFCD07}"/>
              </a:ext>
            </a:extLst>
          </p:cNvPr>
          <p:cNvSpPr>
            <a:spLocks noGrp="1"/>
          </p:cNvSpPr>
          <p:nvPr>
            <p:ph type="ftr" sz="quarter" idx="3"/>
          </p:nvPr>
        </p:nvSpPr>
        <p:spPr>
          <a:xfrm>
            <a:off x="7350369" y="6429964"/>
            <a:ext cx="3176758" cy="309600"/>
          </a:xfrm>
          <a:prstGeom prst="rect">
            <a:avLst/>
          </a:prstGeom>
          <a:ln>
            <a:noFill/>
          </a:ln>
        </p:spPr>
        <p:txBody>
          <a:bodyPr vert="horz" lIns="91440" tIns="45720" rIns="91440" bIns="45720" rtlCol="0" anchor="ctr"/>
          <a:lstStyle>
            <a:lvl1pPr algn="l">
              <a:defRPr sz="1000" b="0" i="0">
                <a:solidFill>
                  <a:schemeClr val="tx1"/>
                </a:solidFill>
                <a:latin typeface="Arial" panose="020B0604020202020204" pitchFamily="34" charset="0"/>
                <a:ea typeface="Helvetica Neue Thin" panose="020B0403020202020204" pitchFamily="34" charset="0"/>
                <a:cs typeface="Arial" panose="020B0604020202020204" pitchFamily="34" charset="0"/>
              </a:defRPr>
            </a:lvl1pPr>
          </a:lstStyle>
          <a:p>
            <a:r>
              <a:rPr lang="en-US"/>
              <a:t>Co &amp; Li supply: stopgap or structural shift</a:t>
            </a:r>
            <a:endParaRPr lang="en-GB"/>
          </a:p>
        </p:txBody>
      </p:sp>
      <p:sp>
        <p:nvSpPr>
          <p:cNvPr id="10" name="TextBox 9">
            <a:extLst>
              <a:ext uri="{FF2B5EF4-FFF2-40B4-BE49-F238E27FC236}">
                <a16:creationId xmlns:a16="http://schemas.microsoft.com/office/drawing/2014/main" id="{4ED3A7C6-9F15-8CA9-3E97-8E41011FF902}"/>
              </a:ext>
            </a:extLst>
          </p:cNvPr>
          <p:cNvSpPr txBox="1"/>
          <p:nvPr userDrawn="1"/>
        </p:nvSpPr>
        <p:spPr>
          <a:xfrm>
            <a:off x="5476126" y="6461654"/>
            <a:ext cx="1286726" cy="276999"/>
          </a:xfrm>
          <a:prstGeom prst="rect">
            <a:avLst/>
          </a:prstGeom>
          <a:noFill/>
          <a:ln>
            <a:noFill/>
          </a:ln>
        </p:spPr>
        <p:txBody>
          <a:bodyPr wrap="square">
            <a:spAutoFit/>
          </a:bodyPr>
          <a:lstStyle/>
          <a:p>
            <a:pPr algn="ctr"/>
            <a:r>
              <a:rPr lang="en-GB" sz="1200" b="0" i="1">
                <a:solidFill>
                  <a:schemeClr val="tx1">
                    <a:lumMod val="50000"/>
                  </a:schemeClr>
                </a:solidFill>
                <a:latin typeface="Garamond" panose="02020404030301010803" pitchFamily="18" charset="0"/>
                <a:ea typeface="Helvetica Neue Thin" panose="020B0403020202020204" pitchFamily="34" charset="0"/>
                <a:cs typeface="Arial" panose="020B0604020202020204" pitchFamily="34" charset="0"/>
              </a:rPr>
              <a:t>October 2025</a:t>
            </a:r>
          </a:p>
        </p:txBody>
      </p:sp>
    </p:spTree>
    <p:extLst>
      <p:ext uri="{BB962C8B-B14F-4D97-AF65-F5344CB8AC3E}">
        <p14:creationId xmlns:p14="http://schemas.microsoft.com/office/powerpoint/2010/main" val="1239407797"/>
      </p:ext>
    </p:extLst>
  </p:cSld>
  <p:clrMap bg1="lt1" tx1="dk1" bg2="lt2" tx2="dk2" accent1="accent1" accent2="accent2" accent3="accent3" accent4="accent4" accent5="accent5" accent6="accent6" hlink="hlink" folHlink="folHlink"/>
  <p:sldLayoutIdLst>
    <p:sldLayoutId id="2147484443" r:id="rId1"/>
    <p:sldLayoutId id="2147484444" r:id="rId2"/>
    <p:sldLayoutId id="2147484445" r:id="rId3"/>
    <p:sldLayoutId id="2147484446" r:id="rId4"/>
    <p:sldLayoutId id="2147484447" r:id="rId5"/>
    <p:sldLayoutId id="2147484448" r:id="rId6"/>
    <p:sldLayoutId id="2147484449" r:id="rId7"/>
    <p:sldLayoutId id="2147484450" r:id="rId8"/>
    <p:sldLayoutId id="2147484451" r:id="rId9"/>
    <p:sldLayoutId id="2147484452" r:id="rId10"/>
    <p:sldLayoutId id="2147484453" r:id="rId11"/>
    <p:sldLayoutId id="2147484454" r:id="rId12"/>
    <p:sldLayoutId id="2147484455" r:id="rId13"/>
    <p:sldLayoutId id="2147484456" r:id="rId14"/>
    <p:sldLayoutId id="2147484457" r:id="rId15"/>
    <p:sldLayoutId id="2147484458" r:id="rId16"/>
    <p:sldLayoutId id="2147484459" r:id="rId17"/>
    <p:sldLayoutId id="2147484460" r:id="rId18"/>
    <p:sldLayoutId id="2147484461" r:id="rId19"/>
    <p:sldLayoutId id="2147484462" r:id="rId20"/>
    <p:sldLayoutId id="2147484463" r:id="rId21"/>
    <p:sldLayoutId id="2147484464" r:id="rId22"/>
  </p:sldLayoutIdLst>
  <p:hf sldNum="0" hdr="0" dt="0"/>
  <p:txStyles>
    <p:titleStyle>
      <a:lvl1pPr algn="l" defTabSz="914400" rtl="0" eaLnBrk="1" latinLnBrk="0" hangingPunct="1">
        <a:lnSpc>
          <a:spcPct val="90000"/>
        </a:lnSpc>
        <a:spcBef>
          <a:spcPct val="0"/>
        </a:spcBef>
        <a:buNone/>
        <a:defRPr sz="2400" b="0" i="0" kern="1200">
          <a:solidFill>
            <a:schemeClr val="accent6"/>
          </a:solidFill>
          <a:latin typeface="Arial" panose="020B0604020202020204" pitchFamily="34" charset="0"/>
          <a:ea typeface="Helvetica Neue" panose="02000503000000020004" pitchFamily="2" charset="0"/>
          <a:cs typeface="Arial" panose="020B0604020202020204" pitchFamily="34" charset="0"/>
        </a:defRPr>
      </a:lvl1pPr>
    </p:titleStyle>
    <p:bodyStyle>
      <a:lvl1pPr marL="0" indent="0" algn="l" defTabSz="914400" rtl="0" eaLnBrk="1" latinLnBrk="0" hangingPunct="1">
        <a:lnSpc>
          <a:spcPct val="90000"/>
        </a:lnSpc>
        <a:spcBef>
          <a:spcPts val="1000"/>
        </a:spcBef>
        <a:buClr>
          <a:schemeClr val="tx2"/>
        </a:buClr>
        <a:buFont typeface="Arial" panose="020B0604020202020204" pitchFamily="34" charset="0"/>
        <a:buNone/>
        <a:defRPr sz="1600" b="0" kern="1200">
          <a:solidFill>
            <a:schemeClr val="accent6"/>
          </a:solidFill>
          <a:latin typeface="Arial" panose="020B0604020202020204" pitchFamily="34" charset="0"/>
          <a:ea typeface="Helvetica Neue" panose="02000503000000020004" pitchFamily="2" charset="0"/>
          <a:cs typeface="Arial" panose="020B0604020202020204" pitchFamily="34" charset="0"/>
        </a:defRPr>
      </a:lvl1pPr>
      <a:lvl2pPr marL="0" indent="0" algn="l" defTabSz="914400" rtl="0" eaLnBrk="1" latinLnBrk="0" hangingPunct="1">
        <a:lnSpc>
          <a:spcPct val="90000"/>
        </a:lnSpc>
        <a:spcBef>
          <a:spcPts val="500"/>
        </a:spcBef>
        <a:buClr>
          <a:schemeClr val="accent3">
            <a:lumMod val="20000"/>
            <a:lumOff val="80000"/>
          </a:schemeClr>
        </a:buClr>
        <a:buFont typeface="Arial" panose="020B0604020202020204" pitchFamily="34" charset="0"/>
        <a:buNone/>
        <a:defRPr sz="1300" kern="1200">
          <a:solidFill>
            <a:schemeClr val="bg2">
              <a:lumMod val="25000"/>
            </a:schemeClr>
          </a:solidFill>
          <a:latin typeface="Arial" panose="020B0604020202020204" pitchFamily="34" charset="0"/>
          <a:ea typeface="Helvetica Neue" panose="02000503000000020004" pitchFamily="2" charset="0"/>
          <a:cs typeface="Arial" panose="020B0604020202020204" pitchFamily="34" charset="0"/>
        </a:defRPr>
      </a:lvl2pPr>
      <a:lvl3pPr marL="355600" indent="-177800" algn="l" defTabSz="914400" rtl="0" eaLnBrk="1" latinLnBrk="0" hangingPunct="1">
        <a:lnSpc>
          <a:spcPct val="90000"/>
        </a:lnSpc>
        <a:spcBef>
          <a:spcPts val="500"/>
        </a:spcBef>
        <a:buClr>
          <a:schemeClr val="accent3">
            <a:lumMod val="75000"/>
          </a:schemeClr>
        </a:buClr>
        <a:buFont typeface="Arial" panose="020B0604020202020204" pitchFamily="34" charset="0"/>
        <a:buChar char="•"/>
        <a:defRPr sz="1300" kern="1200">
          <a:solidFill>
            <a:schemeClr val="bg2">
              <a:lumMod val="25000"/>
            </a:schemeClr>
          </a:solidFill>
          <a:latin typeface="Arial" panose="020B0604020202020204" pitchFamily="34" charset="0"/>
          <a:ea typeface="Helvetica Neue" panose="02000503000000020004" pitchFamily="2" charset="0"/>
          <a:cs typeface="Arial" panose="020B0604020202020204" pitchFamily="34" charset="0"/>
        </a:defRPr>
      </a:lvl3pPr>
      <a:lvl4pPr marL="622300" indent="-266700" algn="l" defTabSz="914400" rtl="0" eaLnBrk="1" latinLnBrk="0" hangingPunct="1">
        <a:lnSpc>
          <a:spcPct val="90000"/>
        </a:lnSpc>
        <a:spcBef>
          <a:spcPts val="500"/>
        </a:spcBef>
        <a:buClr>
          <a:schemeClr val="accent3">
            <a:lumMod val="75000"/>
          </a:schemeClr>
        </a:buClr>
        <a:buFont typeface="Courier New" panose="02070309020205020404" pitchFamily="49" charset="0"/>
        <a:buChar char="o"/>
        <a:defRPr sz="1050" kern="1200">
          <a:solidFill>
            <a:schemeClr val="bg2">
              <a:lumMod val="25000"/>
            </a:schemeClr>
          </a:solidFill>
          <a:latin typeface="Arial" panose="020B0604020202020204" pitchFamily="34" charset="0"/>
          <a:ea typeface="Helvetica Neue" panose="02000503000000020004" pitchFamily="2" charset="0"/>
          <a:cs typeface="Arial" panose="020B0604020202020204" pitchFamily="34" charset="0"/>
        </a:defRPr>
      </a:lvl4pPr>
      <a:lvl5pPr marL="0" indent="0" algn="l" defTabSz="914400" rtl="0" eaLnBrk="1" latinLnBrk="0" hangingPunct="1">
        <a:lnSpc>
          <a:spcPct val="90000"/>
        </a:lnSpc>
        <a:spcBef>
          <a:spcPts val="500"/>
        </a:spcBef>
        <a:buClr>
          <a:schemeClr val="accent3">
            <a:lumMod val="20000"/>
            <a:lumOff val="80000"/>
          </a:schemeClr>
        </a:buClr>
        <a:buFont typeface="Arial" panose="020B0604020202020204" pitchFamily="34" charset="0"/>
        <a:buNone/>
        <a:defRPr sz="1050" kern="1200">
          <a:solidFill>
            <a:schemeClr val="bg2">
              <a:lumMod val="25000"/>
            </a:schemeClr>
          </a:solidFill>
          <a:latin typeface="Arial" panose="020B0604020202020204" pitchFamily="34" charset="0"/>
          <a:ea typeface="Helvetica Neue" panose="02000503000000020004" pitchFamily="2"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3F9CAF4-24C1-F0A5-6386-3692D03566BD}"/>
              </a:ext>
            </a:extLst>
          </p:cNvPr>
          <p:cNvGraphicFramePr>
            <a:graphicFrameLocks noChangeAspect="1"/>
          </p:cNvGraphicFramePr>
          <p:nvPr userDrawn="1">
            <p:custDataLst>
              <p:tags r:id="rId47"/>
            </p:custDataLst>
            <p:extLst>
              <p:ext uri="{D42A27DB-BD31-4B8C-83A1-F6EECF244321}">
                <p14:modId xmlns:p14="http://schemas.microsoft.com/office/powerpoint/2010/main" val="1640725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48" imgW="405" imgH="405" progId="TCLayout.ActiveDocument.1">
                  <p:embed/>
                </p:oleObj>
              </mc:Choice>
              <mc:Fallback>
                <p:oleObj name="think-cell Slide" r:id="rId48" imgW="405" imgH="405" progId="TCLayout.ActiveDocument.1">
                  <p:embed/>
                  <p:pic>
                    <p:nvPicPr>
                      <p:cNvPr id="6" name="think-cell data - do not delete" hidden="1">
                        <a:extLst>
                          <a:ext uri="{FF2B5EF4-FFF2-40B4-BE49-F238E27FC236}">
                            <a16:creationId xmlns:a16="http://schemas.microsoft.com/office/drawing/2014/main" id="{A3F9CAF4-24C1-F0A5-6386-3692D03566BD}"/>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pic>
        <p:nvPicPr>
          <p:cNvPr id="17" name="Picture 16" descr="A blue and black background&#10;&#10;Description automatically generated">
            <a:extLst>
              <a:ext uri="{FF2B5EF4-FFF2-40B4-BE49-F238E27FC236}">
                <a16:creationId xmlns:a16="http://schemas.microsoft.com/office/drawing/2014/main" id="{E3A15844-19BF-5608-2027-5669685150DF}"/>
              </a:ext>
            </a:extLst>
          </p:cNvPr>
          <p:cNvPicPr>
            <a:picLocks noChangeAspect="1"/>
          </p:cNvPicPr>
          <p:nvPr userDrawn="1"/>
        </p:nvPicPr>
        <p:blipFill>
          <a:blip r:embed="rId50"/>
          <a:stretch>
            <a:fill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2E265007-28F6-1A09-A10B-93EB8ED2F08F}"/>
              </a:ext>
            </a:extLst>
          </p:cNvPr>
          <p:cNvSpPr>
            <a:spLocks noGrp="1"/>
          </p:cNvSpPr>
          <p:nvPr>
            <p:ph type="dt" sz="half" idx="2"/>
          </p:nvPr>
        </p:nvSpPr>
        <p:spPr>
          <a:xfrm>
            <a:off x="5406889" y="6429965"/>
            <a:ext cx="1706400" cy="307778"/>
          </a:xfrm>
          <a:prstGeom prst="rect">
            <a:avLst/>
          </a:prstGeom>
          <a:ln>
            <a:noFill/>
          </a:ln>
        </p:spPr>
        <p:txBody>
          <a:bodyPr vert="horz" lIns="91440" tIns="45720" rIns="91440" bIns="45720" rtlCol="0" anchor="ctr"/>
          <a:lstStyle>
            <a:lvl1pPr algn="l">
              <a:defRPr sz="1200" b="0" i="1">
                <a:solidFill>
                  <a:schemeClr val="bg1"/>
                </a:solidFill>
                <a:latin typeface="Garamond" panose="02020404030301010803" pitchFamily="18" charset="0"/>
                <a:ea typeface="Helvetica Neue" panose="02000503000000020004" pitchFamily="2" charset="0"/>
                <a:cs typeface="Helvetica Neue" panose="02000503000000020004" pitchFamily="2" charset="0"/>
              </a:defRPr>
            </a:lvl1pPr>
          </a:lstStyle>
          <a:p>
            <a:r>
              <a:rPr lang="en-US"/>
              <a:t>October 2025</a:t>
            </a:r>
            <a:endParaRPr lang="en-GB"/>
          </a:p>
        </p:txBody>
      </p:sp>
      <p:sp>
        <p:nvSpPr>
          <p:cNvPr id="5" name="Footer Placeholder 4">
            <a:extLst>
              <a:ext uri="{FF2B5EF4-FFF2-40B4-BE49-F238E27FC236}">
                <a16:creationId xmlns:a16="http://schemas.microsoft.com/office/drawing/2014/main" id="{AE485163-71E9-943D-412A-2F55FAA155A8}"/>
              </a:ext>
            </a:extLst>
          </p:cNvPr>
          <p:cNvSpPr>
            <a:spLocks noGrp="1"/>
          </p:cNvSpPr>
          <p:nvPr>
            <p:ph type="ftr" sz="quarter" idx="3"/>
          </p:nvPr>
        </p:nvSpPr>
        <p:spPr>
          <a:xfrm>
            <a:off x="7350369" y="6429965"/>
            <a:ext cx="3176758" cy="307777"/>
          </a:xfrm>
          <a:prstGeom prst="rect">
            <a:avLst/>
          </a:prstGeom>
          <a:ln>
            <a:noFill/>
          </a:ln>
        </p:spPr>
        <p:txBody>
          <a:bodyPr vert="horz" lIns="91440" tIns="45720" rIns="91440" bIns="45720" rtlCol="0" anchor="ctr"/>
          <a:lstStyle>
            <a:lvl1pPr algn="l">
              <a:defRPr sz="1000" b="0" i="0">
                <a:solidFill>
                  <a:schemeClr val="bg1"/>
                </a:solidFill>
                <a:latin typeface="Arial" panose="020B0604020202020204" pitchFamily="34" charset="0"/>
                <a:ea typeface="Helvetica Neue Thin" panose="020B0403020202020204" pitchFamily="34" charset="0"/>
                <a:cs typeface="Arial" panose="020B0604020202020204" pitchFamily="34" charset="0"/>
              </a:defRPr>
            </a:lvl1pPr>
          </a:lstStyle>
          <a:p>
            <a:r>
              <a:rPr lang="en-GB"/>
              <a:t>Stainless Steel &amp; Raw Materials in an Era of Uncertainty</a:t>
            </a:r>
          </a:p>
        </p:txBody>
      </p:sp>
      <p:cxnSp>
        <p:nvCxnSpPr>
          <p:cNvPr id="13" name="Straight Connector 12">
            <a:extLst>
              <a:ext uri="{FF2B5EF4-FFF2-40B4-BE49-F238E27FC236}">
                <a16:creationId xmlns:a16="http://schemas.microsoft.com/office/drawing/2014/main" id="{839453CC-7F66-5B4E-91C7-ABFCBF45DD82}"/>
              </a:ext>
            </a:extLst>
          </p:cNvPr>
          <p:cNvCxnSpPr>
            <a:cxnSpLocks/>
          </p:cNvCxnSpPr>
          <p:nvPr userDrawn="1"/>
        </p:nvCxnSpPr>
        <p:spPr>
          <a:xfrm>
            <a:off x="2702950"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8AD18B8A-ABC0-1616-2A84-CD7009241CA7}"/>
              </a:ext>
            </a:extLst>
          </p:cNvPr>
          <p:cNvCxnSpPr>
            <a:cxnSpLocks/>
          </p:cNvCxnSpPr>
          <p:nvPr userDrawn="1"/>
        </p:nvCxnSpPr>
        <p:spPr>
          <a:xfrm>
            <a:off x="5488473"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74C7D8C6-6AB2-AA07-D31B-5743744A0078}"/>
              </a:ext>
            </a:extLst>
          </p:cNvPr>
          <p:cNvCxnSpPr>
            <a:cxnSpLocks/>
          </p:cNvCxnSpPr>
          <p:nvPr userDrawn="1"/>
        </p:nvCxnSpPr>
        <p:spPr>
          <a:xfrm>
            <a:off x="7411982" y="6356350"/>
            <a:ext cx="1274379"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7" name="Picture 6" descr="A black background with white text&#10;&#10;Description automatically generated">
            <a:extLst>
              <a:ext uri="{FF2B5EF4-FFF2-40B4-BE49-F238E27FC236}">
                <a16:creationId xmlns:a16="http://schemas.microsoft.com/office/drawing/2014/main" id="{1AC8E4BF-188B-3F62-D23C-9EEFEB985A67}"/>
              </a:ext>
            </a:extLst>
          </p:cNvPr>
          <p:cNvPicPr>
            <a:picLocks noChangeAspect="1"/>
          </p:cNvPicPr>
          <p:nvPr userDrawn="1"/>
        </p:nvPicPr>
        <p:blipFill rotWithShape="1">
          <a:blip r:embed="rId51"/>
          <a:srcRect r="65891" b="2208"/>
          <a:stretch/>
        </p:blipFill>
        <p:spPr>
          <a:xfrm>
            <a:off x="269042" y="244076"/>
            <a:ext cx="1038925" cy="1010287"/>
          </a:xfrm>
          <a:prstGeom prst="rect">
            <a:avLst/>
          </a:prstGeom>
        </p:spPr>
      </p:pic>
      <p:sp>
        <p:nvSpPr>
          <p:cNvPr id="9" name="Title Placeholder 1">
            <a:extLst>
              <a:ext uri="{FF2B5EF4-FFF2-40B4-BE49-F238E27FC236}">
                <a16:creationId xmlns:a16="http://schemas.microsoft.com/office/drawing/2014/main" id="{9C5E79C1-3DC1-BC1C-DDD5-6A75A022C372}"/>
              </a:ext>
            </a:extLst>
          </p:cNvPr>
          <p:cNvSpPr>
            <a:spLocks noGrp="1"/>
          </p:cNvSpPr>
          <p:nvPr>
            <p:ph type="title"/>
          </p:nvPr>
        </p:nvSpPr>
        <p:spPr>
          <a:xfrm>
            <a:off x="1505778" y="319266"/>
            <a:ext cx="9954040" cy="803053"/>
          </a:xfrm>
          <a:prstGeom prst="rect">
            <a:avLst/>
          </a:prstGeom>
          <a:ln>
            <a:noFill/>
          </a:ln>
        </p:spPr>
        <p:txBody>
          <a:bodyPr vert="horz" lIns="91440" tIns="45720" rIns="91440" bIns="45720" rtlCol="0" anchor="ctr">
            <a:noAutofit/>
          </a:bodyPr>
          <a:lstStyle/>
          <a:p>
            <a:r>
              <a:rPr lang="en-GB"/>
              <a:t>Click to edit Master title style</a:t>
            </a:r>
          </a:p>
        </p:txBody>
      </p:sp>
      <p:sp>
        <p:nvSpPr>
          <p:cNvPr id="10" name="Text Placeholder 2">
            <a:extLst>
              <a:ext uri="{FF2B5EF4-FFF2-40B4-BE49-F238E27FC236}">
                <a16:creationId xmlns:a16="http://schemas.microsoft.com/office/drawing/2014/main" id="{98349C34-809C-882A-1E42-E2F7BD8C2646}"/>
              </a:ext>
            </a:extLst>
          </p:cNvPr>
          <p:cNvSpPr>
            <a:spLocks noGrp="1"/>
          </p:cNvSpPr>
          <p:nvPr>
            <p:ph type="body" idx="1"/>
          </p:nvPr>
        </p:nvSpPr>
        <p:spPr>
          <a:xfrm>
            <a:off x="397566" y="1679717"/>
            <a:ext cx="11062252" cy="4497246"/>
          </a:xfrm>
          <a:prstGeom prst="rect">
            <a:avLst/>
          </a:prstGeom>
          <a:ln>
            <a:noFill/>
          </a:ln>
        </p:spPr>
        <p:txBody>
          <a:bodyPr vert="horz" lIns="9144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TextBox 1">
            <a:extLst>
              <a:ext uri="{FF2B5EF4-FFF2-40B4-BE49-F238E27FC236}">
                <a16:creationId xmlns:a16="http://schemas.microsoft.com/office/drawing/2014/main" id="{945BD9D5-D6B6-8148-61AB-5429BA62D248}"/>
              </a:ext>
            </a:extLst>
          </p:cNvPr>
          <p:cNvSpPr txBox="1"/>
          <p:nvPr userDrawn="1"/>
        </p:nvSpPr>
        <p:spPr>
          <a:xfrm>
            <a:off x="2623437" y="6429966"/>
            <a:ext cx="2455460" cy="307777"/>
          </a:xfrm>
          <a:prstGeom prst="rect">
            <a:avLst/>
          </a:prstGeom>
          <a:noFill/>
          <a:ln>
            <a:noFill/>
          </a:ln>
        </p:spPr>
        <p:txBody>
          <a:bodyPr wrap="square">
            <a:spAutoFit/>
          </a:bodyPr>
          <a:lstStyle/>
          <a:p>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CRU. Independent </a:t>
            </a:r>
            <a:r>
              <a:rPr lang="en-GB" sz="1400" b="0" i="1">
                <a:solidFill>
                  <a:schemeClr val="bg1"/>
                </a:solidFill>
                <a:latin typeface="Garamond" panose="02020404030301010803" pitchFamily="18" charset="0"/>
                <a:ea typeface="Helvetica Neue UltraLight" panose="02000206000000020004" pitchFamily="2" charset="0"/>
              </a:rPr>
              <a:t>expert</a:t>
            </a:r>
            <a:r>
              <a:rPr lang="en-GB" sz="1000" b="0" i="0">
                <a:solidFill>
                  <a:schemeClr val="bg1"/>
                </a:solidFill>
                <a:latin typeface="Helvetica Neue UltraLight" panose="02000206000000020004" pitchFamily="2" charset="0"/>
                <a:ea typeface="Helvetica Neue UltraLight" panose="02000206000000020004" pitchFamily="2" charset="0"/>
              </a:rPr>
              <a:t> </a:t>
            </a:r>
            <a:r>
              <a:rPr lang="en-GB" sz="1000" b="0" i="0">
                <a:solidFill>
                  <a:schemeClr val="bg1"/>
                </a:solidFill>
                <a:latin typeface="Arial" panose="020B0604020202020204" pitchFamily="34" charset="0"/>
                <a:ea typeface="Helvetica Neue Thin" panose="020B0403020202020204" pitchFamily="34" charset="0"/>
                <a:cs typeface="Arial" panose="020B0604020202020204" pitchFamily="34" charset="0"/>
              </a:rPr>
              <a:t>intelligence</a:t>
            </a:r>
          </a:p>
        </p:txBody>
      </p:sp>
      <p:sp>
        <p:nvSpPr>
          <p:cNvPr id="11" name="Slide Number Placeholder 5">
            <a:extLst>
              <a:ext uri="{FF2B5EF4-FFF2-40B4-BE49-F238E27FC236}">
                <a16:creationId xmlns:a16="http://schemas.microsoft.com/office/drawing/2014/main" id="{0D6CB42F-2B14-99AF-5F25-98A502C71719}"/>
              </a:ext>
            </a:extLst>
          </p:cNvPr>
          <p:cNvSpPr>
            <a:spLocks noGrp="1"/>
          </p:cNvSpPr>
          <p:nvPr>
            <p:ph type="sldNum" sz="quarter" idx="4"/>
          </p:nvPr>
        </p:nvSpPr>
        <p:spPr>
          <a:xfrm>
            <a:off x="10913166" y="6193231"/>
            <a:ext cx="1133060" cy="544512"/>
          </a:xfrm>
          <a:prstGeom prst="rect">
            <a:avLst/>
          </a:prstGeom>
          <a:ln>
            <a:noFill/>
          </a:ln>
        </p:spPr>
        <p:txBody>
          <a:bodyPr vert="horz" lIns="91440" tIns="45720" rIns="91440" bIns="45720" rtlCol="0" anchor="ctr"/>
          <a:lstStyle>
            <a:lvl1pPr algn="r">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562BA7E0-5F5E-EE41-AE8D-BD30ED9E17AD}" type="slidenum">
              <a:rPr lang="en-GB" smtClean="0"/>
              <a:pPr/>
              <a:t>‹#›</a:t>
            </a:fld>
            <a:endParaRPr lang="en-GB"/>
          </a:p>
        </p:txBody>
      </p:sp>
    </p:spTree>
    <p:extLst>
      <p:ext uri="{BB962C8B-B14F-4D97-AF65-F5344CB8AC3E}">
        <p14:creationId xmlns:p14="http://schemas.microsoft.com/office/powerpoint/2010/main" val="2521369510"/>
      </p:ext>
    </p:extLst>
  </p:cSld>
  <p:clrMap bg1="lt1" tx1="dk1" bg2="lt2" tx2="dk2" accent1="accent1" accent2="accent2" accent3="accent3" accent4="accent4" accent5="accent5" accent6="accent6" hlink="hlink" folHlink="folHlink"/>
  <p:sldLayoutIdLst>
    <p:sldLayoutId id="2147484467" r:id="rId1"/>
    <p:sldLayoutId id="2147484468" r:id="rId2"/>
    <p:sldLayoutId id="2147484469" r:id="rId3"/>
    <p:sldLayoutId id="2147484470" r:id="rId4"/>
    <p:sldLayoutId id="2147484471" r:id="rId5"/>
    <p:sldLayoutId id="2147484472" r:id="rId6"/>
    <p:sldLayoutId id="2147484473" r:id="rId7"/>
    <p:sldLayoutId id="2147484474" r:id="rId8"/>
    <p:sldLayoutId id="2147484475" r:id="rId9"/>
    <p:sldLayoutId id="2147484476" r:id="rId10"/>
    <p:sldLayoutId id="2147484477" r:id="rId11"/>
    <p:sldLayoutId id="2147484478" r:id="rId12"/>
    <p:sldLayoutId id="2147484479" r:id="rId13"/>
    <p:sldLayoutId id="2147484480" r:id="rId14"/>
    <p:sldLayoutId id="2147484481" r:id="rId15"/>
    <p:sldLayoutId id="2147484482" r:id="rId16"/>
    <p:sldLayoutId id="2147484483" r:id="rId17"/>
    <p:sldLayoutId id="2147484484" r:id="rId18"/>
    <p:sldLayoutId id="2147484485" r:id="rId19"/>
    <p:sldLayoutId id="2147484486" r:id="rId20"/>
    <p:sldLayoutId id="2147484487" r:id="rId21"/>
    <p:sldLayoutId id="2147484488" r:id="rId22"/>
    <p:sldLayoutId id="2147484489" r:id="rId23"/>
    <p:sldLayoutId id="2147484490" r:id="rId24"/>
    <p:sldLayoutId id="2147484491" r:id="rId25"/>
    <p:sldLayoutId id="2147484492" r:id="rId26"/>
    <p:sldLayoutId id="2147484493" r:id="rId27"/>
    <p:sldLayoutId id="2147484494" r:id="rId28"/>
    <p:sldLayoutId id="2147484495" r:id="rId29"/>
    <p:sldLayoutId id="2147484496" r:id="rId30"/>
    <p:sldLayoutId id="2147484497" r:id="rId31"/>
    <p:sldLayoutId id="2147484498" r:id="rId32"/>
    <p:sldLayoutId id="2147484499" r:id="rId33"/>
    <p:sldLayoutId id="2147484500" r:id="rId34"/>
    <p:sldLayoutId id="2147484501" r:id="rId35"/>
    <p:sldLayoutId id="2147484502" r:id="rId36"/>
    <p:sldLayoutId id="2147484503" r:id="rId37"/>
    <p:sldLayoutId id="2147484504" r:id="rId38"/>
    <p:sldLayoutId id="2147484505" r:id="rId39"/>
    <p:sldLayoutId id="2147484506" r:id="rId40"/>
    <p:sldLayoutId id="2147484507" r:id="rId41"/>
    <p:sldLayoutId id="2147484508" r:id="rId42"/>
    <p:sldLayoutId id="2147484509" r:id="rId43"/>
    <p:sldLayoutId id="2147484511" r:id="rId44"/>
  </p:sldLayoutIdLst>
  <p:hf hdr="0"/>
  <p:txStyles>
    <p:titleStyle>
      <a:lvl1pPr algn="l" defTabSz="914400" rtl="0" eaLnBrk="1" latinLnBrk="0" hangingPunct="1">
        <a:lnSpc>
          <a:spcPct val="90000"/>
        </a:lnSpc>
        <a:spcBef>
          <a:spcPct val="0"/>
        </a:spcBef>
        <a:buNone/>
        <a:defRPr sz="4000" b="0" i="0" kern="1200">
          <a:solidFill>
            <a:schemeClr val="bg1"/>
          </a:solidFill>
          <a:latin typeface="Arial" panose="020B0604020202020204" pitchFamily="34" charset="0"/>
          <a:ea typeface="Helvetica Neue" panose="02000503000000020004" pitchFamily="2" charset="0"/>
          <a:cs typeface="Arial" panose="020B0604020202020204" pitchFamily="34" charset="0"/>
        </a:defRPr>
      </a:lvl1pPr>
    </p:titleStyle>
    <p:bodyStyle>
      <a:lvl1pPr marL="0" indent="0" algn="l" defTabSz="914400" rtl="0" eaLnBrk="1" latinLnBrk="0" hangingPunct="1">
        <a:lnSpc>
          <a:spcPct val="90000"/>
        </a:lnSpc>
        <a:spcBef>
          <a:spcPts val="1000"/>
        </a:spcBef>
        <a:buClr>
          <a:srgbClr val="4F9BD5"/>
        </a:buClr>
        <a:buFont typeface="Arial" panose="020B0604020202020204" pitchFamily="34" charset="0"/>
        <a:buNone/>
        <a:defRPr sz="2400" kern="1200">
          <a:solidFill>
            <a:schemeClr val="bg1"/>
          </a:solidFill>
          <a:latin typeface="Arial" panose="020B0604020202020204" pitchFamily="34" charset="0"/>
          <a:ea typeface="Helvetica Neue" panose="02000503000000020004" pitchFamily="2" charset="0"/>
          <a:cs typeface="Arial" panose="020B0604020202020204" pitchFamily="34" charset="0"/>
        </a:defRPr>
      </a:lvl1pPr>
      <a:lvl2pPr marL="685800" indent="-228600" algn="l" defTabSz="914400" rtl="0" eaLnBrk="1" latinLnBrk="0" hangingPunct="1">
        <a:lnSpc>
          <a:spcPct val="90000"/>
        </a:lnSpc>
        <a:spcBef>
          <a:spcPts val="500"/>
        </a:spcBef>
        <a:buClr>
          <a:srgbClr val="4F9BD5"/>
        </a:buClr>
        <a:buFont typeface="Arial" panose="020B0604020202020204" pitchFamily="34" charset="0"/>
        <a:buChar char="•"/>
        <a:defRPr sz="2000" kern="1200">
          <a:solidFill>
            <a:schemeClr val="bg1"/>
          </a:solidFill>
          <a:latin typeface="Arial" panose="020B0604020202020204" pitchFamily="34" charset="0"/>
          <a:ea typeface="Helvetica Neue" panose="02000503000000020004" pitchFamily="2" charset="0"/>
          <a:cs typeface="Arial" panose="020B0604020202020204" pitchFamily="34" charset="0"/>
        </a:defRPr>
      </a:lvl2pPr>
      <a:lvl3pPr marL="1143000" indent="-228600" algn="l" defTabSz="914400" rtl="0" eaLnBrk="1" latinLnBrk="0" hangingPunct="1">
        <a:lnSpc>
          <a:spcPct val="90000"/>
        </a:lnSpc>
        <a:spcBef>
          <a:spcPts val="500"/>
        </a:spcBef>
        <a:buClr>
          <a:srgbClr val="4F9BD5"/>
        </a:buClr>
        <a:buFont typeface="Arial" panose="020B0604020202020204" pitchFamily="34" charset="0"/>
        <a:buChar char="•"/>
        <a:defRPr sz="1800" kern="1200">
          <a:solidFill>
            <a:schemeClr val="bg1"/>
          </a:solidFill>
          <a:latin typeface="Arial" panose="020B0604020202020204" pitchFamily="34" charset="0"/>
          <a:ea typeface="Helvetica Neue" panose="02000503000000020004" pitchFamily="2" charset="0"/>
          <a:cs typeface="Arial" panose="020B0604020202020204" pitchFamily="34" charset="0"/>
        </a:defRPr>
      </a:lvl3pPr>
      <a:lvl4pPr marL="1600200" indent="-228600" algn="l" defTabSz="914400" rtl="0" eaLnBrk="1" latinLnBrk="0" hangingPunct="1">
        <a:lnSpc>
          <a:spcPct val="90000"/>
        </a:lnSpc>
        <a:spcBef>
          <a:spcPts val="500"/>
        </a:spcBef>
        <a:buClr>
          <a:srgbClr val="4F9BD5"/>
        </a:buClr>
        <a:buFont typeface="Arial" panose="020B0604020202020204" pitchFamily="34" charset="0"/>
        <a:buChar char="•"/>
        <a:defRPr sz="1600" kern="1200">
          <a:solidFill>
            <a:schemeClr val="bg1"/>
          </a:solidFill>
          <a:latin typeface="Arial" panose="020B0604020202020204" pitchFamily="34" charset="0"/>
          <a:ea typeface="Helvetica Neue" panose="02000503000000020004" pitchFamily="2" charset="0"/>
          <a:cs typeface="Arial" panose="020B0604020202020204" pitchFamily="34" charset="0"/>
        </a:defRPr>
      </a:lvl4pPr>
      <a:lvl5pPr marL="2057400" indent="-228600" algn="l" defTabSz="914400" rtl="0" eaLnBrk="1" latinLnBrk="0" hangingPunct="1">
        <a:lnSpc>
          <a:spcPct val="90000"/>
        </a:lnSpc>
        <a:spcBef>
          <a:spcPts val="500"/>
        </a:spcBef>
        <a:buClr>
          <a:srgbClr val="4F9BD5"/>
        </a:buClr>
        <a:buFont typeface="Arial" panose="020B0604020202020204" pitchFamily="34" charset="0"/>
        <a:buChar char="•"/>
        <a:defRPr sz="1600" kern="1200">
          <a:solidFill>
            <a:schemeClr val="bg1"/>
          </a:solidFill>
          <a:latin typeface="Arial" panose="020B0604020202020204" pitchFamily="34" charset="0"/>
          <a:ea typeface="Helvetica Neue" panose="02000503000000020004" pitchFamily="2"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8.xml"/><Relationship Id="rId1" Type="http://schemas.openxmlformats.org/officeDocument/2006/relationships/slideLayout" Target="../slideLayouts/slideLayout162.xml"/><Relationship Id="rId4" Type="http://schemas.openxmlformats.org/officeDocument/2006/relationships/chart" Target="../charts/chart12.xml"/></Relationships>
</file>

<file path=ppt/slides/_rels/slide11.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9.xml"/><Relationship Id="rId1" Type="http://schemas.openxmlformats.org/officeDocument/2006/relationships/slideLayout" Target="../slideLayouts/slideLayout163.xml"/><Relationship Id="rId4" Type="http://schemas.microsoft.com/office/2018/10/relationships/comments" Target="../comments/modernComment_7FFFEE33_90621E3.xml"/></Relationships>
</file>

<file path=ppt/slides/_rels/slide2.xml.rels><?xml version="1.0" encoding="UTF-8" standalone="yes"?>
<Relationships xmlns="http://schemas.openxmlformats.org/package/2006/relationships"><Relationship Id="rId3" Type="http://schemas.openxmlformats.org/officeDocument/2006/relationships/hyperlink" Target="http://www.crugroup.com/" TargetMode="External"/><Relationship Id="rId2" Type="http://schemas.openxmlformats.org/officeDocument/2006/relationships/notesSlide" Target="../notesSlides/notesSlide2.xml"/><Relationship Id="rId1" Type="http://schemas.openxmlformats.org/officeDocument/2006/relationships/slideLayout" Target="../slideLayouts/slideLayout161.xml"/><Relationship Id="rId4" Type="http://schemas.openxmlformats.org/officeDocument/2006/relationships/hyperlink" Target="https://www.crugroup.com/privacy-policy/"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59.jpeg"/><Relationship Id="rId7" Type="http://schemas.openxmlformats.org/officeDocument/2006/relationships/image" Target="../media/image68.svg"/><Relationship Id="rId2" Type="http://schemas.openxmlformats.org/officeDocument/2006/relationships/image" Target="../media/image58.jpeg"/><Relationship Id="rId1" Type="http://schemas.openxmlformats.org/officeDocument/2006/relationships/slideLayout" Target="../slideLayouts/slideLayout146.xml"/><Relationship Id="rId6" Type="http://schemas.openxmlformats.org/officeDocument/2006/relationships/image" Target="../media/image62.png"/><Relationship Id="rId5" Type="http://schemas.openxmlformats.org/officeDocument/2006/relationships/image" Target="../media/image61.jpeg"/><Relationship Id="rId4" Type="http://schemas.openxmlformats.org/officeDocument/2006/relationships/image" Target="../media/image60.jpeg"/></Relationships>
</file>

<file path=ppt/slides/_rels/slide4.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70.svg"/><Relationship Id="rId7" Type="http://schemas.openxmlformats.org/officeDocument/2006/relationships/image" Target="../media/image74.svg"/><Relationship Id="rId2" Type="http://schemas.openxmlformats.org/officeDocument/2006/relationships/image" Target="../media/image63.png"/><Relationship Id="rId1" Type="http://schemas.openxmlformats.org/officeDocument/2006/relationships/slideLayout" Target="../slideLayouts/slideLayout163.xml"/><Relationship Id="rId6" Type="http://schemas.openxmlformats.org/officeDocument/2006/relationships/image" Target="../media/image65.png"/><Relationship Id="rId5" Type="http://schemas.openxmlformats.org/officeDocument/2006/relationships/image" Target="../media/image72.svg"/><Relationship Id="rId4" Type="http://schemas.openxmlformats.org/officeDocument/2006/relationships/image" Target="../media/image64.png"/><Relationship Id="rId9" Type="http://schemas.openxmlformats.org/officeDocument/2006/relationships/image" Target="../media/image76.svg"/></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162.xml"/><Relationship Id="rId4" Type="http://schemas.openxmlformats.org/officeDocument/2006/relationships/chart" Target="../charts/chart2.xml"/></Relationships>
</file>

<file path=ppt/slides/_rels/slide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xml"/><Relationship Id="rId1" Type="http://schemas.openxmlformats.org/officeDocument/2006/relationships/slideLayout" Target="../slideLayouts/slideLayout162.xml"/><Relationship Id="rId4" Type="http://schemas.openxmlformats.org/officeDocument/2006/relationships/chart" Target="../charts/chart4.xml"/></Relationships>
</file>

<file path=ppt/slides/_rels/slide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5.xml"/><Relationship Id="rId1" Type="http://schemas.openxmlformats.org/officeDocument/2006/relationships/slideLayout" Target="../slideLayouts/slideLayout162.xml"/><Relationship Id="rId4" Type="http://schemas.openxmlformats.org/officeDocument/2006/relationships/chart" Target="../charts/chart6.xml"/></Relationships>
</file>

<file path=ppt/slides/_rels/slide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6.xml"/><Relationship Id="rId1" Type="http://schemas.openxmlformats.org/officeDocument/2006/relationships/slideLayout" Target="../slideLayouts/slideLayout162.xml"/><Relationship Id="rId4" Type="http://schemas.openxmlformats.org/officeDocument/2006/relationships/chart" Target="../charts/chart8.xml"/></Relationships>
</file>

<file path=ppt/slides/_rels/slide9.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7.xml"/><Relationship Id="rId1" Type="http://schemas.openxmlformats.org/officeDocument/2006/relationships/slideLayout" Target="../slideLayouts/slideLayout162.xml"/><Relationship Id="rId4" Type="http://schemas.openxmlformats.org/officeDocument/2006/relationships/chart" Target="../charts/char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7F49B32-FCAC-B1F6-5D61-DEBE37EE1EF1}"/>
              </a:ext>
            </a:extLst>
          </p:cNvPr>
          <p:cNvSpPr>
            <a:spLocks noGrp="1"/>
          </p:cNvSpPr>
          <p:nvPr>
            <p:ph type="body" sz="quarter" idx="13"/>
          </p:nvPr>
        </p:nvSpPr>
        <p:spPr>
          <a:xfrm>
            <a:off x="867355" y="1974232"/>
            <a:ext cx="9004232" cy="4353415"/>
          </a:xfrm>
        </p:spPr>
        <p:txBody>
          <a:bodyPr>
            <a:normAutofit/>
          </a:bodyPr>
          <a:lstStyle/>
          <a:p>
            <a:pPr>
              <a:spcBef>
                <a:spcPts val="300"/>
              </a:spcBef>
              <a:spcAft>
                <a:spcPts val="300"/>
              </a:spcAft>
            </a:pPr>
            <a:r>
              <a:rPr lang="en-US" sz="4800"/>
              <a:t>DRC cobalt controls and Chinese lithium supply reform: stopgap or structural shift?</a:t>
            </a:r>
          </a:p>
          <a:p>
            <a:pPr>
              <a:spcBef>
                <a:spcPts val="300"/>
              </a:spcBef>
              <a:spcAft>
                <a:spcPts val="300"/>
              </a:spcAft>
            </a:pPr>
            <a:endParaRPr lang="en-US" sz="4800">
              <a:latin typeface="Arial"/>
              <a:cs typeface="Arial"/>
            </a:endParaRPr>
          </a:p>
          <a:p>
            <a:pPr>
              <a:spcBef>
                <a:spcPts val="300"/>
              </a:spcBef>
              <a:spcAft>
                <a:spcPts val="300"/>
              </a:spcAft>
            </a:pPr>
            <a:r>
              <a:rPr lang="en-GB" sz="3200" b="1" i="1"/>
              <a:t>October 2025</a:t>
            </a:r>
            <a:endParaRPr lang="en-GB" sz="1800">
              <a:latin typeface="Arial"/>
              <a:cs typeface="Arial"/>
            </a:endParaRPr>
          </a:p>
        </p:txBody>
      </p:sp>
      <p:sp>
        <p:nvSpPr>
          <p:cNvPr id="7" name="Footer Placeholder 4">
            <a:extLst>
              <a:ext uri="{FF2B5EF4-FFF2-40B4-BE49-F238E27FC236}">
                <a16:creationId xmlns:a16="http://schemas.microsoft.com/office/drawing/2014/main" id="{EFC21B84-E2DC-6561-C206-6F675969C885}"/>
              </a:ext>
            </a:extLst>
          </p:cNvPr>
          <p:cNvSpPr txBox="1">
            <a:spLocks/>
          </p:cNvSpPr>
          <p:nvPr/>
        </p:nvSpPr>
        <p:spPr>
          <a:xfrm>
            <a:off x="7350368" y="6429965"/>
            <a:ext cx="3565281" cy="30777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50" b="1">
                <a:solidFill>
                  <a:schemeClr val="bg1"/>
                </a:solidFill>
                <a:latin typeface="Arial" panose="020B0604020202020204" pitchFamily="34" charset="0"/>
                <a:cs typeface="Arial" panose="020B0604020202020204" pitchFamily="34" charset="0"/>
              </a:rPr>
              <a:t>Co &amp; Li supply: </a:t>
            </a:r>
            <a:r>
              <a:rPr lang="en-US" sz="1050">
                <a:solidFill>
                  <a:schemeClr val="bg1"/>
                </a:solidFill>
                <a:latin typeface="Arial" panose="020B0604020202020204" pitchFamily="34" charset="0"/>
                <a:cs typeface="Arial" panose="020B0604020202020204" pitchFamily="34" charset="0"/>
              </a:rPr>
              <a:t>stopgap or structural shift?</a:t>
            </a:r>
            <a:endParaRPr lang="en-GB" sz="1050">
              <a:solidFill>
                <a:schemeClr val="bg1"/>
              </a:solidFill>
              <a:latin typeface="Arial" panose="020B0604020202020204" pitchFamily="34" charset="0"/>
              <a:cs typeface="Arial" panose="020B0604020202020204" pitchFamily="34" charset="0"/>
            </a:endParaRPr>
          </a:p>
        </p:txBody>
      </p:sp>
      <p:sp>
        <p:nvSpPr>
          <p:cNvPr id="4" name="Date Placeholder 3">
            <a:extLst>
              <a:ext uri="{FF2B5EF4-FFF2-40B4-BE49-F238E27FC236}">
                <a16:creationId xmlns:a16="http://schemas.microsoft.com/office/drawing/2014/main" id="{623A3D44-2685-069F-C456-97D9A7F42FC0}"/>
              </a:ext>
            </a:extLst>
          </p:cNvPr>
          <p:cNvSpPr txBox="1">
            <a:spLocks/>
          </p:cNvSpPr>
          <p:nvPr/>
        </p:nvSpPr>
        <p:spPr>
          <a:xfrm>
            <a:off x="5406888" y="6429965"/>
            <a:ext cx="1759021" cy="30777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i="1">
                <a:solidFill>
                  <a:schemeClr val="bg1"/>
                </a:solidFill>
                <a:latin typeface="Garamond" panose="02020404030301010803" pitchFamily="18" charset="0"/>
              </a:rPr>
              <a:t>October 2025</a:t>
            </a:r>
            <a:endParaRPr lang="en-GB" sz="1200" i="1">
              <a:solidFill>
                <a:schemeClr val="bg1"/>
              </a:solidFill>
              <a:latin typeface="Garamond" panose="02020404030301010803" pitchFamily="18" charset="0"/>
            </a:endParaRPr>
          </a:p>
        </p:txBody>
      </p:sp>
    </p:spTree>
    <p:extLst>
      <p:ext uri="{BB962C8B-B14F-4D97-AF65-F5344CB8AC3E}">
        <p14:creationId xmlns:p14="http://schemas.microsoft.com/office/powerpoint/2010/main" val="33796557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614BDA-3A58-0656-7ED0-B54609209E9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803F54D-D39E-048A-EA0E-74007BFC7B80}"/>
              </a:ext>
            </a:extLst>
          </p:cNvPr>
          <p:cNvSpPr>
            <a:spLocks noGrp="1"/>
          </p:cNvSpPr>
          <p:nvPr>
            <p:ph type="title"/>
          </p:nvPr>
        </p:nvSpPr>
        <p:spPr/>
        <p:txBody>
          <a:bodyPr/>
          <a:lstStyle/>
          <a:p>
            <a:r>
              <a:rPr lang="en-US" b="1"/>
              <a:t>Li:</a:t>
            </a:r>
            <a:r>
              <a:rPr lang="en-US"/>
              <a:t> Stopgap or structural shift?</a:t>
            </a:r>
          </a:p>
        </p:txBody>
      </p:sp>
      <p:sp>
        <p:nvSpPr>
          <p:cNvPr id="3" name="Date Placeholder 2">
            <a:extLst>
              <a:ext uri="{FF2B5EF4-FFF2-40B4-BE49-F238E27FC236}">
                <a16:creationId xmlns:a16="http://schemas.microsoft.com/office/drawing/2014/main" id="{2DF3DF24-B931-F88E-3E75-F2A9744D523E}"/>
              </a:ext>
            </a:extLst>
          </p:cNvPr>
          <p:cNvSpPr>
            <a:spLocks noGrp="1"/>
          </p:cNvSpPr>
          <p:nvPr>
            <p:ph type="dt" sz="half" idx="10"/>
          </p:nvPr>
        </p:nvSpPr>
        <p:spPr/>
        <p:txBody>
          <a:bodyPr/>
          <a:lstStyle/>
          <a:p>
            <a:r>
              <a:rPr lang="en-US"/>
              <a:t>October 2025</a:t>
            </a:r>
            <a:endParaRPr lang="en-GB"/>
          </a:p>
        </p:txBody>
      </p:sp>
      <p:sp>
        <p:nvSpPr>
          <p:cNvPr id="4" name="Footer Placeholder 3">
            <a:extLst>
              <a:ext uri="{FF2B5EF4-FFF2-40B4-BE49-F238E27FC236}">
                <a16:creationId xmlns:a16="http://schemas.microsoft.com/office/drawing/2014/main" id="{113C04F0-7942-FFC9-9953-A64FDA87BDB0}"/>
              </a:ext>
            </a:extLst>
          </p:cNvPr>
          <p:cNvSpPr>
            <a:spLocks noGrp="1"/>
          </p:cNvSpPr>
          <p:nvPr>
            <p:ph type="ftr" sz="quarter" idx="11"/>
          </p:nvPr>
        </p:nvSpPr>
        <p:spPr/>
        <p:txBody>
          <a:bodyPr/>
          <a:lstStyle/>
          <a:p>
            <a:r>
              <a:rPr lang="en-US" sz="1050" b="1">
                <a:solidFill>
                  <a:schemeClr val="bg1"/>
                </a:solidFill>
                <a:latin typeface="Arial" panose="020B0604020202020204" pitchFamily="34" charset="0"/>
                <a:cs typeface="Arial" panose="020B0604020202020204" pitchFamily="34" charset="0"/>
              </a:rPr>
              <a:t>Co &amp; Li supply: </a:t>
            </a:r>
            <a:r>
              <a:rPr lang="en-US" sz="1050">
                <a:solidFill>
                  <a:schemeClr val="bg1"/>
                </a:solidFill>
                <a:latin typeface="Arial" panose="020B0604020202020204" pitchFamily="34" charset="0"/>
                <a:cs typeface="Arial" panose="020B0604020202020204" pitchFamily="34" charset="0"/>
              </a:rPr>
              <a:t>stopgap or structural shift?</a:t>
            </a:r>
            <a:endParaRPr lang="en-GB" sz="1050">
              <a:solidFill>
                <a:schemeClr val="bg1"/>
              </a:solidFill>
              <a:latin typeface="Arial" panose="020B0604020202020204" pitchFamily="34" charset="0"/>
              <a:cs typeface="Arial" panose="020B0604020202020204" pitchFamily="34" charset="0"/>
            </a:endParaRPr>
          </a:p>
        </p:txBody>
      </p:sp>
      <p:sp>
        <p:nvSpPr>
          <p:cNvPr id="5" name="Slide Number Placeholder 4">
            <a:extLst>
              <a:ext uri="{FF2B5EF4-FFF2-40B4-BE49-F238E27FC236}">
                <a16:creationId xmlns:a16="http://schemas.microsoft.com/office/drawing/2014/main" id="{23D0E751-37A7-169F-0231-DC0AC271E33A}"/>
              </a:ext>
            </a:extLst>
          </p:cNvPr>
          <p:cNvSpPr>
            <a:spLocks noGrp="1"/>
          </p:cNvSpPr>
          <p:nvPr>
            <p:ph type="sldNum" sz="quarter" idx="12"/>
          </p:nvPr>
        </p:nvSpPr>
        <p:spPr/>
        <p:txBody>
          <a:bodyPr/>
          <a:lstStyle/>
          <a:p>
            <a:fld id="{562BA7E0-5F5E-EE41-AE8D-BD30ED9E17AD}" type="slidenum">
              <a:rPr lang="en-GB" smtClean="0"/>
              <a:pPr/>
              <a:t>10</a:t>
            </a:fld>
            <a:endParaRPr lang="en-GB"/>
          </a:p>
        </p:txBody>
      </p:sp>
      <p:graphicFrame>
        <p:nvGraphicFramePr>
          <p:cNvPr id="8" name="Content Placeholder 1">
            <a:extLst>
              <a:ext uri="{FF2B5EF4-FFF2-40B4-BE49-F238E27FC236}">
                <a16:creationId xmlns:a16="http://schemas.microsoft.com/office/drawing/2014/main" id="{08C331BE-90A6-9090-AED1-BA2A41D64937}"/>
              </a:ext>
            </a:extLst>
          </p:cNvPr>
          <p:cNvGraphicFramePr>
            <a:graphicFrameLocks noGrp="1"/>
          </p:cNvGraphicFramePr>
          <p:nvPr>
            <p:ph sz="quarter" idx="13"/>
            <p:extLst>
              <p:ext uri="{D42A27DB-BD31-4B8C-83A1-F6EECF244321}">
                <p14:modId xmlns:p14="http://schemas.microsoft.com/office/powerpoint/2010/main" val="1200197551"/>
              </p:ext>
            </p:extLst>
          </p:nvPr>
        </p:nvGraphicFramePr>
        <p:xfrm>
          <a:off x="366713" y="1481138"/>
          <a:ext cx="5219700" cy="461803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7" name="Content Placeholder 16">
            <a:extLst>
              <a:ext uri="{FF2B5EF4-FFF2-40B4-BE49-F238E27FC236}">
                <a16:creationId xmlns:a16="http://schemas.microsoft.com/office/drawing/2014/main" id="{36B5D3E7-20D8-4245-B95A-183FC827D0A5}"/>
              </a:ext>
            </a:extLst>
          </p:cNvPr>
          <p:cNvGraphicFramePr>
            <a:graphicFrameLocks noGrp="1"/>
          </p:cNvGraphicFramePr>
          <p:nvPr>
            <p:ph sz="quarter" idx="14"/>
            <p:extLst>
              <p:ext uri="{D42A27DB-BD31-4B8C-83A1-F6EECF244321}">
                <p14:modId xmlns:p14="http://schemas.microsoft.com/office/powerpoint/2010/main" val="4189891053"/>
              </p:ext>
            </p:extLst>
          </p:nvPr>
        </p:nvGraphicFramePr>
        <p:xfrm>
          <a:off x="6240463" y="1481138"/>
          <a:ext cx="5219700" cy="461803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6410831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A77695-FFA5-6962-2ADD-6E38CE62DC4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A59F079-63A3-8F22-49EA-8C44E78DA7DC}"/>
              </a:ext>
            </a:extLst>
          </p:cNvPr>
          <p:cNvSpPr>
            <a:spLocks noGrp="1"/>
          </p:cNvSpPr>
          <p:nvPr>
            <p:ph type="title"/>
          </p:nvPr>
        </p:nvSpPr>
        <p:spPr/>
        <p:txBody>
          <a:bodyPr/>
          <a:lstStyle/>
          <a:p>
            <a:r>
              <a:rPr lang="en-US" b="1" dirty="0"/>
              <a:t>LFP webinar</a:t>
            </a:r>
            <a:endParaRPr lang="en-US" dirty="0"/>
          </a:p>
        </p:txBody>
      </p:sp>
      <p:sp>
        <p:nvSpPr>
          <p:cNvPr id="3" name="Date Placeholder 2">
            <a:extLst>
              <a:ext uri="{FF2B5EF4-FFF2-40B4-BE49-F238E27FC236}">
                <a16:creationId xmlns:a16="http://schemas.microsoft.com/office/drawing/2014/main" id="{82F77CF3-9452-3CC7-731E-FD4C4504E69D}"/>
              </a:ext>
            </a:extLst>
          </p:cNvPr>
          <p:cNvSpPr>
            <a:spLocks noGrp="1"/>
          </p:cNvSpPr>
          <p:nvPr>
            <p:ph type="dt" sz="half" idx="10"/>
          </p:nvPr>
        </p:nvSpPr>
        <p:spPr/>
        <p:txBody>
          <a:bodyPr/>
          <a:lstStyle/>
          <a:p>
            <a:r>
              <a:rPr lang="en-US"/>
              <a:t>October 2025</a:t>
            </a:r>
            <a:endParaRPr lang="en-GB"/>
          </a:p>
        </p:txBody>
      </p:sp>
      <p:sp>
        <p:nvSpPr>
          <p:cNvPr id="4" name="Footer Placeholder 3">
            <a:extLst>
              <a:ext uri="{FF2B5EF4-FFF2-40B4-BE49-F238E27FC236}">
                <a16:creationId xmlns:a16="http://schemas.microsoft.com/office/drawing/2014/main" id="{09FB0B5E-9850-A42A-5433-484DD778CD63}"/>
              </a:ext>
            </a:extLst>
          </p:cNvPr>
          <p:cNvSpPr>
            <a:spLocks noGrp="1"/>
          </p:cNvSpPr>
          <p:nvPr>
            <p:ph type="ftr" sz="quarter" idx="11"/>
          </p:nvPr>
        </p:nvSpPr>
        <p:spPr/>
        <p:txBody>
          <a:bodyPr/>
          <a:lstStyle/>
          <a:p>
            <a:r>
              <a:rPr lang="en-US" sz="1050" b="1">
                <a:solidFill>
                  <a:schemeClr val="bg1"/>
                </a:solidFill>
                <a:latin typeface="Arial" panose="020B0604020202020204" pitchFamily="34" charset="0"/>
                <a:cs typeface="Arial" panose="020B0604020202020204" pitchFamily="34" charset="0"/>
              </a:rPr>
              <a:t>Co &amp; Li supply: </a:t>
            </a:r>
            <a:r>
              <a:rPr lang="en-US" sz="1050">
                <a:solidFill>
                  <a:schemeClr val="bg1"/>
                </a:solidFill>
                <a:latin typeface="Arial" panose="020B0604020202020204" pitchFamily="34" charset="0"/>
                <a:cs typeface="Arial" panose="020B0604020202020204" pitchFamily="34" charset="0"/>
              </a:rPr>
              <a:t>stopgap or structural shift?</a:t>
            </a:r>
            <a:endParaRPr lang="en-GB" sz="1050">
              <a:solidFill>
                <a:schemeClr val="bg1"/>
              </a:solidFill>
              <a:latin typeface="Arial" panose="020B0604020202020204" pitchFamily="34" charset="0"/>
              <a:cs typeface="Arial" panose="020B0604020202020204" pitchFamily="34" charset="0"/>
            </a:endParaRPr>
          </a:p>
        </p:txBody>
      </p:sp>
      <p:sp>
        <p:nvSpPr>
          <p:cNvPr id="5" name="Slide Number Placeholder 4">
            <a:extLst>
              <a:ext uri="{FF2B5EF4-FFF2-40B4-BE49-F238E27FC236}">
                <a16:creationId xmlns:a16="http://schemas.microsoft.com/office/drawing/2014/main" id="{B70E1E4C-5C12-7763-993A-F96CF7A5AF02}"/>
              </a:ext>
            </a:extLst>
          </p:cNvPr>
          <p:cNvSpPr>
            <a:spLocks noGrp="1"/>
          </p:cNvSpPr>
          <p:nvPr>
            <p:ph type="sldNum" sz="quarter" idx="12"/>
          </p:nvPr>
        </p:nvSpPr>
        <p:spPr/>
        <p:txBody>
          <a:bodyPr/>
          <a:lstStyle/>
          <a:p>
            <a:fld id="{562BA7E0-5F5E-EE41-AE8D-BD30ED9E17AD}" type="slidenum">
              <a:rPr lang="en-GB" smtClean="0"/>
              <a:pPr/>
              <a:t>11</a:t>
            </a:fld>
            <a:endParaRPr lang="en-GB"/>
          </a:p>
        </p:txBody>
      </p:sp>
      <p:sp>
        <p:nvSpPr>
          <p:cNvPr id="11" name="Content Placeholder 10">
            <a:extLst>
              <a:ext uri="{FF2B5EF4-FFF2-40B4-BE49-F238E27FC236}">
                <a16:creationId xmlns:a16="http://schemas.microsoft.com/office/drawing/2014/main" id="{F656DC09-253E-8C65-4830-5DA4350A723B}"/>
              </a:ext>
            </a:extLst>
          </p:cNvPr>
          <p:cNvSpPr>
            <a:spLocks noGrp="1"/>
          </p:cNvSpPr>
          <p:nvPr>
            <p:ph sz="quarter" idx="13"/>
          </p:nvPr>
        </p:nvSpPr>
        <p:spPr/>
        <p:txBody>
          <a:bodyPr/>
          <a:lstStyle/>
          <a:p>
            <a:endParaRPr lang="en-GB"/>
          </a:p>
        </p:txBody>
      </p:sp>
      <p:pic>
        <p:nvPicPr>
          <p:cNvPr id="1026" name="Picture 2">
            <a:extLst>
              <a:ext uri="{FF2B5EF4-FFF2-40B4-BE49-F238E27FC236}">
                <a16:creationId xmlns:a16="http://schemas.microsoft.com/office/drawing/2014/main" id="{6A9B6069-CBEF-EFF3-26DB-DD5C3D809A1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9291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396835"/>
      </p:ext>
    </p:extLst>
  </p:cSld>
  <p:clrMapOvr>
    <a:masterClrMapping/>
  </p:clrMapOvr>
  <p:extLst>
    <p:ext uri="{6950BFC3-D8DA-4A85-94F7-54DA5524770B}">
      <p188:commentRel xmlns:p188="http://schemas.microsoft.com/office/powerpoint/2018/8/main" xmlns="" r:id="rId4"/>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F216138-2372-C8BE-1589-4F3BA28E8680}"/>
              </a:ext>
            </a:extLst>
          </p:cNvPr>
          <p:cNvSpPr>
            <a:spLocks noGrp="1"/>
          </p:cNvSpPr>
          <p:nvPr>
            <p:ph type="title"/>
          </p:nvPr>
        </p:nvSpPr>
        <p:spPr/>
        <p:txBody>
          <a:bodyPr>
            <a:noAutofit/>
          </a:bodyPr>
          <a:lstStyle/>
          <a:p>
            <a:r>
              <a:rPr lang="en-GB" i="1">
                <a:latin typeface="Garamond" panose="02020404030301010803" pitchFamily="18" charset="0"/>
              </a:rPr>
              <a:t> </a:t>
            </a:r>
            <a:r>
              <a:rPr lang="en-GB"/>
              <a:t>CRU </a:t>
            </a:r>
            <a:r>
              <a:rPr lang="en-GB" sz="4600" i="1">
                <a:latin typeface="Garamond" panose="02020404030301010803" pitchFamily="18" charset="0"/>
              </a:rPr>
              <a:t>Legal Notice</a:t>
            </a:r>
            <a:endParaRPr lang="en-GB" sz="4600">
              <a:latin typeface="Garamond" panose="02020404030301010803" pitchFamily="18" charset="0"/>
            </a:endParaRPr>
          </a:p>
        </p:txBody>
      </p:sp>
      <p:sp>
        <p:nvSpPr>
          <p:cNvPr id="6" name="Footer Placeholder 3">
            <a:extLst>
              <a:ext uri="{FF2B5EF4-FFF2-40B4-BE49-F238E27FC236}">
                <a16:creationId xmlns:a16="http://schemas.microsoft.com/office/drawing/2014/main" id="{B46A2EB4-4CC1-70D4-BF5D-B7B1CAABF221}"/>
              </a:ext>
            </a:extLst>
          </p:cNvPr>
          <p:cNvSpPr>
            <a:spLocks noGrp="1"/>
          </p:cNvSpPr>
          <p:nvPr>
            <p:ph type="ftr" sz="quarter" idx="11"/>
          </p:nvPr>
        </p:nvSpPr>
        <p:spPr>
          <a:xfrm>
            <a:off x="7350368" y="6429965"/>
            <a:ext cx="3571981" cy="307777"/>
          </a:xfrm>
        </p:spPr>
        <p:txBody>
          <a:bodyPr/>
          <a:lstStyle/>
          <a:p>
            <a:r>
              <a:rPr lang="en-US" sz="1050" b="1">
                <a:solidFill>
                  <a:schemeClr val="bg1"/>
                </a:solidFill>
                <a:latin typeface="Arial" panose="020B0604020202020204" pitchFamily="34" charset="0"/>
                <a:cs typeface="Arial" panose="020B0604020202020204" pitchFamily="34" charset="0"/>
              </a:rPr>
              <a:t>Co &amp; Li supply: </a:t>
            </a:r>
            <a:r>
              <a:rPr lang="en-US" sz="1050">
                <a:solidFill>
                  <a:schemeClr val="bg1"/>
                </a:solidFill>
                <a:latin typeface="Arial" panose="020B0604020202020204" pitchFamily="34" charset="0"/>
                <a:cs typeface="Arial" panose="020B0604020202020204" pitchFamily="34" charset="0"/>
              </a:rPr>
              <a:t>stopgap or structural shift?</a:t>
            </a:r>
            <a:endParaRPr lang="en-GB" sz="1050">
              <a:solidFill>
                <a:schemeClr val="bg1"/>
              </a:solidFill>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28F57654-B3F9-F3BA-7F16-DD0B1321CBA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2BA7E0-5F5E-EE41-AE8D-BD30ED9E17AD}" type="slidenum">
              <a:rPr kumimoji="0" lang="en-GB" sz="2000" b="1" i="0" u="none" strike="noStrike" kern="1200" cap="none" spc="0" normalizeH="0" baseline="0" noProof="0" smtClean="0">
                <a:ln>
                  <a:noFill/>
                </a:ln>
                <a:solidFill>
                  <a:srgbClr val="FFFFFF"/>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20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8" name="Content Placeholder 7">
            <a:extLst>
              <a:ext uri="{FF2B5EF4-FFF2-40B4-BE49-F238E27FC236}">
                <a16:creationId xmlns:a16="http://schemas.microsoft.com/office/drawing/2014/main" id="{7FC38ECE-54E7-1DD2-40CB-34DCBB6E06AF}"/>
              </a:ext>
            </a:extLst>
          </p:cNvPr>
          <p:cNvSpPr>
            <a:spLocks noGrp="1"/>
          </p:cNvSpPr>
          <p:nvPr>
            <p:ph sz="quarter" idx="13"/>
          </p:nvPr>
        </p:nvSpPr>
        <p:spPr/>
        <p:txBody>
          <a:bodyPr>
            <a:noAutofit/>
          </a:bodyPr>
          <a:lstStyle/>
          <a:p>
            <a:pPr marL="0" indent="0">
              <a:lnSpc>
                <a:spcPct val="120000"/>
              </a:lnSpc>
              <a:buFont typeface="Arial" panose="020B0604020202020204" pitchFamily="34" charset="0"/>
              <a:buNone/>
            </a:pPr>
            <a:r>
              <a:rPr lang="en-GB" sz="1600"/>
              <a:t>This presentation is private and confidential. It must not be disclosed in whole or in part, directly or indirectly or in any other format without the prior written permission of CRU International Limited.</a:t>
            </a:r>
          </a:p>
          <a:p>
            <a:pPr marL="0" indent="0">
              <a:lnSpc>
                <a:spcPct val="120000"/>
              </a:lnSpc>
              <a:buFont typeface="Arial" panose="020B0604020202020204" pitchFamily="34" charset="0"/>
              <a:buNone/>
            </a:pPr>
            <a:r>
              <a:rPr lang="en-GB" sz="1600"/>
              <a:t>CRU International Limited’s responsibility is solely to its clients and its liability is limited to the amount of the fees actually paid for professional services.</a:t>
            </a:r>
          </a:p>
          <a:p>
            <a:pPr marL="0" indent="0">
              <a:lnSpc>
                <a:spcPct val="120000"/>
              </a:lnSpc>
              <a:buFont typeface="Arial" panose="020B0604020202020204" pitchFamily="34" charset="0"/>
              <a:buNone/>
            </a:pPr>
            <a:r>
              <a:rPr lang="en-GB" sz="1600"/>
              <a:t>Although reasonable care and diligence has been used in the preparation of this presentation, we do not guarantee the accuracy of any data, assumptions, forecasts or other forward-looking statements. CRU cannot be held responsible for the views of third parties or any associated data and charts provided. Where references are made to CRU Prices, our methodologies are available on </a:t>
            </a:r>
            <a:r>
              <a:rPr lang="en-GB" sz="1600">
                <a:hlinkClick r:id="rId3">
                  <a:extLst>
                    <a:ext uri="{A12FA001-AC4F-418D-AE19-62706E023703}">
                      <ahyp:hlinkClr xmlns:ahyp="http://schemas.microsoft.com/office/drawing/2018/hyperlinkcolor" xmlns="" val="tx"/>
                    </a:ext>
                  </a:extLst>
                </a:hlinkClick>
              </a:rPr>
              <a:t>www.crugroup.com</a:t>
            </a:r>
            <a:r>
              <a:rPr lang="en-GB" sz="1600"/>
              <a:t> We accept no liability to third parties, howsoever arising.</a:t>
            </a:r>
          </a:p>
          <a:p>
            <a:pPr marL="0" indent="0">
              <a:lnSpc>
                <a:spcPct val="120000"/>
              </a:lnSpc>
              <a:buFont typeface="Arial" panose="020B0604020202020204" pitchFamily="34" charset="0"/>
              <a:buNone/>
            </a:pPr>
            <a:r>
              <a:rPr lang="en-GB" sz="1600"/>
              <a:t>CRU follows all applicable information security compliance and the relevant laws and regulations on personal information protection. Our privacy policy can be viewed at </a:t>
            </a:r>
            <a:r>
              <a:rPr lang="en-GB" sz="1600">
                <a:hlinkClick r:id="rId4">
                  <a:extLst>
                    <a:ext uri="{A12FA001-AC4F-418D-AE19-62706E023703}">
                      <ahyp:hlinkClr xmlns:ahyp="http://schemas.microsoft.com/office/drawing/2018/hyperlinkcolor" xmlns="" val="tx"/>
                    </a:ext>
                  </a:extLst>
                </a:hlinkClick>
              </a:rPr>
              <a:t>https://www.crugroup.com/privacy-policy/</a:t>
            </a:r>
            <a:r>
              <a:rPr lang="en-GB" sz="1600"/>
              <a:t>  </a:t>
            </a:r>
          </a:p>
          <a:p>
            <a:pPr marL="0" indent="0">
              <a:lnSpc>
                <a:spcPct val="120000"/>
              </a:lnSpc>
              <a:buNone/>
            </a:pPr>
            <a:endParaRPr lang="en-GB" sz="1200" b="1" i="1">
              <a:effectLst/>
              <a:latin typeface="Adobe Garamond Pro Bold" panose="02020502060506020403" pitchFamily="18" charset="77"/>
            </a:endParaRPr>
          </a:p>
          <a:p>
            <a:pPr marL="0" indent="0">
              <a:lnSpc>
                <a:spcPct val="120000"/>
              </a:lnSpc>
              <a:buNone/>
            </a:pPr>
            <a:r>
              <a:rPr lang="en-GB" sz="1800" b="1" i="1">
                <a:effectLst/>
                <a:latin typeface="Garamond" panose="02020404030301010803" pitchFamily="18" charset="0"/>
              </a:rPr>
              <a:t>Copyright CRU International Limited 2025. All rights reserved.</a:t>
            </a:r>
          </a:p>
          <a:p>
            <a:pPr marL="0" indent="0">
              <a:lnSpc>
                <a:spcPct val="120000"/>
              </a:lnSpc>
              <a:buFont typeface="Arial" panose="020B0604020202020204" pitchFamily="34" charset="0"/>
              <a:buNone/>
            </a:pPr>
            <a:endParaRPr lang="en-GB" sz="1600"/>
          </a:p>
          <a:p>
            <a:pPr>
              <a:lnSpc>
                <a:spcPct val="120000"/>
              </a:lnSpc>
            </a:pPr>
            <a:endParaRPr lang="en-GB" sz="1600"/>
          </a:p>
        </p:txBody>
      </p:sp>
      <p:sp>
        <p:nvSpPr>
          <p:cNvPr id="2" name="Date Placeholder 2">
            <a:extLst>
              <a:ext uri="{FF2B5EF4-FFF2-40B4-BE49-F238E27FC236}">
                <a16:creationId xmlns:a16="http://schemas.microsoft.com/office/drawing/2014/main" id="{E3F559FB-1E9C-0C16-A0BC-DB80D9CD5E58}"/>
              </a:ext>
            </a:extLst>
          </p:cNvPr>
          <p:cNvSpPr>
            <a:spLocks noGrp="1"/>
          </p:cNvSpPr>
          <p:nvPr>
            <p:ph type="dt" sz="half" idx="10"/>
          </p:nvPr>
        </p:nvSpPr>
        <p:spPr>
          <a:xfrm>
            <a:off x="5406889" y="6429965"/>
            <a:ext cx="1706216" cy="307778"/>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FFFFFF"/>
                </a:solidFill>
                <a:effectLst/>
                <a:uLnTx/>
                <a:uFillTx/>
                <a:latin typeface="Garamond" panose="02020404030301010803" pitchFamily="18" charset="0"/>
              </a:rPr>
              <a:t>October 2025</a:t>
            </a:r>
            <a:endParaRPr kumimoji="0" lang="en-GB" sz="1200" b="0" i="1" u="none" strike="noStrike" kern="1200" cap="none" spc="0" normalizeH="0" baseline="0" noProof="0">
              <a:ln>
                <a:noFill/>
              </a:ln>
              <a:solidFill>
                <a:srgbClr val="FFFFFF"/>
              </a:solidFill>
              <a:effectLst/>
              <a:uLnTx/>
              <a:uFillTx/>
              <a:latin typeface="Garamond" panose="02020404030301010803" pitchFamily="18" charset="0"/>
            </a:endParaRPr>
          </a:p>
        </p:txBody>
      </p:sp>
    </p:spTree>
    <p:extLst>
      <p:ext uri="{BB962C8B-B14F-4D97-AF65-F5344CB8AC3E}">
        <p14:creationId xmlns:p14="http://schemas.microsoft.com/office/powerpoint/2010/main" val="37970917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CFE9D0E-E524-C4C2-5055-04B4C28DF865}"/>
              </a:ext>
            </a:extLst>
          </p:cNvPr>
          <p:cNvSpPr>
            <a:spLocks noGrp="1"/>
          </p:cNvSpPr>
          <p:nvPr>
            <p:ph type="sldNum" sz="quarter" idx="4"/>
          </p:nvPr>
        </p:nvSpPr>
        <p:spPr>
          <a:xfrm>
            <a:off x="10856016" y="6313488"/>
            <a:ext cx="1133060" cy="544512"/>
          </a:xfrm>
          <a:prstGeom prst="rect">
            <a:avLst/>
          </a:prstGeom>
          <a:ln>
            <a:noFill/>
          </a:ln>
        </p:spPr>
        <p:txBody>
          <a:bodyPr vert="horz" lIns="91440" tIns="45720" rIns="91440" bIns="45720" rtlCol="0" anchor="ctr"/>
          <a:lstStyle>
            <a:defPPr>
              <a:defRPr lang="en-US"/>
            </a:defPPr>
            <a:lvl1pPr marL="0" algn="r" defTabSz="914400" rtl="0" eaLnBrk="1" latinLnBrk="0" hangingPunct="1">
              <a:defRPr sz="2000" b="1" i="0" kern="1200">
                <a:solidFill>
                  <a:schemeClr val="bg1"/>
                </a:solidFill>
                <a:latin typeface="Arial" panose="020B0604020202020204" pitchFamily="34" charset="0"/>
                <a:ea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562BA7E0-5F5E-EE41-AE8D-BD30ED9E17AD}" type="slidenum">
              <a:rPr kumimoji="0" lang="en-GB" sz="2000" b="1" i="0" u="none" strike="noStrike" kern="1200" cap="none" spc="0" normalizeH="0" baseline="0" noProof="0" smtClean="0">
                <a:ln>
                  <a:noFill/>
                </a:ln>
                <a:solidFill>
                  <a:srgbClr val="FFFFFF"/>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20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5A7FF204-A042-EE8B-7974-6EFBA8DF4D6F}"/>
              </a:ext>
            </a:extLst>
          </p:cNvPr>
          <p:cNvSpPr txBox="1"/>
          <p:nvPr/>
        </p:nvSpPr>
        <p:spPr>
          <a:xfrm>
            <a:off x="277550" y="1434100"/>
            <a:ext cx="5450331"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GB" sz="4000" b="1" i="1" u="none" strike="noStrike" kern="1200" cap="none" spc="0" normalizeH="0" baseline="0" noProof="0">
                <a:ln>
                  <a:noFill/>
                </a:ln>
                <a:solidFill>
                  <a:srgbClr val="F07169"/>
                </a:solidFill>
                <a:effectLst/>
                <a:uLnTx/>
                <a:uFillTx/>
                <a:latin typeface="Garamond" panose="02020404030301010803" pitchFamily="18" charset="0"/>
                <a:ea typeface="+mn-ea"/>
                <a:cs typeface="+mn-cs"/>
              </a:rPr>
              <a:t>50</a:t>
            </a:r>
            <a:r>
              <a:rPr kumimoji="0" lang="en-GB" sz="2800" b="0" i="1" u="none" strike="noStrike" kern="1200" cap="none" spc="0" normalizeH="0" baseline="0" noProof="0">
                <a:ln>
                  <a:noFill/>
                </a:ln>
                <a:solidFill>
                  <a:srgbClr val="F07169"/>
                </a:solidFill>
                <a:effectLst/>
                <a:uLnTx/>
                <a:uFillTx/>
                <a:latin typeface="Garamond" panose="02020404030301010803" pitchFamily="18" charset="0"/>
                <a:ea typeface="+mn-ea"/>
                <a:cs typeface="+mn-cs"/>
              </a:rPr>
              <a:t>+</a:t>
            </a:r>
            <a:r>
              <a:rPr kumimoji="0" lang="en-GB" sz="3200" b="0" i="1" u="none" strike="noStrike" kern="1200" cap="none" spc="0" normalizeH="0" baseline="0" noProof="0">
                <a:ln>
                  <a:noFill/>
                </a:ln>
                <a:solidFill>
                  <a:srgbClr val="F07169"/>
                </a:solidFill>
                <a:effectLst/>
                <a:uLnTx/>
                <a:uFillTx/>
                <a:latin typeface="Garamond" panose="02020404030301010803" pitchFamily="18" charset="0"/>
                <a:ea typeface="+mn-ea"/>
                <a:cs typeface="+mn-cs"/>
              </a:rPr>
              <a:t> </a:t>
            </a:r>
            <a:r>
              <a:rPr kumimoji="0" lang="en-GB" sz="2000" b="0" i="0" u="none" strike="noStrike" kern="1200" cap="none" spc="0" normalizeH="0" baseline="0" noProof="0">
                <a:ln>
                  <a:noFill/>
                </a:ln>
                <a:solidFill>
                  <a:srgbClr val="FFFFFF"/>
                </a:solidFill>
                <a:effectLst/>
                <a:uLnTx/>
                <a:uFillTx/>
                <a:latin typeface="Arial" panose="020B0604020202020204" pitchFamily="34" charset="0"/>
                <a:ea typeface="+mn-ea"/>
                <a:cs typeface="+mn-cs"/>
              </a:rPr>
              <a:t>years of data-driven market insights</a:t>
            </a:r>
          </a:p>
        </p:txBody>
      </p:sp>
      <p:sp>
        <p:nvSpPr>
          <p:cNvPr id="8" name="TextBox 7">
            <a:extLst>
              <a:ext uri="{FF2B5EF4-FFF2-40B4-BE49-F238E27FC236}">
                <a16:creationId xmlns:a16="http://schemas.microsoft.com/office/drawing/2014/main" id="{7F3BD6F1-357C-5853-DE85-25D3E70EE486}"/>
              </a:ext>
            </a:extLst>
          </p:cNvPr>
          <p:cNvSpPr txBox="1"/>
          <p:nvPr/>
        </p:nvSpPr>
        <p:spPr>
          <a:xfrm>
            <a:off x="962265" y="2268400"/>
            <a:ext cx="3594537"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GB" sz="4000" b="1" i="1" u="none" strike="noStrike" kern="1200" cap="none" spc="0" normalizeH="0" baseline="0" noProof="0">
                <a:ln>
                  <a:noFill/>
                </a:ln>
                <a:solidFill>
                  <a:srgbClr val="BF59A6"/>
                </a:solidFill>
                <a:effectLst/>
                <a:uLnTx/>
                <a:uFillTx/>
                <a:latin typeface="Garamond" panose="02020404030301010803" pitchFamily="18" charset="0"/>
                <a:ea typeface="+mn-ea"/>
                <a:cs typeface="+mn-cs"/>
              </a:rPr>
              <a:t>50</a:t>
            </a:r>
            <a:r>
              <a:rPr kumimoji="0" lang="en-GB" sz="2800" b="1" i="1" u="none" strike="noStrike" kern="1200" cap="none" spc="0" normalizeH="0" baseline="0" noProof="0">
                <a:ln>
                  <a:noFill/>
                </a:ln>
                <a:solidFill>
                  <a:srgbClr val="BF59A6"/>
                </a:solidFill>
                <a:effectLst/>
                <a:uLnTx/>
                <a:uFillTx/>
                <a:latin typeface="Garamond" panose="02020404030301010803" pitchFamily="18" charset="0"/>
                <a:ea typeface="+mn-ea"/>
                <a:cs typeface="+mn-cs"/>
              </a:rPr>
              <a:t>+</a:t>
            </a:r>
            <a:r>
              <a:rPr kumimoji="0" lang="en-GB" sz="3200" b="0" i="1" u="none" strike="noStrike" kern="1200" cap="none" spc="0" normalizeH="0" baseline="0" noProof="0">
                <a:ln>
                  <a:noFill/>
                </a:ln>
                <a:solidFill>
                  <a:srgbClr val="F07169"/>
                </a:solidFill>
                <a:effectLst/>
                <a:uLnTx/>
                <a:uFillTx/>
                <a:latin typeface="Garamond" panose="02020404030301010803" pitchFamily="18" charset="0"/>
                <a:ea typeface="+mn-ea"/>
                <a:cs typeface="+mn-cs"/>
              </a:rPr>
              <a:t> </a:t>
            </a:r>
            <a:r>
              <a:rPr kumimoji="0" lang="en-GB" sz="2000" b="0" i="0" u="none" strike="noStrike" kern="1200" cap="none" spc="0" normalizeH="0" baseline="0" noProof="0">
                <a:ln>
                  <a:noFill/>
                </a:ln>
                <a:solidFill>
                  <a:srgbClr val="FFFFFF"/>
                </a:solidFill>
                <a:effectLst/>
                <a:uLnTx/>
                <a:uFillTx/>
                <a:latin typeface="Arial" panose="020B0604020202020204" pitchFamily="34" charset="0"/>
                <a:ea typeface="+mn-ea"/>
                <a:cs typeface="+mn-cs"/>
              </a:rPr>
              <a:t>commodities covered</a:t>
            </a:r>
          </a:p>
        </p:txBody>
      </p:sp>
      <p:sp>
        <p:nvSpPr>
          <p:cNvPr id="9" name="TextBox 8">
            <a:extLst>
              <a:ext uri="{FF2B5EF4-FFF2-40B4-BE49-F238E27FC236}">
                <a16:creationId xmlns:a16="http://schemas.microsoft.com/office/drawing/2014/main" id="{C289C957-6A5D-6D33-7080-BC93678CB460}"/>
              </a:ext>
            </a:extLst>
          </p:cNvPr>
          <p:cNvSpPr txBox="1"/>
          <p:nvPr/>
        </p:nvSpPr>
        <p:spPr>
          <a:xfrm>
            <a:off x="1448628" y="4771300"/>
            <a:ext cx="3958762"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GB" sz="4000" b="1" i="1" u="none" strike="noStrike" kern="1200" cap="none" spc="0" normalizeH="0" baseline="0" noProof="0">
                <a:ln>
                  <a:noFill/>
                </a:ln>
                <a:solidFill>
                  <a:srgbClr val="F07169"/>
                </a:solidFill>
                <a:effectLst/>
                <a:uLnTx/>
                <a:uFillTx/>
                <a:latin typeface="Garamond" panose="02020404030301010803" pitchFamily="18" charset="0"/>
                <a:ea typeface="+mn-ea"/>
                <a:cs typeface="+mn-cs"/>
              </a:rPr>
              <a:t>1,000</a:t>
            </a:r>
            <a:r>
              <a:rPr kumimoji="0" lang="en-GB" sz="2800" b="1" i="1" u="none" strike="noStrike" kern="1200" cap="none" spc="0" normalizeH="0" baseline="0" noProof="0">
                <a:ln>
                  <a:noFill/>
                </a:ln>
                <a:solidFill>
                  <a:srgbClr val="F07169"/>
                </a:solidFill>
                <a:effectLst/>
                <a:uLnTx/>
                <a:uFillTx/>
                <a:latin typeface="Garamond" panose="02020404030301010803" pitchFamily="18" charset="0"/>
                <a:ea typeface="+mn-ea"/>
                <a:cs typeface="+mn-cs"/>
              </a:rPr>
              <a:t>+</a:t>
            </a:r>
            <a:r>
              <a:rPr kumimoji="0" lang="en-GB" sz="2000" b="0" i="1" u="none" strike="noStrike" kern="1200" cap="none" spc="0" normalizeH="0" baseline="0" noProof="0">
                <a:ln>
                  <a:noFill/>
                </a:ln>
                <a:solidFill>
                  <a:srgbClr val="F07169"/>
                </a:solidFill>
                <a:effectLst/>
                <a:uLnTx/>
                <a:uFillTx/>
                <a:latin typeface="Garamond" panose="02020404030301010803" pitchFamily="18" charset="0"/>
                <a:ea typeface="+mn-ea"/>
                <a:cs typeface="+mn-cs"/>
              </a:rPr>
              <a:t> </a:t>
            </a:r>
            <a:r>
              <a:rPr kumimoji="0" lang="en-GB" sz="2000" b="0" i="0" u="none" strike="noStrike" kern="1200" cap="none" spc="0" normalizeH="0" baseline="0" noProof="0">
                <a:ln>
                  <a:noFill/>
                </a:ln>
                <a:solidFill>
                  <a:srgbClr val="FFFFFF"/>
                </a:solidFill>
                <a:effectLst/>
                <a:uLnTx/>
                <a:uFillTx/>
                <a:latin typeface="Arial" panose="020B0604020202020204" pitchFamily="34" charset="0"/>
                <a:ea typeface="+mn-ea"/>
                <a:cs typeface="+mn-cs"/>
              </a:rPr>
              <a:t>assessed prices</a:t>
            </a:r>
          </a:p>
        </p:txBody>
      </p:sp>
      <p:sp>
        <p:nvSpPr>
          <p:cNvPr id="10" name="TextBox 9">
            <a:extLst>
              <a:ext uri="{FF2B5EF4-FFF2-40B4-BE49-F238E27FC236}">
                <a16:creationId xmlns:a16="http://schemas.microsoft.com/office/drawing/2014/main" id="{F3C7D861-892F-32DA-F554-02E5310E85E0}"/>
              </a:ext>
            </a:extLst>
          </p:cNvPr>
          <p:cNvSpPr txBox="1"/>
          <p:nvPr/>
        </p:nvSpPr>
        <p:spPr>
          <a:xfrm>
            <a:off x="380009" y="3937000"/>
            <a:ext cx="6096000" cy="707886"/>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GB" sz="4000" b="1" i="1" u="none" strike="noStrike" kern="1200" cap="none" spc="0" normalizeH="0" baseline="0" noProof="0">
                <a:ln>
                  <a:noFill/>
                </a:ln>
                <a:solidFill>
                  <a:srgbClr val="30A3FD"/>
                </a:solidFill>
                <a:effectLst/>
                <a:uLnTx/>
                <a:uFillTx/>
                <a:latin typeface="Garamond"/>
                <a:ea typeface="+mn-ea"/>
                <a:cs typeface="+mn-cs"/>
              </a:rPr>
              <a:t>4,000</a:t>
            </a:r>
            <a:r>
              <a:rPr kumimoji="0" lang="en-GB" sz="3200" b="1" i="1" u="none" strike="noStrike" kern="1200" cap="none" spc="0" normalizeH="0" baseline="0" noProof="0">
                <a:ln>
                  <a:noFill/>
                </a:ln>
                <a:solidFill>
                  <a:srgbClr val="30A3FD"/>
                </a:solidFill>
                <a:effectLst/>
                <a:uLnTx/>
                <a:uFillTx/>
                <a:latin typeface="Garamond"/>
                <a:ea typeface="+mn-ea"/>
                <a:cs typeface="+mn-cs"/>
              </a:rPr>
              <a:t>+</a:t>
            </a:r>
            <a:r>
              <a:rPr kumimoji="0" lang="en-GB" sz="2000" b="0" i="0" u="none" strike="noStrike" kern="1200" cap="none" spc="0" normalizeH="0" baseline="0" noProof="0">
                <a:ln>
                  <a:noFill/>
                </a:ln>
                <a:solidFill>
                  <a:srgbClr val="FFFFFF"/>
                </a:solidFill>
                <a:effectLst/>
                <a:uLnTx/>
                <a:uFillTx/>
                <a:latin typeface="Arial"/>
                <a:ea typeface="+mn-ea"/>
                <a:cs typeface="Arial"/>
              </a:rPr>
              <a:t> production sites in </a:t>
            </a:r>
            <a:r>
              <a:rPr kumimoji="0" lang="en-GB" sz="4000" b="1" i="1" u="none" strike="noStrike" kern="1200" cap="none" spc="0" normalizeH="0" baseline="0" noProof="0">
                <a:ln>
                  <a:noFill/>
                </a:ln>
                <a:solidFill>
                  <a:srgbClr val="30A3FD"/>
                </a:solidFill>
                <a:effectLst/>
                <a:uLnTx/>
                <a:uFillTx/>
                <a:latin typeface="Garamond" panose="02020404030301010803" pitchFamily="18" charset="0"/>
                <a:ea typeface="+mn-ea"/>
                <a:cs typeface="+mn-cs"/>
              </a:rPr>
              <a:t>134</a:t>
            </a:r>
            <a:r>
              <a:rPr kumimoji="0" lang="en-GB" sz="2000" b="0" i="0" u="none" strike="noStrike" kern="1200" cap="none" spc="0" normalizeH="0" baseline="0" noProof="0">
                <a:ln>
                  <a:noFill/>
                </a:ln>
                <a:solidFill>
                  <a:srgbClr val="FFFFFF"/>
                </a:solidFill>
                <a:effectLst/>
                <a:uLnTx/>
                <a:uFillTx/>
                <a:latin typeface="Arial" panose="020B0604020202020204" pitchFamily="34" charset="0"/>
                <a:ea typeface="+mn-ea"/>
                <a:cs typeface="+mn-cs"/>
              </a:rPr>
              <a:t> countries</a:t>
            </a:r>
          </a:p>
        </p:txBody>
      </p:sp>
      <p:sp>
        <p:nvSpPr>
          <p:cNvPr id="11" name="TextBox 10">
            <a:extLst>
              <a:ext uri="{FF2B5EF4-FFF2-40B4-BE49-F238E27FC236}">
                <a16:creationId xmlns:a16="http://schemas.microsoft.com/office/drawing/2014/main" id="{D43ECD69-6600-1F80-9F3C-37D75472D29C}"/>
              </a:ext>
            </a:extLst>
          </p:cNvPr>
          <p:cNvSpPr txBox="1"/>
          <p:nvPr/>
        </p:nvSpPr>
        <p:spPr>
          <a:xfrm>
            <a:off x="488269" y="5605602"/>
            <a:ext cx="6456052" cy="707886"/>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GB" sz="2000" b="0" i="0" u="none" strike="noStrike" kern="1200" cap="none" spc="0" normalizeH="0" baseline="0" noProof="0">
                <a:ln>
                  <a:noFill/>
                </a:ln>
                <a:solidFill>
                  <a:srgbClr val="FFFFFF"/>
                </a:solidFill>
                <a:effectLst/>
                <a:uLnTx/>
                <a:uFillTx/>
                <a:latin typeface="Arial" panose="020B0604020202020204" pitchFamily="34" charset="0"/>
                <a:ea typeface="+mn-ea"/>
                <a:cs typeface="+mn-cs"/>
              </a:rPr>
              <a:t>Granular data on nearly </a:t>
            </a:r>
            <a:r>
              <a:rPr kumimoji="0" lang="en-GB" sz="4000" b="1" i="1" u="none" strike="noStrike" kern="1200" cap="none" spc="0" normalizeH="0" baseline="0" noProof="0">
                <a:ln>
                  <a:noFill/>
                </a:ln>
                <a:solidFill>
                  <a:srgbClr val="30A3FD"/>
                </a:solidFill>
                <a:effectLst/>
                <a:uLnTx/>
                <a:uFillTx/>
                <a:latin typeface="Garamond" panose="02020404030301010803" pitchFamily="18" charset="0"/>
                <a:ea typeface="+mn-ea"/>
                <a:cs typeface="+mn-cs"/>
              </a:rPr>
              <a:t>1/6th</a:t>
            </a:r>
            <a:r>
              <a:rPr kumimoji="0" lang="en-GB" sz="2000" b="0" i="0" u="none" strike="noStrike" kern="1200" cap="none" spc="0" normalizeH="0" baseline="0" noProof="0">
                <a:ln>
                  <a:noFill/>
                </a:ln>
                <a:solidFill>
                  <a:srgbClr val="FFFFFF"/>
                </a:solidFill>
                <a:effectLst/>
                <a:uLnTx/>
                <a:uFillTx/>
                <a:latin typeface="Arial" panose="020B0604020202020204" pitchFamily="34" charset="0"/>
                <a:ea typeface="+mn-ea"/>
                <a:cs typeface="+mn-cs"/>
              </a:rPr>
              <a:t> of global emissions</a:t>
            </a:r>
          </a:p>
        </p:txBody>
      </p:sp>
      <p:sp>
        <p:nvSpPr>
          <p:cNvPr id="12" name="TextBox 11">
            <a:extLst>
              <a:ext uri="{FF2B5EF4-FFF2-40B4-BE49-F238E27FC236}">
                <a16:creationId xmlns:a16="http://schemas.microsoft.com/office/drawing/2014/main" id="{C464257B-66E5-E24C-C407-9D429E6F825C}"/>
              </a:ext>
            </a:extLst>
          </p:cNvPr>
          <p:cNvSpPr txBox="1"/>
          <p:nvPr/>
        </p:nvSpPr>
        <p:spPr>
          <a:xfrm>
            <a:off x="1448628" y="3102700"/>
            <a:ext cx="4354591"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GB" sz="4000" b="1" i="1" u="none" strike="noStrike" kern="1200" cap="none" spc="0" normalizeH="0" baseline="0" noProof="0">
                <a:ln>
                  <a:noFill/>
                </a:ln>
                <a:solidFill>
                  <a:srgbClr val="61C0BA"/>
                </a:solidFill>
                <a:effectLst/>
                <a:uLnTx/>
                <a:uFillTx/>
                <a:latin typeface="Garamond" panose="02020404030301010803" pitchFamily="18" charset="0"/>
                <a:ea typeface="+mn-ea"/>
                <a:cs typeface="+mn-cs"/>
              </a:rPr>
              <a:t>450</a:t>
            </a:r>
            <a:r>
              <a:rPr kumimoji="0" lang="en-GB" sz="3200" b="1" i="1" u="none" strike="noStrike" kern="1200" cap="none" spc="0" normalizeH="0" baseline="0" noProof="0">
                <a:ln>
                  <a:noFill/>
                </a:ln>
                <a:solidFill>
                  <a:srgbClr val="61C0BA"/>
                </a:solidFill>
                <a:effectLst/>
                <a:uLnTx/>
                <a:uFillTx/>
                <a:latin typeface="Garamond" panose="02020404030301010803" pitchFamily="18" charset="0"/>
                <a:ea typeface="+mn-ea"/>
                <a:cs typeface="+mn-cs"/>
              </a:rPr>
              <a:t>+</a:t>
            </a:r>
            <a:r>
              <a:rPr kumimoji="0" lang="en-GB" sz="2000" b="0" i="0" u="none" strike="noStrike" kern="1200" cap="none" spc="0" normalizeH="0" baseline="0" noProof="0">
                <a:ln>
                  <a:noFill/>
                </a:ln>
                <a:solidFill>
                  <a:srgbClr val="FFFFFF"/>
                </a:solidFill>
                <a:effectLst/>
                <a:uLnTx/>
                <a:uFillTx/>
                <a:latin typeface="Arial" panose="020B0604020202020204" pitchFamily="34" charset="0"/>
                <a:ea typeface="+mn-ea"/>
                <a:cs typeface="+mn-cs"/>
              </a:rPr>
              <a:t> staff on</a:t>
            </a:r>
            <a:r>
              <a:rPr kumimoji="0" lang="en-GB" sz="2000" b="1" i="0" u="none" strike="noStrike" kern="1200" cap="none" spc="0" normalizeH="0" baseline="0" noProof="0">
                <a:ln>
                  <a:noFill/>
                </a:ln>
                <a:solidFill>
                  <a:srgbClr val="FFFFFF"/>
                </a:solidFill>
                <a:effectLst/>
                <a:uLnTx/>
                <a:uFillTx/>
                <a:latin typeface="Arial" panose="020B0604020202020204" pitchFamily="34" charset="0"/>
                <a:ea typeface="+mn-ea"/>
                <a:cs typeface="+mn-cs"/>
              </a:rPr>
              <a:t> </a:t>
            </a:r>
            <a:r>
              <a:rPr kumimoji="0" lang="en-GB" sz="4000" b="1" i="1" u="none" strike="noStrike" kern="1200" cap="none" spc="0" normalizeH="0" baseline="0" noProof="0">
                <a:ln>
                  <a:noFill/>
                </a:ln>
                <a:solidFill>
                  <a:srgbClr val="61C0BA"/>
                </a:solidFill>
                <a:effectLst/>
                <a:uLnTx/>
                <a:uFillTx/>
                <a:latin typeface="Garamond" panose="02020404030301010803" pitchFamily="18" charset="0"/>
                <a:ea typeface="+mn-ea"/>
                <a:cs typeface="+mn-cs"/>
              </a:rPr>
              <a:t>6</a:t>
            </a:r>
            <a:r>
              <a:rPr kumimoji="0" lang="en-GB" sz="2000" b="0" i="0" u="none" strike="noStrike" kern="1200" cap="none" spc="0" normalizeH="0" baseline="0" noProof="0">
                <a:ln>
                  <a:noFill/>
                </a:ln>
                <a:solidFill>
                  <a:srgbClr val="FFFFFF"/>
                </a:solidFill>
                <a:effectLst/>
                <a:uLnTx/>
                <a:uFillTx/>
                <a:latin typeface="Arial" panose="020B0604020202020204" pitchFamily="34" charset="0"/>
                <a:ea typeface="+mn-ea"/>
                <a:cs typeface="+mn-cs"/>
              </a:rPr>
              <a:t> continents</a:t>
            </a:r>
          </a:p>
        </p:txBody>
      </p:sp>
      <p:grpSp>
        <p:nvGrpSpPr>
          <p:cNvPr id="37" name="Group 36">
            <a:extLst>
              <a:ext uri="{FF2B5EF4-FFF2-40B4-BE49-F238E27FC236}">
                <a16:creationId xmlns:a16="http://schemas.microsoft.com/office/drawing/2014/main" id="{1D46FEB4-C8D9-43EA-CF8A-95A53A9A08EA}"/>
              </a:ext>
            </a:extLst>
          </p:cNvPr>
          <p:cNvGrpSpPr/>
          <p:nvPr/>
        </p:nvGrpSpPr>
        <p:grpSpPr>
          <a:xfrm>
            <a:off x="8868481" y="1063716"/>
            <a:ext cx="2424126" cy="5122144"/>
            <a:chOff x="9291175" y="822177"/>
            <a:chExt cx="2424126" cy="5122144"/>
          </a:xfrm>
        </p:grpSpPr>
        <p:pic>
          <p:nvPicPr>
            <p:cNvPr id="29" name="Picture 4" descr="Cu) - Uses, Density of Copper, Element ...">
              <a:extLst>
                <a:ext uri="{FF2B5EF4-FFF2-40B4-BE49-F238E27FC236}">
                  <a16:creationId xmlns:a16="http://schemas.microsoft.com/office/drawing/2014/main" id="{DFECEEDD-2929-F57E-B968-8DAEAD490148}"/>
                </a:ext>
              </a:extLst>
            </p:cNvPr>
            <p:cNvPicPr>
              <a:picLocks noChangeAspect="1" noChangeArrowheads="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612952" y="1073593"/>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6" descr="Chemical Properties of Nickel ...">
              <a:extLst>
                <a:ext uri="{FF2B5EF4-FFF2-40B4-BE49-F238E27FC236}">
                  <a16:creationId xmlns:a16="http://schemas.microsoft.com/office/drawing/2014/main" id="{CA1B6034-8992-A719-265C-EE40AD70E223}"/>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606265" y="2262271"/>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2" descr="Chemical Properties of Lithium">
              <a:extLst>
                <a:ext uri="{FF2B5EF4-FFF2-40B4-BE49-F238E27FC236}">
                  <a16:creationId xmlns:a16="http://schemas.microsoft.com/office/drawing/2014/main" id="{CED4D112-58DC-2D3F-3651-9364D159FDDB}"/>
                </a:ext>
              </a:extLst>
            </p:cNvPr>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606265" y="4585243"/>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4" descr="Chemical Properties of Cobalt ...">
              <a:extLst>
                <a:ext uri="{FF2B5EF4-FFF2-40B4-BE49-F238E27FC236}">
                  <a16:creationId xmlns:a16="http://schemas.microsoft.com/office/drawing/2014/main" id="{0299776D-C16B-1087-8179-0B07BE940C7B}"/>
                </a:ext>
              </a:extLst>
            </p:cNvPr>
            <p:cNvPicPr>
              <a:picLocks noChangeAspect="1" noChangeArrowheads="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612952" y="3405776"/>
              <a:ext cx="540000" cy="540000"/>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oup 32">
              <a:extLst>
                <a:ext uri="{FF2B5EF4-FFF2-40B4-BE49-F238E27FC236}">
                  <a16:creationId xmlns:a16="http://schemas.microsoft.com/office/drawing/2014/main" id="{4A846FB6-6FE1-EAB3-0D42-DC2896CF3BE7}"/>
                </a:ext>
              </a:extLst>
            </p:cNvPr>
            <p:cNvGrpSpPr/>
            <p:nvPr/>
          </p:nvGrpSpPr>
          <p:grpSpPr>
            <a:xfrm>
              <a:off x="11175305" y="4585243"/>
              <a:ext cx="539996" cy="540000"/>
              <a:chOff x="10974373" y="181863"/>
              <a:chExt cx="903598" cy="964676"/>
            </a:xfrm>
          </p:grpSpPr>
          <p:sp>
            <p:nvSpPr>
              <p:cNvPr id="34" name="Rectangle 33">
                <a:extLst>
                  <a:ext uri="{FF2B5EF4-FFF2-40B4-BE49-F238E27FC236}">
                    <a16:creationId xmlns:a16="http://schemas.microsoft.com/office/drawing/2014/main" id="{D0D40860-2CBF-55E1-34B9-05690582F1EC}"/>
                  </a:ext>
                </a:extLst>
              </p:cNvPr>
              <p:cNvSpPr/>
              <p:nvPr/>
            </p:nvSpPr>
            <p:spPr>
              <a:xfrm>
                <a:off x="10974373" y="181863"/>
                <a:ext cx="903598" cy="964676"/>
              </a:xfrm>
              <a:prstGeom prst="rect">
                <a:avLst/>
              </a:prstGeom>
              <a:solidFill>
                <a:srgbClr val="4A719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35" name="Graphic 34" descr="Battery charging with solid fill">
                <a:extLst>
                  <a:ext uri="{FF2B5EF4-FFF2-40B4-BE49-F238E27FC236}">
                    <a16:creationId xmlns:a16="http://schemas.microsoft.com/office/drawing/2014/main" id="{A456EC55-6A49-C9AD-1422-14564BE268CC}"/>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11019679" y="251561"/>
                <a:ext cx="825271" cy="825279"/>
              </a:xfrm>
              <a:prstGeom prst="rect">
                <a:avLst/>
              </a:prstGeom>
            </p:spPr>
          </p:pic>
        </p:grpSp>
        <p:grpSp>
          <p:nvGrpSpPr>
            <p:cNvPr id="13" name="Group 12">
              <a:extLst>
                <a:ext uri="{FF2B5EF4-FFF2-40B4-BE49-F238E27FC236}">
                  <a16:creationId xmlns:a16="http://schemas.microsoft.com/office/drawing/2014/main" id="{A2241025-FF89-F089-BAD5-03F446E28D73}"/>
                </a:ext>
              </a:extLst>
            </p:cNvPr>
            <p:cNvGrpSpPr/>
            <p:nvPr/>
          </p:nvGrpSpPr>
          <p:grpSpPr>
            <a:xfrm rot="5400000">
              <a:off x="7796715" y="2316637"/>
              <a:ext cx="5122144" cy="2133223"/>
              <a:chOff x="12192001" y="-2218014"/>
              <a:chExt cx="8128000" cy="2522074"/>
            </a:xfrm>
          </p:grpSpPr>
          <p:sp>
            <p:nvSpPr>
              <p:cNvPr id="14" name="Arrow: Notched Right 13">
                <a:extLst>
                  <a:ext uri="{FF2B5EF4-FFF2-40B4-BE49-F238E27FC236}">
                    <a16:creationId xmlns:a16="http://schemas.microsoft.com/office/drawing/2014/main" id="{3DA611C4-3525-8AF9-9DD2-5C3E584F8A62}"/>
                  </a:ext>
                </a:extLst>
              </p:cNvPr>
              <p:cNvSpPr/>
              <p:nvPr/>
            </p:nvSpPr>
            <p:spPr>
              <a:xfrm>
                <a:off x="12192001" y="-1339542"/>
                <a:ext cx="8128000" cy="703878"/>
              </a:xfrm>
              <a:prstGeom prst="notchedRightArrow">
                <a:avLst/>
              </a:prstGeom>
              <a:solidFill>
                <a:schemeClr val="tx2"/>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E24">
                      <a:hueOff val="0"/>
                      <a:satOff val="0"/>
                      <a:lumOff val="0"/>
                      <a:alphaOff val="0"/>
                    </a:srgbClr>
                  </a:solidFill>
                  <a:effectLst/>
                  <a:uLnTx/>
                  <a:uFillTx/>
                  <a:latin typeface="Arial" panose="020B0604020202020204"/>
                  <a:ea typeface="+mn-ea"/>
                  <a:cs typeface="+mn-cs"/>
                </a:endParaRPr>
              </a:p>
            </p:txBody>
          </p:sp>
          <p:sp>
            <p:nvSpPr>
              <p:cNvPr id="15" name="Freeform: Shape 14">
                <a:extLst>
                  <a:ext uri="{FF2B5EF4-FFF2-40B4-BE49-F238E27FC236}">
                    <a16:creationId xmlns:a16="http://schemas.microsoft.com/office/drawing/2014/main" id="{73300C69-8966-4167-5A26-859E78403EB2}"/>
                  </a:ext>
                </a:extLst>
              </p:cNvPr>
              <p:cNvSpPr/>
              <p:nvPr/>
            </p:nvSpPr>
            <p:spPr>
              <a:xfrm rot="16200000">
                <a:off x="12578796" y="-1987124"/>
                <a:ext cx="1335099" cy="882306"/>
              </a:xfrm>
              <a:custGeom>
                <a:avLst/>
                <a:gdLst>
                  <a:gd name="connsiteX0" fmla="*/ 0 w 1760934"/>
                  <a:gd name="connsiteY0" fmla="*/ 0 h 2167466"/>
                  <a:gd name="connsiteX1" fmla="*/ 1760934 w 1760934"/>
                  <a:gd name="connsiteY1" fmla="*/ 0 h 2167466"/>
                  <a:gd name="connsiteX2" fmla="*/ 1760934 w 1760934"/>
                  <a:gd name="connsiteY2" fmla="*/ 2167466 h 2167466"/>
                  <a:gd name="connsiteX3" fmla="*/ 0 w 1760934"/>
                  <a:gd name="connsiteY3" fmla="*/ 2167466 h 2167466"/>
                  <a:gd name="connsiteX4" fmla="*/ 0 w 1760934"/>
                  <a:gd name="connsiteY4" fmla="*/ 0 h 2167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0934" h="2167466">
                    <a:moveTo>
                      <a:pt x="0" y="0"/>
                    </a:moveTo>
                    <a:lnTo>
                      <a:pt x="1760934" y="0"/>
                    </a:lnTo>
                    <a:lnTo>
                      <a:pt x="1760934" y="2167466"/>
                    </a:lnTo>
                    <a:lnTo>
                      <a:pt x="0" y="216746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91592" tIns="291592" rIns="291592" bIns="291592" numCol="1" spcCol="1270" anchor="b" anchorCtr="0">
                <a:noAutofit/>
              </a:bodyPr>
              <a:lstStyle/>
              <a:p>
                <a:pPr marL="0" marR="0" lvl="0" indent="0" algn="ctr" defTabSz="1822450" rtl="0" eaLnBrk="1" fontAlgn="auto" latinLnBrk="0" hangingPunct="1">
                  <a:lnSpc>
                    <a:spcPct val="90000"/>
                  </a:lnSpc>
                  <a:spcBef>
                    <a:spcPct val="0"/>
                  </a:spcBef>
                  <a:spcAft>
                    <a:spcPct val="3500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panose="020B0604020202020204"/>
                    <a:ea typeface="+mn-ea"/>
                    <a:cs typeface="+mn-cs"/>
                  </a:rPr>
                  <a:t>1969</a:t>
                </a:r>
              </a:p>
            </p:txBody>
          </p:sp>
          <p:sp>
            <p:nvSpPr>
              <p:cNvPr id="16" name="Oval 15">
                <a:extLst>
                  <a:ext uri="{FF2B5EF4-FFF2-40B4-BE49-F238E27FC236}">
                    <a16:creationId xmlns:a16="http://schemas.microsoft.com/office/drawing/2014/main" id="{B7977677-5DB0-CC98-CDCC-DCF759C6EAD6}"/>
                  </a:ext>
                </a:extLst>
              </p:cNvPr>
              <p:cNvSpPr/>
              <p:nvPr/>
            </p:nvSpPr>
            <p:spPr>
              <a:xfrm>
                <a:off x="12805195" y="-1147211"/>
                <a:ext cx="428446" cy="319216"/>
              </a:xfrm>
              <a:prstGeom prst="ellipse">
                <a:avLst/>
              </a:prstGeom>
              <a:solidFill>
                <a:srgbClr val="FFFFFF"/>
              </a:solidFill>
              <a:ln w="1270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Freeform: Shape 16">
                <a:extLst>
                  <a:ext uri="{FF2B5EF4-FFF2-40B4-BE49-F238E27FC236}">
                    <a16:creationId xmlns:a16="http://schemas.microsoft.com/office/drawing/2014/main" id="{10F0475E-94BD-C3D3-9325-E8787F7CBB74}"/>
                  </a:ext>
                </a:extLst>
              </p:cNvPr>
              <p:cNvSpPr/>
              <p:nvPr/>
            </p:nvSpPr>
            <p:spPr>
              <a:xfrm rot="16200000">
                <a:off x="14085595" y="-866114"/>
                <a:ext cx="1340708" cy="999616"/>
              </a:xfrm>
              <a:custGeom>
                <a:avLst/>
                <a:gdLst>
                  <a:gd name="connsiteX0" fmla="*/ 0 w 1760934"/>
                  <a:gd name="connsiteY0" fmla="*/ 0 h 2167466"/>
                  <a:gd name="connsiteX1" fmla="*/ 1760934 w 1760934"/>
                  <a:gd name="connsiteY1" fmla="*/ 0 h 2167466"/>
                  <a:gd name="connsiteX2" fmla="*/ 1760934 w 1760934"/>
                  <a:gd name="connsiteY2" fmla="*/ 2167466 h 2167466"/>
                  <a:gd name="connsiteX3" fmla="*/ 0 w 1760934"/>
                  <a:gd name="connsiteY3" fmla="*/ 2167466 h 2167466"/>
                  <a:gd name="connsiteX4" fmla="*/ 0 w 1760934"/>
                  <a:gd name="connsiteY4" fmla="*/ 0 h 2167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0934" h="2167466">
                    <a:moveTo>
                      <a:pt x="0" y="0"/>
                    </a:moveTo>
                    <a:lnTo>
                      <a:pt x="1760934" y="0"/>
                    </a:lnTo>
                    <a:lnTo>
                      <a:pt x="1760934" y="2167466"/>
                    </a:lnTo>
                    <a:lnTo>
                      <a:pt x="0" y="216746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91592" tIns="291592" rIns="291592" bIns="291592" numCol="1" spcCol="1270" anchor="t" anchorCtr="0">
                <a:noAutofit/>
              </a:bodyPr>
              <a:lstStyle/>
              <a:p>
                <a:pPr marL="0" marR="0" lvl="0" indent="0" algn="r" defTabSz="1822450" rtl="0" eaLnBrk="1" fontAlgn="auto" latinLnBrk="0" hangingPunct="1">
                  <a:lnSpc>
                    <a:spcPct val="90000"/>
                  </a:lnSpc>
                  <a:spcBef>
                    <a:spcPct val="0"/>
                  </a:spcBef>
                  <a:spcAft>
                    <a:spcPct val="3500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panose="020B0604020202020204"/>
                    <a:ea typeface="+mn-ea"/>
                    <a:cs typeface="+mn-cs"/>
                  </a:rPr>
                  <a:t>1981</a:t>
                </a:r>
              </a:p>
            </p:txBody>
          </p:sp>
          <p:sp>
            <p:nvSpPr>
              <p:cNvPr id="18" name="Oval 17">
                <a:extLst>
                  <a:ext uri="{FF2B5EF4-FFF2-40B4-BE49-F238E27FC236}">
                    <a16:creationId xmlns:a16="http://schemas.microsoft.com/office/drawing/2014/main" id="{D0BA661F-3DF8-8B5D-0FDB-9FD5CECD3E04}"/>
                  </a:ext>
                </a:extLst>
              </p:cNvPr>
              <p:cNvSpPr/>
              <p:nvPr/>
            </p:nvSpPr>
            <p:spPr>
              <a:xfrm>
                <a:off x="14654175" y="-1147211"/>
                <a:ext cx="428446" cy="319216"/>
              </a:xfrm>
              <a:prstGeom prst="ellipse">
                <a:avLst/>
              </a:prstGeom>
              <a:solidFill>
                <a:srgbClr val="FFFFFF"/>
              </a:solidFill>
              <a:ln w="1270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 name="Freeform: Shape 18">
                <a:extLst>
                  <a:ext uri="{FF2B5EF4-FFF2-40B4-BE49-F238E27FC236}">
                    <a16:creationId xmlns:a16="http://schemas.microsoft.com/office/drawing/2014/main" id="{F4DF5D1B-C157-1927-65A6-39116BB643EB}"/>
                  </a:ext>
                </a:extLst>
              </p:cNvPr>
              <p:cNvSpPr/>
              <p:nvPr/>
            </p:nvSpPr>
            <p:spPr>
              <a:xfrm rot="16200000">
                <a:off x="16173322" y="-2099573"/>
                <a:ext cx="1339593" cy="1102711"/>
              </a:xfrm>
              <a:custGeom>
                <a:avLst/>
                <a:gdLst>
                  <a:gd name="connsiteX0" fmla="*/ 0 w 1760934"/>
                  <a:gd name="connsiteY0" fmla="*/ 0 h 2167466"/>
                  <a:gd name="connsiteX1" fmla="*/ 1760934 w 1760934"/>
                  <a:gd name="connsiteY1" fmla="*/ 0 h 2167466"/>
                  <a:gd name="connsiteX2" fmla="*/ 1760934 w 1760934"/>
                  <a:gd name="connsiteY2" fmla="*/ 2167466 h 2167466"/>
                  <a:gd name="connsiteX3" fmla="*/ 0 w 1760934"/>
                  <a:gd name="connsiteY3" fmla="*/ 2167466 h 2167466"/>
                  <a:gd name="connsiteX4" fmla="*/ 0 w 1760934"/>
                  <a:gd name="connsiteY4" fmla="*/ 0 h 2167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0934" h="2167466">
                    <a:moveTo>
                      <a:pt x="0" y="0"/>
                    </a:moveTo>
                    <a:lnTo>
                      <a:pt x="1760934" y="0"/>
                    </a:lnTo>
                    <a:lnTo>
                      <a:pt x="1760934" y="2167466"/>
                    </a:lnTo>
                    <a:lnTo>
                      <a:pt x="0" y="216746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91592" tIns="291592" rIns="291592" bIns="291592" numCol="1" spcCol="1270" anchor="b" anchorCtr="0">
                <a:noAutofit/>
              </a:bodyPr>
              <a:lstStyle/>
              <a:p>
                <a:pPr marL="0" marR="0" lvl="0" indent="0" algn="ctr" defTabSz="1822450" rtl="0" eaLnBrk="1" fontAlgn="auto" latinLnBrk="0" hangingPunct="1">
                  <a:lnSpc>
                    <a:spcPct val="90000"/>
                  </a:lnSpc>
                  <a:spcBef>
                    <a:spcPct val="0"/>
                  </a:spcBef>
                  <a:spcAft>
                    <a:spcPct val="3500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panose="020B0604020202020204"/>
                    <a:ea typeface="+mn-ea"/>
                    <a:cs typeface="+mn-cs"/>
                  </a:rPr>
                  <a:t>1985</a:t>
                </a:r>
              </a:p>
            </p:txBody>
          </p:sp>
          <p:sp>
            <p:nvSpPr>
              <p:cNvPr id="20" name="Oval 19">
                <a:extLst>
                  <a:ext uri="{FF2B5EF4-FFF2-40B4-BE49-F238E27FC236}">
                    <a16:creationId xmlns:a16="http://schemas.microsoft.com/office/drawing/2014/main" id="{A92D727E-F147-E627-3A6C-94F389A41C57}"/>
                  </a:ext>
                </a:extLst>
              </p:cNvPr>
              <p:cNvSpPr/>
              <p:nvPr/>
            </p:nvSpPr>
            <p:spPr>
              <a:xfrm>
                <a:off x="16503157" y="-1147211"/>
                <a:ext cx="428446" cy="319216"/>
              </a:xfrm>
              <a:prstGeom prst="ellipse">
                <a:avLst/>
              </a:prstGeom>
              <a:solidFill>
                <a:srgbClr val="FFFFFF"/>
              </a:solidFill>
              <a:ln w="1270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Freeform: Shape 20">
                <a:extLst>
                  <a:ext uri="{FF2B5EF4-FFF2-40B4-BE49-F238E27FC236}">
                    <a16:creationId xmlns:a16="http://schemas.microsoft.com/office/drawing/2014/main" id="{A5C99571-262F-C5DD-F1DA-A21F00904A58}"/>
                  </a:ext>
                </a:extLst>
              </p:cNvPr>
              <p:cNvSpPr/>
              <p:nvPr/>
            </p:nvSpPr>
            <p:spPr>
              <a:xfrm rot="16200000">
                <a:off x="17832113" y="-928508"/>
                <a:ext cx="1340708" cy="1124427"/>
              </a:xfrm>
              <a:custGeom>
                <a:avLst/>
                <a:gdLst>
                  <a:gd name="connsiteX0" fmla="*/ 0 w 1760934"/>
                  <a:gd name="connsiteY0" fmla="*/ 0 h 2167466"/>
                  <a:gd name="connsiteX1" fmla="*/ 1760934 w 1760934"/>
                  <a:gd name="connsiteY1" fmla="*/ 0 h 2167466"/>
                  <a:gd name="connsiteX2" fmla="*/ 1760934 w 1760934"/>
                  <a:gd name="connsiteY2" fmla="*/ 2167466 h 2167466"/>
                  <a:gd name="connsiteX3" fmla="*/ 0 w 1760934"/>
                  <a:gd name="connsiteY3" fmla="*/ 2167466 h 2167466"/>
                  <a:gd name="connsiteX4" fmla="*/ 0 w 1760934"/>
                  <a:gd name="connsiteY4" fmla="*/ 0 h 2167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0934" h="2167466">
                    <a:moveTo>
                      <a:pt x="0" y="0"/>
                    </a:moveTo>
                    <a:lnTo>
                      <a:pt x="1760934" y="0"/>
                    </a:lnTo>
                    <a:lnTo>
                      <a:pt x="1760934" y="2167466"/>
                    </a:lnTo>
                    <a:lnTo>
                      <a:pt x="0" y="216746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91592" tIns="291592" rIns="291592" bIns="291592" numCol="1" spcCol="1270" anchor="t" anchorCtr="0">
                <a:noAutofit/>
              </a:bodyPr>
              <a:lstStyle/>
              <a:p>
                <a:pPr marL="0" marR="0" lvl="0" indent="0" algn="r" defTabSz="1822450" rtl="0" eaLnBrk="1" fontAlgn="auto" latinLnBrk="0" hangingPunct="1">
                  <a:lnSpc>
                    <a:spcPct val="90000"/>
                  </a:lnSpc>
                  <a:spcBef>
                    <a:spcPct val="0"/>
                  </a:spcBef>
                  <a:spcAft>
                    <a:spcPct val="3500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panose="020B0604020202020204"/>
                    <a:ea typeface="+mn-ea"/>
                    <a:cs typeface="+mn-cs"/>
                  </a:rPr>
                  <a:t>2015</a:t>
                </a:r>
              </a:p>
            </p:txBody>
          </p:sp>
          <p:sp>
            <p:nvSpPr>
              <p:cNvPr id="22" name="Oval 21">
                <a:extLst>
                  <a:ext uri="{FF2B5EF4-FFF2-40B4-BE49-F238E27FC236}">
                    <a16:creationId xmlns:a16="http://schemas.microsoft.com/office/drawing/2014/main" id="{328ED703-5302-8663-9969-01EF1124A3F0}"/>
                  </a:ext>
                </a:extLst>
              </p:cNvPr>
              <p:cNvSpPr/>
              <p:nvPr/>
            </p:nvSpPr>
            <p:spPr>
              <a:xfrm>
                <a:off x="18352138" y="-1147211"/>
                <a:ext cx="428446" cy="319216"/>
              </a:xfrm>
              <a:prstGeom prst="ellipse">
                <a:avLst/>
              </a:prstGeom>
              <a:solidFill>
                <a:srgbClr val="FFFFFF"/>
              </a:solidFill>
              <a:ln w="1270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2" name="Footer Placeholder 4">
            <a:extLst>
              <a:ext uri="{FF2B5EF4-FFF2-40B4-BE49-F238E27FC236}">
                <a16:creationId xmlns:a16="http://schemas.microsoft.com/office/drawing/2014/main" id="{3644015A-932B-35E8-1E15-367996EB3526}"/>
              </a:ext>
            </a:extLst>
          </p:cNvPr>
          <p:cNvSpPr txBox="1">
            <a:spLocks/>
          </p:cNvSpPr>
          <p:nvPr/>
        </p:nvSpPr>
        <p:spPr>
          <a:xfrm>
            <a:off x="7350369" y="6429965"/>
            <a:ext cx="3176758" cy="30777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50" b="1">
                <a:solidFill>
                  <a:schemeClr val="bg1"/>
                </a:solidFill>
                <a:latin typeface="Arial" panose="020B0604020202020204" pitchFamily="34" charset="0"/>
                <a:cs typeface="Arial" panose="020B0604020202020204" pitchFamily="34" charset="0"/>
              </a:rPr>
              <a:t>Co &amp; Li supply: </a:t>
            </a:r>
            <a:r>
              <a:rPr lang="en-US" sz="1050">
                <a:solidFill>
                  <a:schemeClr val="bg1"/>
                </a:solidFill>
                <a:latin typeface="Arial" panose="020B0604020202020204" pitchFamily="34" charset="0"/>
                <a:cs typeface="Arial" panose="020B0604020202020204" pitchFamily="34" charset="0"/>
              </a:rPr>
              <a:t>stopgap or structural shift?</a:t>
            </a:r>
            <a:endParaRPr lang="en-GB" sz="1050">
              <a:solidFill>
                <a:schemeClr val="bg1"/>
              </a:solidFill>
              <a:latin typeface="Arial" panose="020B0604020202020204" pitchFamily="34" charset="0"/>
              <a:cs typeface="Arial" panose="020B0604020202020204" pitchFamily="34" charset="0"/>
            </a:endParaRPr>
          </a:p>
        </p:txBody>
      </p:sp>
      <p:sp>
        <p:nvSpPr>
          <p:cNvPr id="3" name="Date Placeholder 3">
            <a:extLst>
              <a:ext uri="{FF2B5EF4-FFF2-40B4-BE49-F238E27FC236}">
                <a16:creationId xmlns:a16="http://schemas.microsoft.com/office/drawing/2014/main" id="{A6C1C3DB-9C08-1C9B-FFBC-A6A44576CAF9}"/>
              </a:ext>
            </a:extLst>
          </p:cNvPr>
          <p:cNvSpPr txBox="1">
            <a:spLocks/>
          </p:cNvSpPr>
          <p:nvPr/>
        </p:nvSpPr>
        <p:spPr>
          <a:xfrm>
            <a:off x="5406888" y="6429965"/>
            <a:ext cx="1759021" cy="30777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i="1">
                <a:solidFill>
                  <a:schemeClr val="bg1"/>
                </a:solidFill>
                <a:latin typeface="Garamond" panose="02020404030301010803" pitchFamily="18" charset="0"/>
              </a:rPr>
              <a:t>October 2025</a:t>
            </a:r>
            <a:endParaRPr lang="en-GB" sz="1200" i="1">
              <a:solidFill>
                <a:schemeClr val="bg1"/>
              </a:solidFill>
              <a:latin typeface="Garamond" panose="02020404030301010803" pitchFamily="18" charset="0"/>
            </a:endParaRPr>
          </a:p>
        </p:txBody>
      </p:sp>
    </p:spTree>
    <p:extLst>
      <p:ext uri="{BB962C8B-B14F-4D97-AF65-F5344CB8AC3E}">
        <p14:creationId xmlns:p14="http://schemas.microsoft.com/office/powerpoint/2010/main" val="21711902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Graphic 31" descr="Electric car with solid fill">
            <a:extLst>
              <a:ext uri="{FF2B5EF4-FFF2-40B4-BE49-F238E27FC236}">
                <a16:creationId xmlns:a16="http://schemas.microsoft.com/office/drawing/2014/main" id="{C62A2382-7C7A-15E2-D692-9BB1B8064A8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0020699" y="1191472"/>
            <a:ext cx="752926" cy="770558"/>
          </a:xfrm>
          <a:prstGeom prst="rect">
            <a:avLst/>
          </a:prstGeom>
        </p:spPr>
      </p:pic>
      <p:sp>
        <p:nvSpPr>
          <p:cNvPr id="17" name="Arrow: Right 16">
            <a:extLst>
              <a:ext uri="{FF2B5EF4-FFF2-40B4-BE49-F238E27FC236}">
                <a16:creationId xmlns:a16="http://schemas.microsoft.com/office/drawing/2014/main" id="{4206AE3E-5922-1755-A21C-5B9A84318AA1}"/>
              </a:ext>
            </a:extLst>
          </p:cNvPr>
          <p:cNvSpPr/>
          <p:nvPr/>
        </p:nvSpPr>
        <p:spPr>
          <a:xfrm>
            <a:off x="4401537" y="1445461"/>
            <a:ext cx="1284844" cy="324000"/>
          </a:xfrm>
          <a:prstGeom prst="rightArrow">
            <a:avLst>
              <a:gd name="adj1" fmla="val 64147"/>
              <a:gd name="adj2" fmla="val 139633"/>
            </a:avLst>
          </a:prstGeom>
          <a:solidFill>
            <a:schemeClr val="bg1"/>
          </a:solidFill>
          <a:ln w="12700">
            <a:solidFill>
              <a:schemeClr val="bg1">
                <a:lumMod val="8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endParaRPr>
          </a:p>
        </p:txBody>
      </p:sp>
      <p:sp>
        <p:nvSpPr>
          <p:cNvPr id="6" name="Title 5">
            <a:extLst>
              <a:ext uri="{FF2B5EF4-FFF2-40B4-BE49-F238E27FC236}">
                <a16:creationId xmlns:a16="http://schemas.microsoft.com/office/drawing/2014/main" id="{C1BC9099-C6E5-995A-E5C5-1FA5AD5628C4}"/>
              </a:ext>
            </a:extLst>
          </p:cNvPr>
          <p:cNvSpPr>
            <a:spLocks noGrp="1"/>
          </p:cNvSpPr>
          <p:nvPr>
            <p:ph type="title"/>
          </p:nvPr>
        </p:nvSpPr>
        <p:spPr/>
        <p:txBody>
          <a:bodyPr>
            <a:noAutofit/>
          </a:bodyPr>
          <a:lstStyle/>
          <a:p>
            <a:r>
              <a:rPr lang="en-GB" sz="2800"/>
              <a:t>CRU’s Battery Services network map</a:t>
            </a:r>
          </a:p>
        </p:txBody>
      </p:sp>
      <p:pic>
        <p:nvPicPr>
          <p:cNvPr id="8" name="Graphic 7" descr="Raw Materials with solid fill">
            <a:extLst>
              <a:ext uri="{FF2B5EF4-FFF2-40B4-BE49-F238E27FC236}">
                <a16:creationId xmlns:a16="http://schemas.microsoft.com/office/drawing/2014/main" id="{0124815A-6C1A-6D08-21F3-87F7ECF4DB0D}"/>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646003" y="1244262"/>
            <a:ext cx="664978" cy="664978"/>
          </a:xfrm>
          <a:prstGeom prst="rect">
            <a:avLst/>
          </a:prstGeom>
          <a:effectLst>
            <a:outerShdw blurRad="50800" dist="38100" dir="2700000" algn="tl" rotWithShape="0">
              <a:prstClr val="black">
                <a:alpha val="40000"/>
              </a:prstClr>
            </a:outerShdw>
          </a:effectLst>
        </p:spPr>
      </p:pic>
      <p:pic>
        <p:nvPicPr>
          <p:cNvPr id="10" name="Graphic 9" descr="Production with solid fill">
            <a:extLst>
              <a:ext uri="{FF2B5EF4-FFF2-40B4-BE49-F238E27FC236}">
                <a16:creationId xmlns:a16="http://schemas.microsoft.com/office/drawing/2014/main" id="{013A630D-8CBE-D35B-E6C5-57FE24A86FE2}"/>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5776937" y="1244262"/>
            <a:ext cx="664978" cy="664978"/>
          </a:xfrm>
          <a:prstGeom prst="rect">
            <a:avLst/>
          </a:prstGeom>
          <a:effectLst>
            <a:outerShdw blurRad="50800" dist="38100" dir="2700000" algn="tl" rotWithShape="0">
              <a:prstClr val="black">
                <a:alpha val="40000"/>
              </a:prstClr>
            </a:outerShdw>
          </a:effectLst>
        </p:spPr>
      </p:pic>
      <p:sp>
        <p:nvSpPr>
          <p:cNvPr id="14" name="TextBox 13">
            <a:extLst>
              <a:ext uri="{FF2B5EF4-FFF2-40B4-BE49-F238E27FC236}">
                <a16:creationId xmlns:a16="http://schemas.microsoft.com/office/drawing/2014/main" id="{4473281F-B85C-6546-B91C-E1CAC3C04746}"/>
              </a:ext>
            </a:extLst>
          </p:cNvPr>
          <p:cNvSpPr txBox="1"/>
          <p:nvPr/>
        </p:nvSpPr>
        <p:spPr>
          <a:xfrm>
            <a:off x="3177202" y="1013514"/>
            <a:ext cx="1602581" cy="307777"/>
          </a:xfrm>
          <a:prstGeom prst="rect">
            <a:avLst/>
          </a:prstGeom>
          <a:noFill/>
        </p:spPr>
        <p:txBody>
          <a:bodyPr wrap="square">
            <a:spAutoFit/>
          </a:bodyPr>
          <a:lstStyle/>
          <a:p>
            <a:pPr algn="ctr"/>
            <a:r>
              <a:rPr lang="en-GB" sz="1400" b="1">
                <a:solidFill>
                  <a:schemeClr val="bg1"/>
                </a:solidFill>
              </a:rPr>
              <a:t>Mining</a:t>
            </a:r>
          </a:p>
        </p:txBody>
      </p:sp>
      <p:sp>
        <p:nvSpPr>
          <p:cNvPr id="15" name="TextBox 14">
            <a:extLst>
              <a:ext uri="{FF2B5EF4-FFF2-40B4-BE49-F238E27FC236}">
                <a16:creationId xmlns:a16="http://schemas.microsoft.com/office/drawing/2014/main" id="{A4363075-D9FB-E0E0-AA32-0E425BC2D76F}"/>
              </a:ext>
            </a:extLst>
          </p:cNvPr>
          <p:cNvSpPr txBox="1"/>
          <p:nvPr/>
        </p:nvSpPr>
        <p:spPr>
          <a:xfrm>
            <a:off x="4930527" y="1013514"/>
            <a:ext cx="2419842" cy="307777"/>
          </a:xfrm>
          <a:prstGeom prst="rect">
            <a:avLst/>
          </a:prstGeom>
          <a:noFill/>
        </p:spPr>
        <p:txBody>
          <a:bodyPr wrap="square">
            <a:spAutoFit/>
          </a:bodyPr>
          <a:lstStyle/>
          <a:p>
            <a:pPr algn="ctr"/>
            <a:r>
              <a:rPr lang="en-GB" sz="1400" b="1">
                <a:solidFill>
                  <a:schemeClr val="bg1"/>
                </a:solidFill>
              </a:rPr>
              <a:t>Refining &amp; Smelting</a:t>
            </a:r>
          </a:p>
        </p:txBody>
      </p:sp>
      <p:sp>
        <p:nvSpPr>
          <p:cNvPr id="16" name="TextBox 15">
            <a:extLst>
              <a:ext uri="{FF2B5EF4-FFF2-40B4-BE49-F238E27FC236}">
                <a16:creationId xmlns:a16="http://schemas.microsoft.com/office/drawing/2014/main" id="{80CFD7A4-9CEB-BC01-40A9-281569D4D5B6}"/>
              </a:ext>
            </a:extLst>
          </p:cNvPr>
          <p:cNvSpPr txBox="1"/>
          <p:nvPr/>
        </p:nvSpPr>
        <p:spPr>
          <a:xfrm>
            <a:off x="9570004" y="1013514"/>
            <a:ext cx="1602581" cy="307777"/>
          </a:xfrm>
          <a:prstGeom prst="rect">
            <a:avLst/>
          </a:prstGeom>
          <a:noFill/>
        </p:spPr>
        <p:txBody>
          <a:bodyPr wrap="square">
            <a:spAutoFit/>
          </a:bodyPr>
          <a:lstStyle/>
          <a:p>
            <a:pPr algn="ctr"/>
            <a:r>
              <a:rPr lang="en-GB" sz="1400" b="1">
                <a:solidFill>
                  <a:schemeClr val="bg1"/>
                </a:solidFill>
              </a:rPr>
              <a:t>Consumption</a:t>
            </a:r>
          </a:p>
        </p:txBody>
      </p:sp>
      <p:sp>
        <p:nvSpPr>
          <p:cNvPr id="46" name="Arrow: Right 45">
            <a:extLst>
              <a:ext uri="{FF2B5EF4-FFF2-40B4-BE49-F238E27FC236}">
                <a16:creationId xmlns:a16="http://schemas.microsoft.com/office/drawing/2014/main" id="{C7B1A532-23EB-7BA6-60C5-B3B632A121F7}"/>
              </a:ext>
            </a:extLst>
          </p:cNvPr>
          <p:cNvSpPr/>
          <p:nvPr/>
        </p:nvSpPr>
        <p:spPr>
          <a:xfrm>
            <a:off x="6532471" y="1445461"/>
            <a:ext cx="1284844" cy="324000"/>
          </a:xfrm>
          <a:prstGeom prst="rightArrow">
            <a:avLst>
              <a:gd name="adj1" fmla="val 64147"/>
              <a:gd name="adj2" fmla="val 139633"/>
            </a:avLst>
          </a:prstGeom>
          <a:solidFill>
            <a:schemeClr val="bg1"/>
          </a:solidFill>
          <a:ln w="12700">
            <a:solidFill>
              <a:schemeClr val="bg1">
                <a:lumMod val="8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400"/>
          </a:p>
        </p:txBody>
      </p:sp>
      <p:graphicFrame>
        <p:nvGraphicFramePr>
          <p:cNvPr id="47" name="Table 46">
            <a:extLst>
              <a:ext uri="{FF2B5EF4-FFF2-40B4-BE49-F238E27FC236}">
                <a16:creationId xmlns:a16="http://schemas.microsoft.com/office/drawing/2014/main" id="{6236B3B7-ED41-B120-E94D-7CF7409E7083}"/>
              </a:ext>
            </a:extLst>
          </p:cNvPr>
          <p:cNvGraphicFramePr>
            <a:graphicFrameLocks noGrp="1"/>
          </p:cNvGraphicFramePr>
          <p:nvPr/>
        </p:nvGraphicFramePr>
        <p:xfrm>
          <a:off x="247650" y="1934092"/>
          <a:ext cx="10718800" cy="4362320"/>
        </p:xfrm>
        <a:graphic>
          <a:graphicData uri="http://schemas.openxmlformats.org/drawingml/2006/table">
            <a:tbl>
              <a:tblPr firstRow="1" bandRow="1">
                <a:tableStyleId>{5C22544A-7EE6-4342-B048-85BDC9FD1C3A}</a:tableStyleId>
              </a:tblPr>
              <a:tblGrid>
                <a:gridCol w="2857500">
                  <a:extLst>
                    <a:ext uri="{9D8B030D-6E8A-4147-A177-3AD203B41FA5}">
                      <a16:colId xmlns:a16="http://schemas.microsoft.com/office/drawing/2014/main" val="1682482076"/>
                    </a:ext>
                  </a:extLst>
                </a:gridCol>
                <a:gridCol w="866775">
                  <a:extLst>
                    <a:ext uri="{9D8B030D-6E8A-4147-A177-3AD203B41FA5}">
                      <a16:colId xmlns:a16="http://schemas.microsoft.com/office/drawing/2014/main" val="2435800487"/>
                    </a:ext>
                  </a:extLst>
                </a:gridCol>
                <a:gridCol w="2130111">
                  <a:extLst>
                    <a:ext uri="{9D8B030D-6E8A-4147-A177-3AD203B41FA5}">
                      <a16:colId xmlns:a16="http://schemas.microsoft.com/office/drawing/2014/main" val="2378722358"/>
                    </a:ext>
                  </a:extLst>
                </a:gridCol>
                <a:gridCol w="2145671">
                  <a:extLst>
                    <a:ext uri="{9D8B030D-6E8A-4147-A177-3AD203B41FA5}">
                      <a16:colId xmlns:a16="http://schemas.microsoft.com/office/drawing/2014/main" val="2896889208"/>
                    </a:ext>
                  </a:extLst>
                </a:gridCol>
                <a:gridCol w="2150971">
                  <a:extLst>
                    <a:ext uri="{9D8B030D-6E8A-4147-A177-3AD203B41FA5}">
                      <a16:colId xmlns:a16="http://schemas.microsoft.com/office/drawing/2014/main" val="3593723208"/>
                    </a:ext>
                  </a:extLst>
                </a:gridCol>
                <a:gridCol w="567772">
                  <a:extLst>
                    <a:ext uri="{9D8B030D-6E8A-4147-A177-3AD203B41FA5}">
                      <a16:colId xmlns:a16="http://schemas.microsoft.com/office/drawing/2014/main" val="1286798256"/>
                    </a:ext>
                  </a:extLst>
                </a:gridCol>
              </a:tblGrid>
              <a:tr h="177012">
                <a:tc rowSpan="2">
                  <a:txBody>
                    <a:bodyPr/>
                    <a:lstStyle/>
                    <a:p>
                      <a:pPr marL="85725" indent="0"/>
                      <a:r>
                        <a:rPr lang="en-GB" sz="1200" b="0">
                          <a:solidFill>
                            <a:schemeClr val="bg1"/>
                          </a:solidFill>
                        </a:rPr>
                        <a:t>Cobalt Markets </a:t>
                      </a:r>
                      <a:r>
                        <a:rPr lang="en-GB" sz="1200" b="0" baseline="30000">
                          <a:solidFill>
                            <a:schemeClr val="bg1"/>
                          </a:solidFill>
                        </a:rPr>
                        <a:t>P</a:t>
                      </a:r>
                    </a:p>
                  </a:txBody>
                  <a:tcPr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600"/>
                    </a:p>
                  </a:txBody>
                  <a:tcPr marT="0" marB="0">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endParaRPr lang="en-GB" sz="600"/>
                    </a:p>
                  </a:txBody>
                  <a:tcPr marT="0" marB="0">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endParaRPr lang="en-GB" sz="600"/>
                    </a:p>
                  </a:txBody>
                  <a:tcPr marT="0" marB="0">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endParaRPr lang="en-GB" sz="600"/>
                    </a:p>
                  </a:txBody>
                  <a:tcPr marT="0" marB="0">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endParaRPr lang="en-GB" sz="600"/>
                    </a:p>
                  </a:txBody>
                  <a:tcPr marT="0" marB="0">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615899838"/>
                  </a:ext>
                </a:extLst>
              </a:tr>
              <a:tr h="177012">
                <a:tc vMerge="1">
                  <a:txBody>
                    <a:bodyPr/>
                    <a:lstStyle/>
                    <a:p>
                      <a:endParaRPr lang="en-GB"/>
                    </a:p>
                  </a:txBody>
                  <a:tcPr/>
                </a:tc>
                <a:tc>
                  <a:txBody>
                    <a:bodyPr/>
                    <a:lstStyle/>
                    <a:p>
                      <a:endParaRPr lang="en-GB" sz="600"/>
                    </a:p>
                  </a:txBody>
                  <a:tcPr marT="0" marB="0">
                    <a:lnL w="12700" cap="flat" cmpd="sng" algn="ctr">
                      <a:no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600"/>
                    </a:p>
                  </a:txBody>
                  <a:tcPr marT="0" marB="0">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600"/>
                    </a:p>
                  </a:txBody>
                  <a:tcPr marT="0" marB="0">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600"/>
                    </a:p>
                  </a:txBody>
                  <a:tcPr marT="0" marB="0">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600"/>
                    </a:p>
                  </a:txBody>
                  <a:tcPr marT="0" marB="0">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309531101"/>
                  </a:ext>
                </a:extLst>
              </a:tr>
              <a:tr h="177012">
                <a:tc rowSpan="2">
                  <a:txBody>
                    <a:bodyPr/>
                    <a:lstStyle/>
                    <a:p>
                      <a:pPr marL="85725" indent="0"/>
                      <a:r>
                        <a:rPr lang="en-GB" sz="1200" b="0">
                          <a:solidFill>
                            <a:schemeClr val="bg1"/>
                          </a:solidFill>
                        </a:rPr>
                        <a:t>Lead Markets </a:t>
                      </a:r>
                      <a:r>
                        <a:rPr lang="en-GB" sz="1200" b="0" baseline="30000">
                          <a:solidFill>
                            <a:schemeClr val="bg1"/>
                          </a:solidFill>
                        </a:rPr>
                        <a:t>C P</a:t>
                      </a:r>
                      <a:r>
                        <a:rPr lang="en-GB" sz="1200" b="0">
                          <a:solidFill>
                            <a:schemeClr val="bg1"/>
                          </a:solidFill>
                        </a:rPr>
                        <a:t>+ Assets </a:t>
                      </a:r>
                    </a:p>
                  </a:txBody>
                  <a:tcPr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600"/>
                    </a:p>
                  </a:txBody>
                  <a:tcPr marT="0" marB="0">
                    <a:lnL w="12700" cap="flat" cmpd="sng" algn="ctr">
                      <a:noFill/>
                      <a:prstDash val="solid"/>
                      <a:round/>
                      <a:headEnd type="none" w="med" len="med"/>
                      <a:tailEnd type="none" w="med" len="med"/>
                    </a:lnL>
                    <a:lnT w="12700" cap="flat" cmpd="sng" algn="ctr">
                      <a:noFill/>
                      <a:prstDash val="solid"/>
                      <a:round/>
                      <a:headEnd type="none" w="med" len="med"/>
                      <a:tailEnd type="none" w="med" len="med"/>
                    </a:lnT>
                    <a:noFill/>
                  </a:tcPr>
                </a:tc>
                <a:tc>
                  <a:txBody>
                    <a:bodyPr/>
                    <a:lstStyle/>
                    <a:p>
                      <a:endParaRPr lang="en-GB" sz="600"/>
                    </a:p>
                  </a:txBody>
                  <a:tcPr marT="0" marB="0">
                    <a:lnT w="12700" cap="flat" cmpd="sng" algn="ctr">
                      <a:noFill/>
                      <a:prstDash val="solid"/>
                      <a:round/>
                      <a:headEnd type="none" w="med" len="med"/>
                      <a:tailEnd type="none" w="med" len="med"/>
                    </a:lnT>
                    <a:noFill/>
                  </a:tcPr>
                </a:tc>
                <a:tc>
                  <a:txBody>
                    <a:bodyPr/>
                    <a:lstStyle/>
                    <a:p>
                      <a:endParaRPr lang="en-GB" sz="600"/>
                    </a:p>
                  </a:txBody>
                  <a:tcPr marT="0" marB="0">
                    <a:lnT w="12700" cap="flat" cmpd="sng" algn="ctr">
                      <a:noFill/>
                      <a:prstDash val="solid"/>
                      <a:round/>
                      <a:headEnd type="none" w="med" len="med"/>
                      <a:tailEnd type="none" w="med" len="med"/>
                    </a:lnT>
                    <a:noFill/>
                  </a:tcPr>
                </a:tc>
                <a:tc>
                  <a:txBody>
                    <a:bodyPr/>
                    <a:lstStyle/>
                    <a:p>
                      <a:endParaRPr lang="en-GB" sz="600"/>
                    </a:p>
                  </a:txBody>
                  <a:tcPr marT="0" marB="0">
                    <a:lnT w="12700" cap="flat" cmpd="sng" algn="ctr">
                      <a:noFill/>
                      <a:prstDash val="solid"/>
                      <a:round/>
                      <a:headEnd type="none" w="med" len="med"/>
                      <a:tailEnd type="none" w="med" len="med"/>
                    </a:lnT>
                    <a:noFill/>
                  </a:tcPr>
                </a:tc>
                <a:tc>
                  <a:txBody>
                    <a:bodyPr/>
                    <a:lstStyle/>
                    <a:p>
                      <a:endParaRPr lang="en-GB" sz="600"/>
                    </a:p>
                  </a:txBody>
                  <a:tcPr marT="0" marB="0">
                    <a:lnR w="19050" cap="flat" cmpd="sng" algn="ctr">
                      <a:noFill/>
                      <a:prstDash val="solid"/>
                      <a:round/>
                      <a:headEnd type="none" w="med" len="med"/>
                      <a:tailEnd type="none" w="med" len="med"/>
                    </a:lnR>
                    <a:lnT w="12700" cap="flat" cmpd="sng" algn="ctr">
                      <a:noFill/>
                      <a:prstDash val="solid"/>
                      <a:round/>
                      <a:headEnd type="none" w="med" len="med"/>
                      <a:tailEnd type="none" w="med" len="med"/>
                    </a:lnT>
                    <a:noFill/>
                  </a:tcPr>
                </a:tc>
                <a:extLst>
                  <a:ext uri="{0D108BD9-81ED-4DB2-BD59-A6C34878D82A}">
                    <a16:rowId xmlns:a16="http://schemas.microsoft.com/office/drawing/2014/main" val="585836760"/>
                  </a:ext>
                </a:extLst>
              </a:tr>
              <a:tr h="177012">
                <a:tc vMerge="1">
                  <a:txBody>
                    <a:bodyPr/>
                    <a:lstStyle/>
                    <a:p>
                      <a:endParaRPr lang="en-GB"/>
                    </a:p>
                  </a:txBody>
                  <a:tcPr/>
                </a:tc>
                <a:tc>
                  <a:txBody>
                    <a:bodyPr/>
                    <a:lstStyle/>
                    <a:p>
                      <a:endParaRPr lang="en-GB" sz="600"/>
                    </a:p>
                  </a:txBody>
                  <a:tcPr marT="0" marB="0">
                    <a:lnL w="12700" cap="flat" cmpd="sng" algn="ctr">
                      <a:noFill/>
                      <a:prstDash val="solid"/>
                      <a:round/>
                      <a:headEnd type="none" w="med" len="med"/>
                      <a:tailEnd type="none" w="med" len="med"/>
                    </a:lnL>
                    <a:lnB w="12700" cap="flat" cmpd="sng" algn="ctr">
                      <a:noFill/>
                      <a:prstDash val="solid"/>
                      <a:round/>
                      <a:headEnd type="none" w="med" len="med"/>
                      <a:tailEnd type="none" w="med" len="med"/>
                    </a:lnB>
                    <a:noFill/>
                  </a:tcPr>
                </a:tc>
                <a:tc>
                  <a:txBody>
                    <a:bodyPr/>
                    <a:lstStyle/>
                    <a:p>
                      <a:endParaRPr lang="en-GB" sz="600"/>
                    </a:p>
                  </a:txBody>
                  <a:tcPr marT="0" marB="0">
                    <a:lnB w="12700" cap="flat" cmpd="sng" algn="ctr">
                      <a:noFill/>
                      <a:prstDash val="solid"/>
                      <a:round/>
                      <a:headEnd type="none" w="med" len="med"/>
                      <a:tailEnd type="none" w="med" len="med"/>
                    </a:lnB>
                    <a:noFill/>
                  </a:tcPr>
                </a:tc>
                <a:tc>
                  <a:txBody>
                    <a:bodyPr/>
                    <a:lstStyle/>
                    <a:p>
                      <a:endParaRPr lang="en-GB" sz="600"/>
                    </a:p>
                  </a:txBody>
                  <a:tcPr marT="0" marB="0">
                    <a:lnB w="12700" cap="flat" cmpd="sng" algn="ctr">
                      <a:noFill/>
                      <a:prstDash val="solid"/>
                      <a:round/>
                      <a:headEnd type="none" w="med" len="med"/>
                      <a:tailEnd type="none" w="med" len="med"/>
                    </a:lnB>
                    <a:noFill/>
                  </a:tcPr>
                </a:tc>
                <a:tc>
                  <a:txBody>
                    <a:bodyPr/>
                    <a:lstStyle/>
                    <a:p>
                      <a:endParaRPr lang="en-GB" sz="600"/>
                    </a:p>
                  </a:txBody>
                  <a:tcPr marT="0" marB="0">
                    <a:lnB w="12700" cap="flat" cmpd="sng" algn="ctr">
                      <a:noFill/>
                      <a:prstDash val="solid"/>
                      <a:round/>
                      <a:headEnd type="none" w="med" len="med"/>
                      <a:tailEnd type="none" w="med" len="med"/>
                    </a:lnB>
                    <a:noFill/>
                  </a:tcPr>
                </a:tc>
                <a:tc>
                  <a:txBody>
                    <a:bodyPr/>
                    <a:lstStyle/>
                    <a:p>
                      <a:endParaRPr lang="en-GB" sz="600"/>
                    </a:p>
                  </a:txBody>
                  <a:tcPr marT="0" marB="0">
                    <a:lnR w="19050" cap="flat" cmpd="sng" algn="ctr">
                      <a:noFill/>
                      <a:prstDash val="solid"/>
                      <a:round/>
                      <a:headEnd type="none" w="med" len="med"/>
                      <a:tailEnd type="none" w="med" len="med"/>
                    </a:lnR>
                    <a:lnB w="12700" cap="flat" cmpd="sng" algn="ctr">
                      <a:noFill/>
                      <a:prstDash val="solid"/>
                      <a:round/>
                      <a:headEnd type="none" w="med" len="med"/>
                      <a:tailEnd type="none" w="med" len="med"/>
                    </a:lnB>
                    <a:noFill/>
                  </a:tcPr>
                </a:tc>
                <a:extLst>
                  <a:ext uri="{0D108BD9-81ED-4DB2-BD59-A6C34878D82A}">
                    <a16:rowId xmlns:a16="http://schemas.microsoft.com/office/drawing/2014/main" val="4272959030"/>
                  </a:ext>
                </a:extLst>
              </a:tr>
              <a:tr h="177012">
                <a:tc rowSpan="2">
                  <a:txBody>
                    <a:bodyPr/>
                    <a:lstStyle/>
                    <a:p>
                      <a:pPr marL="85725" indent="0"/>
                      <a:r>
                        <a:rPr lang="en-GB" sz="1200" b="0">
                          <a:solidFill>
                            <a:schemeClr val="bg1"/>
                          </a:solidFill>
                        </a:rPr>
                        <a:t>Lithium Markets </a:t>
                      </a:r>
                      <a:r>
                        <a:rPr lang="en-GB" sz="1200" b="0" baseline="30000">
                          <a:solidFill>
                            <a:schemeClr val="bg1"/>
                          </a:solidFill>
                        </a:rPr>
                        <a:t>P</a:t>
                      </a:r>
                      <a:r>
                        <a:rPr lang="en-GB" sz="1200" b="0">
                          <a:solidFill>
                            <a:schemeClr val="bg1"/>
                          </a:solidFill>
                        </a:rPr>
                        <a:t> + Assets </a:t>
                      </a:r>
                    </a:p>
                  </a:txBody>
                  <a:tcPr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600"/>
                    </a:p>
                  </a:txBody>
                  <a:tcPr marT="0" marB="0">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endParaRPr lang="en-GB" sz="600"/>
                    </a:p>
                  </a:txBody>
                  <a:tcPr marT="0" marB="0">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endParaRPr lang="en-GB" sz="600"/>
                    </a:p>
                  </a:txBody>
                  <a:tcPr marT="0" marB="0">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endParaRPr lang="en-GB" sz="600"/>
                    </a:p>
                  </a:txBody>
                  <a:tcPr marT="0" marB="0">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endParaRPr lang="en-GB" sz="600"/>
                    </a:p>
                  </a:txBody>
                  <a:tcPr marT="0" marB="0">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55853612"/>
                  </a:ext>
                </a:extLst>
              </a:tr>
              <a:tr h="177012">
                <a:tc vMerge="1">
                  <a:txBody>
                    <a:bodyPr/>
                    <a:lstStyle/>
                    <a:p>
                      <a:pPr marL="85725" indent="0"/>
                      <a:endParaRPr lang="en-GB" sz="1200" b="0">
                        <a:solidFill>
                          <a:schemeClr val="bg1"/>
                        </a:solidFill>
                      </a:endParaRPr>
                    </a:p>
                  </a:txBody>
                  <a:tcPr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600"/>
                    </a:p>
                  </a:txBody>
                  <a:tcPr marT="0" marB="0">
                    <a:lnL w="12700" cap="flat" cmpd="sng" algn="ctr">
                      <a:noFill/>
                      <a:prstDash val="solid"/>
                      <a:round/>
                      <a:headEnd type="none" w="med" len="med"/>
                      <a:tailEnd type="none" w="med" len="med"/>
                    </a:lnL>
                    <a:lnT w="12700" cap="flat" cmpd="sng" algn="ctr">
                      <a:solidFill>
                        <a:schemeClr val="bg1"/>
                      </a:solidFill>
                      <a:prstDash val="solid"/>
                      <a:round/>
                      <a:headEnd type="none" w="med" len="med"/>
                      <a:tailEnd type="none" w="med" len="med"/>
                    </a:lnT>
                    <a:lnB w="12700" cmpd="sng">
                      <a:noFill/>
                    </a:lnB>
                    <a:noFill/>
                  </a:tcPr>
                </a:tc>
                <a:tc>
                  <a:txBody>
                    <a:bodyPr/>
                    <a:lstStyle/>
                    <a:p>
                      <a:endParaRPr lang="en-GB" sz="600"/>
                    </a:p>
                  </a:txBody>
                  <a:tcPr marT="0" marB="0">
                    <a:lnT w="12700" cap="flat" cmpd="sng" algn="ctr">
                      <a:solidFill>
                        <a:schemeClr val="bg1"/>
                      </a:solidFill>
                      <a:prstDash val="solid"/>
                      <a:round/>
                      <a:headEnd type="none" w="med" len="med"/>
                      <a:tailEnd type="none" w="med" len="med"/>
                    </a:lnT>
                    <a:lnB w="12700" cmpd="sng">
                      <a:noFill/>
                    </a:lnB>
                    <a:noFill/>
                  </a:tcPr>
                </a:tc>
                <a:tc>
                  <a:txBody>
                    <a:bodyPr/>
                    <a:lstStyle/>
                    <a:p>
                      <a:endParaRPr lang="en-GB" sz="600"/>
                    </a:p>
                  </a:txBody>
                  <a:tcPr marT="0" marB="0">
                    <a:lnT w="12700" cap="flat" cmpd="sng" algn="ctr">
                      <a:solidFill>
                        <a:schemeClr val="bg1"/>
                      </a:solidFill>
                      <a:prstDash val="solid"/>
                      <a:round/>
                      <a:headEnd type="none" w="med" len="med"/>
                      <a:tailEnd type="none" w="med" len="med"/>
                    </a:lnT>
                    <a:lnB w="12700" cmpd="sng">
                      <a:noFill/>
                    </a:lnB>
                    <a:noFill/>
                  </a:tcPr>
                </a:tc>
                <a:tc>
                  <a:txBody>
                    <a:bodyPr/>
                    <a:lstStyle/>
                    <a:p>
                      <a:endParaRPr lang="en-GB" sz="600"/>
                    </a:p>
                  </a:txBody>
                  <a:tcPr marT="0" marB="0">
                    <a:lnT w="12700" cap="flat" cmpd="sng" algn="ctr">
                      <a:solidFill>
                        <a:schemeClr val="bg1"/>
                      </a:solidFill>
                      <a:prstDash val="solid"/>
                      <a:round/>
                      <a:headEnd type="none" w="med" len="med"/>
                      <a:tailEnd type="none" w="med" len="med"/>
                    </a:lnT>
                    <a:lnB w="12700" cmpd="sng">
                      <a:noFill/>
                    </a:lnB>
                    <a:noFill/>
                  </a:tcPr>
                </a:tc>
                <a:tc>
                  <a:txBody>
                    <a:bodyPr/>
                    <a:lstStyle/>
                    <a:p>
                      <a:endParaRPr lang="en-GB" sz="600"/>
                    </a:p>
                  </a:txBody>
                  <a:tcPr marT="0" marB="0">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noFill/>
                  </a:tcPr>
                </a:tc>
                <a:extLst>
                  <a:ext uri="{0D108BD9-81ED-4DB2-BD59-A6C34878D82A}">
                    <a16:rowId xmlns:a16="http://schemas.microsoft.com/office/drawing/2014/main" val="1706202549"/>
                  </a:ext>
                </a:extLst>
              </a:tr>
              <a:tr h="177012">
                <a:tc rowSpan="2">
                  <a:txBody>
                    <a:bodyPr/>
                    <a:lstStyle/>
                    <a:p>
                      <a:pPr marL="85725" indent="0"/>
                      <a:r>
                        <a:rPr lang="en-GB" sz="1200" b="0">
                          <a:solidFill>
                            <a:schemeClr val="bg1"/>
                          </a:solidFill>
                        </a:rPr>
                        <a:t>Manganese Markets</a:t>
                      </a:r>
                      <a:r>
                        <a:rPr lang="en-GB" sz="1200" b="0" baseline="30000">
                          <a:solidFill>
                            <a:schemeClr val="bg1"/>
                          </a:solidFill>
                        </a:rPr>
                        <a:t> P</a:t>
                      </a:r>
                      <a:endParaRPr lang="en-GB" sz="1200" b="0">
                        <a:solidFill>
                          <a:schemeClr val="bg1"/>
                        </a:solidFill>
                      </a:endParaRPr>
                    </a:p>
                  </a:txBody>
                  <a:tcPr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600"/>
                    </a:p>
                  </a:txBody>
                  <a:tcPr marT="0" marB="0">
                    <a:lnL w="12700" cap="flat" cmpd="sng" algn="ctr">
                      <a:noFill/>
                      <a:prstDash val="solid"/>
                      <a:round/>
                      <a:headEnd type="none" w="med" len="med"/>
                      <a:tailEnd type="none" w="med" len="med"/>
                    </a:lnL>
                    <a:lnT w="12700" cap="flat" cmpd="sng" algn="ctr">
                      <a:noFill/>
                      <a:prstDash val="solid"/>
                      <a:round/>
                      <a:headEnd type="none" w="med" len="med"/>
                      <a:tailEnd type="none" w="med" len="med"/>
                    </a:lnT>
                    <a:noFill/>
                  </a:tcPr>
                </a:tc>
                <a:tc>
                  <a:txBody>
                    <a:bodyPr/>
                    <a:lstStyle/>
                    <a:p>
                      <a:endParaRPr lang="en-GB" sz="600"/>
                    </a:p>
                  </a:txBody>
                  <a:tcPr marT="0" marB="0">
                    <a:lnT w="12700" cap="flat" cmpd="sng" algn="ctr">
                      <a:noFill/>
                      <a:prstDash val="solid"/>
                      <a:round/>
                      <a:headEnd type="none" w="med" len="med"/>
                      <a:tailEnd type="none" w="med" len="med"/>
                    </a:lnT>
                    <a:noFill/>
                  </a:tcPr>
                </a:tc>
                <a:tc>
                  <a:txBody>
                    <a:bodyPr/>
                    <a:lstStyle/>
                    <a:p>
                      <a:endParaRPr lang="en-GB" sz="600"/>
                    </a:p>
                  </a:txBody>
                  <a:tcPr marT="0" marB="0">
                    <a:lnT w="12700" cap="flat" cmpd="sng" algn="ctr">
                      <a:noFill/>
                      <a:prstDash val="solid"/>
                      <a:round/>
                      <a:headEnd type="none" w="med" len="med"/>
                      <a:tailEnd type="none" w="med" len="med"/>
                    </a:lnT>
                    <a:noFill/>
                  </a:tcPr>
                </a:tc>
                <a:tc>
                  <a:txBody>
                    <a:bodyPr/>
                    <a:lstStyle/>
                    <a:p>
                      <a:endParaRPr lang="en-GB" sz="600"/>
                    </a:p>
                  </a:txBody>
                  <a:tcPr marT="0" marB="0">
                    <a:lnT w="12700" cap="flat" cmpd="sng" algn="ctr">
                      <a:noFill/>
                      <a:prstDash val="solid"/>
                      <a:round/>
                      <a:headEnd type="none" w="med" len="med"/>
                      <a:tailEnd type="none" w="med" len="med"/>
                    </a:lnT>
                    <a:noFill/>
                  </a:tcPr>
                </a:tc>
                <a:tc>
                  <a:txBody>
                    <a:bodyPr/>
                    <a:lstStyle/>
                    <a:p>
                      <a:endParaRPr lang="en-GB" sz="600"/>
                    </a:p>
                  </a:txBody>
                  <a:tcPr marT="0" marB="0">
                    <a:lnR w="19050" cap="flat" cmpd="sng" algn="ctr">
                      <a:noFill/>
                      <a:prstDash val="solid"/>
                      <a:round/>
                      <a:headEnd type="none" w="med" len="med"/>
                      <a:tailEnd type="none" w="med" len="med"/>
                    </a:lnR>
                    <a:lnT w="12700" cap="flat" cmpd="sng" algn="ctr">
                      <a:noFill/>
                      <a:prstDash val="solid"/>
                      <a:round/>
                      <a:headEnd type="none" w="med" len="med"/>
                      <a:tailEnd type="none" w="med" len="med"/>
                    </a:lnT>
                    <a:noFill/>
                  </a:tcPr>
                </a:tc>
                <a:extLst>
                  <a:ext uri="{0D108BD9-81ED-4DB2-BD59-A6C34878D82A}">
                    <a16:rowId xmlns:a16="http://schemas.microsoft.com/office/drawing/2014/main" val="1679437836"/>
                  </a:ext>
                </a:extLst>
              </a:tr>
              <a:tr h="177012">
                <a:tc vMerge="1">
                  <a:txBody>
                    <a:bodyPr/>
                    <a:lstStyle/>
                    <a:p>
                      <a:endParaRPr lang="en-GB"/>
                    </a:p>
                  </a:txBody>
                  <a:tcPr/>
                </a:tc>
                <a:tc>
                  <a:txBody>
                    <a:bodyPr/>
                    <a:lstStyle/>
                    <a:p>
                      <a:endParaRPr lang="en-GB" sz="600"/>
                    </a:p>
                  </a:txBody>
                  <a:tcPr marT="0" marB="0">
                    <a:lnL w="12700" cap="flat" cmpd="sng" algn="ctr">
                      <a:noFill/>
                      <a:prstDash val="solid"/>
                      <a:round/>
                      <a:headEnd type="none" w="med" len="med"/>
                      <a:tailEnd type="none" w="med" len="med"/>
                    </a:lnL>
                    <a:lnB w="12700" cap="flat" cmpd="sng" algn="ctr">
                      <a:noFill/>
                      <a:prstDash val="solid"/>
                      <a:round/>
                      <a:headEnd type="none" w="med" len="med"/>
                      <a:tailEnd type="none" w="med" len="med"/>
                    </a:lnB>
                    <a:noFill/>
                  </a:tcPr>
                </a:tc>
                <a:tc>
                  <a:txBody>
                    <a:bodyPr/>
                    <a:lstStyle/>
                    <a:p>
                      <a:endParaRPr lang="en-GB" sz="600"/>
                    </a:p>
                  </a:txBody>
                  <a:tcPr marT="0" marB="0">
                    <a:lnB w="12700" cap="flat" cmpd="sng" algn="ctr">
                      <a:noFill/>
                      <a:prstDash val="solid"/>
                      <a:round/>
                      <a:headEnd type="none" w="med" len="med"/>
                      <a:tailEnd type="none" w="med" len="med"/>
                    </a:lnB>
                    <a:noFill/>
                  </a:tcPr>
                </a:tc>
                <a:tc>
                  <a:txBody>
                    <a:bodyPr/>
                    <a:lstStyle/>
                    <a:p>
                      <a:endParaRPr lang="en-GB" sz="600"/>
                    </a:p>
                  </a:txBody>
                  <a:tcPr marT="0" marB="0">
                    <a:lnB w="12700" cap="flat" cmpd="sng" algn="ctr">
                      <a:noFill/>
                      <a:prstDash val="solid"/>
                      <a:round/>
                      <a:headEnd type="none" w="med" len="med"/>
                      <a:tailEnd type="none" w="med" len="med"/>
                    </a:lnB>
                    <a:noFill/>
                  </a:tcPr>
                </a:tc>
                <a:tc>
                  <a:txBody>
                    <a:bodyPr/>
                    <a:lstStyle/>
                    <a:p>
                      <a:endParaRPr lang="en-GB" sz="600"/>
                    </a:p>
                  </a:txBody>
                  <a:tcPr marT="0" marB="0">
                    <a:lnB w="12700" cap="flat" cmpd="sng" algn="ctr">
                      <a:noFill/>
                      <a:prstDash val="solid"/>
                      <a:round/>
                      <a:headEnd type="none" w="med" len="med"/>
                      <a:tailEnd type="none" w="med" len="med"/>
                    </a:lnB>
                    <a:noFill/>
                  </a:tcPr>
                </a:tc>
                <a:tc>
                  <a:txBody>
                    <a:bodyPr/>
                    <a:lstStyle/>
                    <a:p>
                      <a:endParaRPr lang="en-GB" sz="600"/>
                    </a:p>
                  </a:txBody>
                  <a:tcPr marT="0" marB="0">
                    <a:lnR w="19050" cap="flat" cmpd="sng" algn="ctr">
                      <a:noFill/>
                      <a:prstDash val="solid"/>
                      <a:round/>
                      <a:headEnd type="none" w="med" len="med"/>
                      <a:tailEnd type="none" w="med" len="med"/>
                    </a:lnR>
                    <a:lnB w="12700" cap="flat" cmpd="sng" algn="ctr">
                      <a:noFill/>
                      <a:prstDash val="solid"/>
                      <a:round/>
                      <a:headEnd type="none" w="med" len="med"/>
                      <a:tailEnd type="none" w="med" len="med"/>
                    </a:lnB>
                    <a:noFill/>
                  </a:tcPr>
                </a:tc>
                <a:extLst>
                  <a:ext uri="{0D108BD9-81ED-4DB2-BD59-A6C34878D82A}">
                    <a16:rowId xmlns:a16="http://schemas.microsoft.com/office/drawing/2014/main" val="2367424888"/>
                  </a:ext>
                </a:extLst>
              </a:tr>
              <a:tr h="177012">
                <a:tc rowSpan="2">
                  <a:txBody>
                    <a:bodyPr/>
                    <a:lstStyle/>
                    <a:p>
                      <a:pPr marL="85725" indent="0"/>
                      <a:r>
                        <a:rPr lang="en-GB" sz="1200" b="0">
                          <a:solidFill>
                            <a:schemeClr val="bg1"/>
                          </a:solidFill>
                        </a:rPr>
                        <a:t>Nickel Markets </a:t>
                      </a:r>
                      <a:r>
                        <a:rPr lang="en-GB" sz="1200" b="0" baseline="30000">
                          <a:solidFill>
                            <a:schemeClr val="bg1"/>
                          </a:solidFill>
                        </a:rPr>
                        <a:t>C P </a:t>
                      </a:r>
                      <a:r>
                        <a:rPr lang="en-GB" sz="1200" b="0">
                          <a:solidFill>
                            <a:schemeClr val="bg1"/>
                          </a:solidFill>
                        </a:rPr>
                        <a:t>+ Assets + Emissions</a:t>
                      </a:r>
                    </a:p>
                  </a:txBody>
                  <a:tcPr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600"/>
                    </a:p>
                  </a:txBody>
                  <a:tcPr marT="0" marB="0">
                    <a:lnL w="12700" cap="flat" cmpd="sng" algn="ctr">
                      <a:noFill/>
                      <a:prstDash val="solid"/>
                      <a:round/>
                      <a:headEnd type="none" w="med" len="med"/>
                      <a:tailEnd type="none" w="med" len="med"/>
                    </a:lnL>
                    <a:lnT w="12700" cap="flat" cmpd="sng" algn="ctr">
                      <a:noFill/>
                      <a:prstDash val="solid"/>
                      <a:round/>
                      <a:headEnd type="none" w="med" len="med"/>
                      <a:tailEnd type="none" w="med" len="med"/>
                    </a:lnT>
                    <a:noFill/>
                  </a:tcPr>
                </a:tc>
                <a:tc>
                  <a:txBody>
                    <a:bodyPr/>
                    <a:lstStyle/>
                    <a:p>
                      <a:endParaRPr lang="en-GB" sz="600"/>
                    </a:p>
                  </a:txBody>
                  <a:tcPr marT="0" marB="0">
                    <a:lnT w="12700" cap="flat" cmpd="sng" algn="ctr">
                      <a:noFill/>
                      <a:prstDash val="solid"/>
                      <a:round/>
                      <a:headEnd type="none" w="med" len="med"/>
                      <a:tailEnd type="none" w="med" len="med"/>
                    </a:lnT>
                    <a:noFill/>
                  </a:tcPr>
                </a:tc>
                <a:tc>
                  <a:txBody>
                    <a:bodyPr/>
                    <a:lstStyle/>
                    <a:p>
                      <a:endParaRPr lang="en-GB" sz="600"/>
                    </a:p>
                  </a:txBody>
                  <a:tcPr marT="0" marB="0">
                    <a:lnT w="12700" cap="flat" cmpd="sng" algn="ctr">
                      <a:noFill/>
                      <a:prstDash val="solid"/>
                      <a:round/>
                      <a:headEnd type="none" w="med" len="med"/>
                      <a:tailEnd type="none" w="med" len="med"/>
                    </a:lnT>
                    <a:noFill/>
                  </a:tcPr>
                </a:tc>
                <a:tc>
                  <a:txBody>
                    <a:bodyPr/>
                    <a:lstStyle/>
                    <a:p>
                      <a:endParaRPr lang="en-GB" sz="600"/>
                    </a:p>
                  </a:txBody>
                  <a:tcPr marT="0" marB="0">
                    <a:lnT w="12700" cap="flat" cmpd="sng" algn="ctr">
                      <a:noFill/>
                      <a:prstDash val="solid"/>
                      <a:round/>
                      <a:headEnd type="none" w="med" len="med"/>
                      <a:tailEnd type="none" w="med" len="med"/>
                    </a:lnT>
                    <a:noFill/>
                  </a:tcPr>
                </a:tc>
                <a:tc>
                  <a:txBody>
                    <a:bodyPr/>
                    <a:lstStyle/>
                    <a:p>
                      <a:endParaRPr lang="en-GB" sz="600"/>
                    </a:p>
                  </a:txBody>
                  <a:tcPr marT="0" marB="0">
                    <a:lnR w="19050" cap="flat" cmpd="sng" algn="ctr">
                      <a:noFill/>
                      <a:prstDash val="solid"/>
                      <a:round/>
                      <a:headEnd type="none" w="med" len="med"/>
                      <a:tailEnd type="none" w="med" len="med"/>
                    </a:lnR>
                    <a:lnT w="12700" cap="flat" cmpd="sng" algn="ctr">
                      <a:noFill/>
                      <a:prstDash val="solid"/>
                      <a:round/>
                      <a:headEnd type="none" w="med" len="med"/>
                      <a:tailEnd type="none" w="med" len="med"/>
                    </a:lnT>
                    <a:noFill/>
                  </a:tcPr>
                </a:tc>
                <a:extLst>
                  <a:ext uri="{0D108BD9-81ED-4DB2-BD59-A6C34878D82A}">
                    <a16:rowId xmlns:a16="http://schemas.microsoft.com/office/drawing/2014/main" val="1390427953"/>
                  </a:ext>
                </a:extLst>
              </a:tr>
              <a:tr h="177012">
                <a:tc vMerge="1">
                  <a:txBody>
                    <a:bodyPr/>
                    <a:lstStyle/>
                    <a:p>
                      <a:endParaRPr lang="en-GB"/>
                    </a:p>
                  </a:txBody>
                  <a:tcPr/>
                </a:tc>
                <a:tc>
                  <a:txBody>
                    <a:bodyPr/>
                    <a:lstStyle/>
                    <a:p>
                      <a:endParaRPr lang="en-GB" sz="600"/>
                    </a:p>
                  </a:txBody>
                  <a:tcPr marT="0" marB="0">
                    <a:lnL w="12700" cap="flat" cmpd="sng" algn="ctr">
                      <a:noFill/>
                      <a:prstDash val="solid"/>
                      <a:round/>
                      <a:headEnd type="none" w="med" len="med"/>
                      <a:tailEnd type="none" w="med" len="med"/>
                    </a:lnL>
                    <a:lnB w="12700" cap="flat" cmpd="sng" algn="ctr">
                      <a:noFill/>
                      <a:prstDash val="solid"/>
                      <a:round/>
                      <a:headEnd type="none" w="med" len="med"/>
                      <a:tailEnd type="none" w="med" len="med"/>
                    </a:lnB>
                    <a:noFill/>
                  </a:tcPr>
                </a:tc>
                <a:tc>
                  <a:txBody>
                    <a:bodyPr/>
                    <a:lstStyle/>
                    <a:p>
                      <a:endParaRPr lang="en-GB" sz="600"/>
                    </a:p>
                  </a:txBody>
                  <a:tcPr marT="0" marB="0">
                    <a:lnB w="12700" cap="flat" cmpd="sng" algn="ctr">
                      <a:noFill/>
                      <a:prstDash val="solid"/>
                      <a:round/>
                      <a:headEnd type="none" w="med" len="med"/>
                      <a:tailEnd type="none" w="med" len="med"/>
                    </a:lnB>
                    <a:noFill/>
                  </a:tcPr>
                </a:tc>
                <a:tc>
                  <a:txBody>
                    <a:bodyPr/>
                    <a:lstStyle/>
                    <a:p>
                      <a:endParaRPr lang="en-GB" sz="600"/>
                    </a:p>
                  </a:txBody>
                  <a:tcPr marT="0" marB="0">
                    <a:lnB w="12700" cap="flat" cmpd="sng" algn="ctr">
                      <a:noFill/>
                      <a:prstDash val="solid"/>
                      <a:round/>
                      <a:headEnd type="none" w="med" len="med"/>
                      <a:tailEnd type="none" w="med" len="med"/>
                    </a:lnB>
                    <a:noFill/>
                  </a:tcPr>
                </a:tc>
                <a:tc>
                  <a:txBody>
                    <a:bodyPr/>
                    <a:lstStyle/>
                    <a:p>
                      <a:endParaRPr lang="en-GB" sz="600"/>
                    </a:p>
                  </a:txBody>
                  <a:tcPr marT="0" marB="0">
                    <a:lnB w="12700" cap="flat" cmpd="sng" algn="ctr">
                      <a:noFill/>
                      <a:prstDash val="solid"/>
                      <a:round/>
                      <a:headEnd type="none" w="med" len="med"/>
                      <a:tailEnd type="none" w="med" len="med"/>
                    </a:lnB>
                    <a:noFill/>
                  </a:tcPr>
                </a:tc>
                <a:tc>
                  <a:txBody>
                    <a:bodyPr/>
                    <a:lstStyle/>
                    <a:p>
                      <a:endParaRPr lang="en-GB" sz="600"/>
                    </a:p>
                  </a:txBody>
                  <a:tcPr marT="0" marB="0">
                    <a:lnR w="19050" cap="flat" cmpd="sng" algn="ctr">
                      <a:noFill/>
                      <a:prstDash val="solid"/>
                      <a:round/>
                      <a:headEnd type="none" w="med" len="med"/>
                      <a:tailEnd type="none" w="med" len="med"/>
                    </a:lnR>
                    <a:lnB w="12700" cap="flat" cmpd="sng" algn="ctr">
                      <a:noFill/>
                      <a:prstDash val="solid"/>
                      <a:round/>
                      <a:headEnd type="none" w="med" len="med"/>
                      <a:tailEnd type="none" w="med" len="med"/>
                    </a:lnB>
                    <a:noFill/>
                  </a:tcPr>
                </a:tc>
                <a:extLst>
                  <a:ext uri="{0D108BD9-81ED-4DB2-BD59-A6C34878D82A}">
                    <a16:rowId xmlns:a16="http://schemas.microsoft.com/office/drawing/2014/main" val="3881178252"/>
                  </a:ext>
                </a:extLst>
              </a:tr>
              <a:tr h="177012">
                <a:tc rowSpan="2">
                  <a:txBody>
                    <a:bodyPr/>
                    <a:lstStyle/>
                    <a:p>
                      <a:pPr marL="85725" marR="0" lvl="0" indent="0" algn="l" defTabSz="914400" rtl="0" eaLnBrk="1" fontAlgn="auto" latinLnBrk="0" hangingPunct="1">
                        <a:lnSpc>
                          <a:spcPct val="100000"/>
                        </a:lnSpc>
                        <a:spcBef>
                          <a:spcPts val="0"/>
                        </a:spcBef>
                        <a:spcAft>
                          <a:spcPts val="0"/>
                        </a:spcAft>
                        <a:buClrTx/>
                        <a:buSzTx/>
                        <a:buFontTx/>
                        <a:buNone/>
                        <a:tabLst/>
                        <a:defRPr/>
                      </a:pPr>
                      <a:r>
                        <a:rPr lang="en-GB" sz="1200" b="0">
                          <a:solidFill>
                            <a:schemeClr val="bg1"/>
                          </a:solidFill>
                        </a:rPr>
                        <a:t>Specialty Phosphate Markets</a:t>
                      </a:r>
                      <a:r>
                        <a:rPr lang="en-GB" sz="1200" b="0" baseline="30000">
                          <a:solidFill>
                            <a:schemeClr val="bg1"/>
                          </a:solidFill>
                        </a:rPr>
                        <a:t> P</a:t>
                      </a:r>
                      <a:endParaRPr lang="en-GB" sz="1200" b="0">
                        <a:solidFill>
                          <a:schemeClr val="bg1"/>
                        </a:solidFill>
                      </a:endParaRPr>
                    </a:p>
                  </a:txBody>
                  <a:tcPr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600"/>
                    </a:p>
                  </a:txBody>
                  <a:tcPr marT="0" marB="0">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endParaRPr lang="en-GB" sz="600"/>
                    </a:p>
                  </a:txBody>
                  <a:tcPr marT="0" marB="0">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endParaRPr lang="en-GB" sz="600"/>
                    </a:p>
                  </a:txBody>
                  <a:tcPr marT="0" marB="0">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endParaRPr lang="en-GB" sz="600"/>
                    </a:p>
                  </a:txBody>
                  <a:tcPr marT="0" marB="0">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endParaRPr lang="en-GB" sz="600"/>
                    </a:p>
                  </a:txBody>
                  <a:tcPr marT="0" marB="0">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271987763"/>
                  </a:ext>
                </a:extLst>
              </a:tr>
              <a:tr h="177012">
                <a:tc vMerge="1">
                  <a:txBody>
                    <a:bodyPr/>
                    <a:lstStyle/>
                    <a:p>
                      <a:pPr marL="85725" indent="0"/>
                      <a:endParaRPr lang="en-GB" sz="1200" b="0">
                        <a:solidFill>
                          <a:schemeClr val="bg1"/>
                        </a:solidFill>
                      </a:endParaRPr>
                    </a:p>
                  </a:txBody>
                  <a:tcPr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600"/>
                    </a:p>
                  </a:txBody>
                  <a:tcPr marT="0" marB="0">
                    <a:lnL w="12700" cap="flat" cmpd="sng" algn="ctr">
                      <a:noFill/>
                      <a:prstDash val="solid"/>
                      <a:round/>
                      <a:headEnd type="none" w="med" len="med"/>
                      <a:tailEnd type="none" w="med" len="med"/>
                    </a:lnL>
                    <a:lnT w="12700" cap="flat" cmpd="sng" algn="ctr">
                      <a:solidFill>
                        <a:schemeClr val="bg1"/>
                      </a:solidFill>
                      <a:prstDash val="solid"/>
                      <a:round/>
                      <a:headEnd type="none" w="med" len="med"/>
                      <a:tailEnd type="none" w="med" len="med"/>
                    </a:lnT>
                    <a:lnB w="12700" cmpd="sng">
                      <a:noFill/>
                    </a:lnB>
                    <a:noFill/>
                  </a:tcPr>
                </a:tc>
                <a:tc>
                  <a:txBody>
                    <a:bodyPr/>
                    <a:lstStyle/>
                    <a:p>
                      <a:endParaRPr lang="en-GB" sz="600"/>
                    </a:p>
                  </a:txBody>
                  <a:tcPr marT="0" marB="0">
                    <a:lnT w="12700" cap="flat" cmpd="sng" algn="ctr">
                      <a:solidFill>
                        <a:schemeClr val="bg1"/>
                      </a:solidFill>
                      <a:prstDash val="solid"/>
                      <a:round/>
                      <a:headEnd type="none" w="med" len="med"/>
                      <a:tailEnd type="none" w="med" len="med"/>
                    </a:lnT>
                    <a:lnB w="12700" cmpd="sng">
                      <a:noFill/>
                    </a:lnB>
                    <a:noFill/>
                  </a:tcPr>
                </a:tc>
                <a:tc>
                  <a:txBody>
                    <a:bodyPr/>
                    <a:lstStyle/>
                    <a:p>
                      <a:endParaRPr lang="en-GB" sz="600"/>
                    </a:p>
                  </a:txBody>
                  <a:tcPr marT="0" marB="0">
                    <a:lnT w="12700" cap="flat" cmpd="sng" algn="ctr">
                      <a:solidFill>
                        <a:schemeClr val="bg1"/>
                      </a:solidFill>
                      <a:prstDash val="solid"/>
                      <a:round/>
                      <a:headEnd type="none" w="med" len="med"/>
                      <a:tailEnd type="none" w="med" len="med"/>
                    </a:lnT>
                    <a:lnB w="12700" cmpd="sng">
                      <a:noFill/>
                    </a:lnB>
                    <a:noFill/>
                  </a:tcPr>
                </a:tc>
                <a:tc>
                  <a:txBody>
                    <a:bodyPr/>
                    <a:lstStyle/>
                    <a:p>
                      <a:endParaRPr lang="en-GB" sz="600"/>
                    </a:p>
                  </a:txBody>
                  <a:tcPr marT="0" marB="0">
                    <a:lnT w="12700" cap="flat" cmpd="sng" algn="ctr">
                      <a:solidFill>
                        <a:schemeClr val="bg1"/>
                      </a:solidFill>
                      <a:prstDash val="solid"/>
                      <a:round/>
                      <a:headEnd type="none" w="med" len="med"/>
                      <a:tailEnd type="none" w="med" len="med"/>
                    </a:lnT>
                    <a:lnB w="12700" cmpd="sng">
                      <a:noFill/>
                    </a:lnB>
                    <a:noFill/>
                  </a:tcPr>
                </a:tc>
                <a:tc>
                  <a:txBody>
                    <a:bodyPr/>
                    <a:lstStyle/>
                    <a:p>
                      <a:endParaRPr lang="en-GB" sz="600"/>
                    </a:p>
                  </a:txBody>
                  <a:tcPr marT="0" marB="0">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noFill/>
                  </a:tcPr>
                </a:tc>
                <a:extLst>
                  <a:ext uri="{0D108BD9-81ED-4DB2-BD59-A6C34878D82A}">
                    <a16:rowId xmlns:a16="http://schemas.microsoft.com/office/drawing/2014/main" val="3159488396"/>
                  </a:ext>
                </a:extLst>
              </a:tr>
              <a:tr h="177012">
                <a:tc rowSpan="2">
                  <a:txBody>
                    <a:bodyPr/>
                    <a:lstStyle/>
                    <a:p>
                      <a:pPr marL="85725" marR="0" lvl="0" indent="0" algn="l" defTabSz="914400" rtl="0" eaLnBrk="1" fontAlgn="auto" latinLnBrk="0" hangingPunct="1">
                        <a:lnSpc>
                          <a:spcPct val="100000"/>
                        </a:lnSpc>
                        <a:spcBef>
                          <a:spcPts val="0"/>
                        </a:spcBef>
                        <a:spcAft>
                          <a:spcPts val="0"/>
                        </a:spcAft>
                        <a:buClrTx/>
                        <a:buSzTx/>
                        <a:buFontTx/>
                        <a:buNone/>
                        <a:tabLst/>
                        <a:defRPr/>
                      </a:pPr>
                      <a:r>
                        <a:rPr lang="en-GB" sz="1200" b="0">
                          <a:solidFill>
                            <a:schemeClr val="bg1"/>
                          </a:solidFill>
                        </a:rPr>
                        <a:t>Silicon Metal Markets </a:t>
                      </a:r>
                      <a:r>
                        <a:rPr lang="en-GB" sz="1200" b="0" baseline="30000">
                          <a:solidFill>
                            <a:schemeClr val="bg1"/>
                          </a:solidFill>
                        </a:rPr>
                        <a:t>P</a:t>
                      </a:r>
                      <a:endParaRPr lang="en-GB" sz="1200" b="0">
                        <a:solidFill>
                          <a:schemeClr val="bg1"/>
                        </a:solidFill>
                      </a:endParaRPr>
                    </a:p>
                  </a:txBody>
                  <a:tcPr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600"/>
                    </a:p>
                  </a:txBody>
                  <a:tcPr marT="0" marB="0">
                    <a:lnL w="12700" cap="flat" cmpd="sng" algn="ctr">
                      <a:noFill/>
                      <a:prstDash val="solid"/>
                      <a:round/>
                      <a:headEnd type="none" w="med" len="med"/>
                      <a:tailEnd type="none" w="med" len="med"/>
                    </a:lnL>
                    <a:lnT w="12700" cap="flat" cmpd="sng" algn="ctr">
                      <a:noFill/>
                      <a:prstDash val="solid"/>
                      <a:round/>
                      <a:headEnd type="none" w="med" len="med"/>
                      <a:tailEnd type="none" w="med" len="med"/>
                    </a:lnT>
                    <a:noFill/>
                  </a:tcPr>
                </a:tc>
                <a:tc>
                  <a:txBody>
                    <a:bodyPr/>
                    <a:lstStyle/>
                    <a:p>
                      <a:endParaRPr lang="en-GB" sz="600"/>
                    </a:p>
                  </a:txBody>
                  <a:tcPr marT="0" marB="0">
                    <a:lnT w="12700" cap="flat" cmpd="sng" algn="ctr">
                      <a:noFill/>
                      <a:prstDash val="solid"/>
                      <a:round/>
                      <a:headEnd type="none" w="med" len="med"/>
                      <a:tailEnd type="none" w="med" len="med"/>
                    </a:lnT>
                    <a:noFill/>
                  </a:tcPr>
                </a:tc>
                <a:tc>
                  <a:txBody>
                    <a:bodyPr/>
                    <a:lstStyle/>
                    <a:p>
                      <a:endParaRPr lang="en-GB" sz="600"/>
                    </a:p>
                  </a:txBody>
                  <a:tcPr marT="0" marB="0">
                    <a:lnT w="12700" cap="flat" cmpd="sng" algn="ctr">
                      <a:noFill/>
                      <a:prstDash val="solid"/>
                      <a:round/>
                      <a:headEnd type="none" w="med" len="med"/>
                      <a:tailEnd type="none" w="med" len="med"/>
                    </a:lnT>
                    <a:noFill/>
                  </a:tcPr>
                </a:tc>
                <a:tc>
                  <a:txBody>
                    <a:bodyPr/>
                    <a:lstStyle/>
                    <a:p>
                      <a:endParaRPr lang="en-GB" sz="600"/>
                    </a:p>
                  </a:txBody>
                  <a:tcPr marT="0" marB="0">
                    <a:lnT w="12700" cap="flat" cmpd="sng" algn="ctr">
                      <a:noFill/>
                      <a:prstDash val="solid"/>
                      <a:round/>
                      <a:headEnd type="none" w="med" len="med"/>
                      <a:tailEnd type="none" w="med" len="med"/>
                    </a:lnT>
                    <a:noFill/>
                  </a:tcPr>
                </a:tc>
                <a:tc>
                  <a:txBody>
                    <a:bodyPr/>
                    <a:lstStyle/>
                    <a:p>
                      <a:endParaRPr lang="en-GB" sz="600"/>
                    </a:p>
                  </a:txBody>
                  <a:tcPr marT="0" marB="0">
                    <a:lnR w="19050" cap="flat" cmpd="sng" algn="ctr">
                      <a:noFill/>
                      <a:prstDash val="solid"/>
                      <a:round/>
                      <a:headEnd type="none" w="med" len="med"/>
                      <a:tailEnd type="none" w="med" len="med"/>
                    </a:lnR>
                    <a:lnT w="12700" cap="flat" cmpd="sng" algn="ctr">
                      <a:noFill/>
                      <a:prstDash val="solid"/>
                      <a:round/>
                      <a:headEnd type="none" w="med" len="med"/>
                      <a:tailEnd type="none" w="med" len="med"/>
                    </a:lnT>
                    <a:noFill/>
                  </a:tcPr>
                </a:tc>
                <a:extLst>
                  <a:ext uri="{0D108BD9-81ED-4DB2-BD59-A6C34878D82A}">
                    <a16:rowId xmlns:a16="http://schemas.microsoft.com/office/drawing/2014/main" val="3982626692"/>
                  </a:ext>
                </a:extLst>
              </a:tr>
              <a:tr h="177012">
                <a:tc vMerge="1">
                  <a:txBody>
                    <a:bodyPr/>
                    <a:lstStyle/>
                    <a:p>
                      <a:endParaRPr lang="en-GB"/>
                    </a:p>
                  </a:txBody>
                  <a:tcPr/>
                </a:tc>
                <a:tc>
                  <a:txBody>
                    <a:bodyPr/>
                    <a:lstStyle/>
                    <a:p>
                      <a:endParaRPr lang="en-GB" sz="600"/>
                    </a:p>
                  </a:txBody>
                  <a:tcPr marT="0" marB="0">
                    <a:lnL w="12700" cap="flat" cmpd="sng" algn="ctr">
                      <a:noFill/>
                      <a:prstDash val="solid"/>
                      <a:round/>
                      <a:headEnd type="none" w="med" len="med"/>
                      <a:tailEnd type="none" w="med" len="med"/>
                    </a:lnL>
                    <a:lnB w="12700" cap="flat" cmpd="sng" algn="ctr">
                      <a:noFill/>
                      <a:prstDash val="solid"/>
                      <a:round/>
                      <a:headEnd type="none" w="med" len="med"/>
                      <a:tailEnd type="none" w="med" len="med"/>
                    </a:lnB>
                    <a:noFill/>
                  </a:tcPr>
                </a:tc>
                <a:tc>
                  <a:txBody>
                    <a:bodyPr/>
                    <a:lstStyle/>
                    <a:p>
                      <a:endParaRPr lang="en-GB" sz="600"/>
                    </a:p>
                  </a:txBody>
                  <a:tcPr marT="0" marB="0">
                    <a:lnB w="12700" cap="flat" cmpd="sng" algn="ctr">
                      <a:noFill/>
                      <a:prstDash val="solid"/>
                      <a:round/>
                      <a:headEnd type="none" w="med" len="med"/>
                      <a:tailEnd type="none" w="med" len="med"/>
                    </a:lnB>
                    <a:noFill/>
                  </a:tcPr>
                </a:tc>
                <a:tc>
                  <a:txBody>
                    <a:bodyPr/>
                    <a:lstStyle/>
                    <a:p>
                      <a:endParaRPr lang="en-GB" sz="600"/>
                    </a:p>
                  </a:txBody>
                  <a:tcPr marT="0" marB="0">
                    <a:lnB w="12700" cap="flat" cmpd="sng" algn="ctr">
                      <a:noFill/>
                      <a:prstDash val="solid"/>
                      <a:round/>
                      <a:headEnd type="none" w="med" len="med"/>
                      <a:tailEnd type="none" w="med" len="med"/>
                    </a:lnB>
                    <a:noFill/>
                  </a:tcPr>
                </a:tc>
                <a:tc>
                  <a:txBody>
                    <a:bodyPr/>
                    <a:lstStyle/>
                    <a:p>
                      <a:endParaRPr lang="en-GB" sz="600"/>
                    </a:p>
                  </a:txBody>
                  <a:tcPr marT="0" marB="0">
                    <a:lnB w="12700" cap="flat" cmpd="sng" algn="ctr">
                      <a:noFill/>
                      <a:prstDash val="solid"/>
                      <a:round/>
                      <a:headEnd type="none" w="med" len="med"/>
                      <a:tailEnd type="none" w="med" len="med"/>
                    </a:lnB>
                    <a:noFill/>
                  </a:tcPr>
                </a:tc>
                <a:tc>
                  <a:txBody>
                    <a:bodyPr/>
                    <a:lstStyle/>
                    <a:p>
                      <a:endParaRPr lang="en-GB" sz="600"/>
                    </a:p>
                  </a:txBody>
                  <a:tcPr marT="0" marB="0">
                    <a:lnR w="19050" cap="flat" cmpd="sng" algn="ctr">
                      <a:noFill/>
                      <a:prstDash val="solid"/>
                      <a:round/>
                      <a:headEnd type="none" w="med" len="med"/>
                      <a:tailEnd type="none" w="med" len="med"/>
                    </a:lnR>
                    <a:lnB w="12700" cap="flat" cmpd="sng" algn="ctr">
                      <a:noFill/>
                      <a:prstDash val="solid"/>
                      <a:round/>
                      <a:headEnd type="none" w="med" len="med"/>
                      <a:tailEnd type="none" w="med" len="med"/>
                    </a:lnB>
                    <a:noFill/>
                  </a:tcPr>
                </a:tc>
                <a:extLst>
                  <a:ext uri="{0D108BD9-81ED-4DB2-BD59-A6C34878D82A}">
                    <a16:rowId xmlns:a16="http://schemas.microsoft.com/office/drawing/2014/main" val="742898141"/>
                  </a:ext>
                </a:extLst>
              </a:tr>
              <a:tr h="177012">
                <a:tc rowSpan="2">
                  <a:txBody>
                    <a:bodyPr/>
                    <a:lstStyle/>
                    <a:p>
                      <a:pPr marL="85725" marR="0" lvl="0" indent="0" algn="l" defTabSz="914400" rtl="0" eaLnBrk="1" fontAlgn="auto" latinLnBrk="0" hangingPunct="1">
                        <a:lnSpc>
                          <a:spcPct val="100000"/>
                        </a:lnSpc>
                        <a:spcBef>
                          <a:spcPts val="0"/>
                        </a:spcBef>
                        <a:spcAft>
                          <a:spcPts val="0"/>
                        </a:spcAft>
                        <a:buClrTx/>
                        <a:buSzTx/>
                        <a:buFontTx/>
                        <a:buNone/>
                        <a:tabLst/>
                        <a:defRPr/>
                      </a:pPr>
                      <a:r>
                        <a:rPr lang="en-GB" sz="1200" b="0">
                          <a:solidFill>
                            <a:schemeClr val="bg1"/>
                          </a:solidFill>
                        </a:rPr>
                        <a:t>Battery Value Chain </a:t>
                      </a:r>
                      <a:r>
                        <a:rPr lang="en-GB" sz="1200" b="0" baseline="30000">
                          <a:solidFill>
                            <a:schemeClr val="bg1"/>
                          </a:solidFill>
                        </a:rPr>
                        <a:t>C P</a:t>
                      </a:r>
                      <a:endParaRPr lang="en-GB" sz="1200" b="0">
                        <a:solidFill>
                          <a:schemeClr val="bg1"/>
                        </a:solidFill>
                      </a:endParaRPr>
                    </a:p>
                  </a:txBody>
                  <a:tcPr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600"/>
                    </a:p>
                  </a:txBody>
                  <a:tcPr marT="0" marB="0">
                    <a:lnL w="12700" cap="flat" cmpd="sng" algn="ctr">
                      <a:noFill/>
                      <a:prstDash val="solid"/>
                      <a:round/>
                      <a:headEnd type="none" w="med" len="med"/>
                      <a:tailEnd type="none" w="med" len="med"/>
                    </a:lnL>
                    <a:lnT w="12700" cap="flat" cmpd="sng" algn="ctr">
                      <a:noFill/>
                      <a:prstDash val="solid"/>
                      <a:round/>
                      <a:headEnd type="none" w="med" len="med"/>
                      <a:tailEnd type="none" w="med" len="med"/>
                    </a:lnT>
                    <a:noFill/>
                  </a:tcPr>
                </a:tc>
                <a:tc>
                  <a:txBody>
                    <a:bodyPr/>
                    <a:lstStyle/>
                    <a:p>
                      <a:endParaRPr lang="en-GB" sz="600"/>
                    </a:p>
                  </a:txBody>
                  <a:tcPr marT="0" marB="0">
                    <a:lnT w="12700" cap="flat" cmpd="sng" algn="ctr">
                      <a:noFill/>
                      <a:prstDash val="solid"/>
                      <a:round/>
                      <a:headEnd type="none" w="med" len="med"/>
                      <a:tailEnd type="none" w="med" len="med"/>
                    </a:lnT>
                    <a:noFill/>
                  </a:tcPr>
                </a:tc>
                <a:tc>
                  <a:txBody>
                    <a:bodyPr/>
                    <a:lstStyle/>
                    <a:p>
                      <a:endParaRPr lang="en-GB" sz="600"/>
                    </a:p>
                  </a:txBody>
                  <a:tcPr marT="0" marB="0">
                    <a:lnT w="12700" cap="flat" cmpd="sng" algn="ctr">
                      <a:noFill/>
                      <a:prstDash val="solid"/>
                      <a:round/>
                      <a:headEnd type="none" w="med" len="med"/>
                      <a:tailEnd type="none" w="med" len="med"/>
                    </a:lnT>
                    <a:noFill/>
                  </a:tcPr>
                </a:tc>
                <a:tc>
                  <a:txBody>
                    <a:bodyPr/>
                    <a:lstStyle/>
                    <a:p>
                      <a:endParaRPr lang="en-GB" sz="600"/>
                    </a:p>
                  </a:txBody>
                  <a:tcPr marT="0" marB="0">
                    <a:lnT w="12700" cap="flat" cmpd="sng" algn="ctr">
                      <a:noFill/>
                      <a:prstDash val="solid"/>
                      <a:round/>
                      <a:headEnd type="none" w="med" len="med"/>
                      <a:tailEnd type="none" w="med" len="med"/>
                    </a:lnT>
                    <a:noFill/>
                  </a:tcPr>
                </a:tc>
                <a:tc>
                  <a:txBody>
                    <a:bodyPr/>
                    <a:lstStyle/>
                    <a:p>
                      <a:endParaRPr lang="en-GB" sz="600"/>
                    </a:p>
                  </a:txBody>
                  <a:tcPr marT="0" marB="0">
                    <a:lnR w="19050" cap="flat" cmpd="sng" algn="ctr">
                      <a:noFill/>
                      <a:prstDash val="solid"/>
                      <a:round/>
                      <a:headEnd type="none" w="med" len="med"/>
                      <a:tailEnd type="none" w="med" len="med"/>
                    </a:lnR>
                    <a:lnT w="12700" cap="flat" cmpd="sng" algn="ctr">
                      <a:noFill/>
                      <a:prstDash val="solid"/>
                      <a:round/>
                      <a:headEnd type="none" w="med" len="med"/>
                      <a:tailEnd type="none" w="med" len="med"/>
                    </a:lnT>
                    <a:noFill/>
                  </a:tcPr>
                </a:tc>
                <a:extLst>
                  <a:ext uri="{0D108BD9-81ED-4DB2-BD59-A6C34878D82A}">
                    <a16:rowId xmlns:a16="http://schemas.microsoft.com/office/drawing/2014/main" val="848984392"/>
                  </a:ext>
                </a:extLst>
              </a:tr>
              <a:tr h="177012">
                <a:tc vMerge="1">
                  <a:txBody>
                    <a:bodyPr/>
                    <a:lstStyle/>
                    <a:p>
                      <a:endParaRPr lang="en-GB"/>
                    </a:p>
                  </a:txBody>
                  <a:tcPr/>
                </a:tc>
                <a:tc>
                  <a:txBody>
                    <a:bodyPr/>
                    <a:lstStyle/>
                    <a:p>
                      <a:endParaRPr lang="en-GB" sz="600"/>
                    </a:p>
                  </a:txBody>
                  <a:tcPr marT="0" marB="0">
                    <a:lnL w="12700" cap="flat" cmpd="sng" algn="ctr">
                      <a:noFill/>
                      <a:prstDash val="solid"/>
                      <a:round/>
                      <a:headEnd type="none" w="med" len="med"/>
                      <a:tailEnd type="none" w="med" len="med"/>
                    </a:lnL>
                    <a:lnB w="12700" cap="flat" cmpd="sng" algn="ctr">
                      <a:noFill/>
                      <a:prstDash val="solid"/>
                      <a:round/>
                      <a:headEnd type="none" w="med" len="med"/>
                      <a:tailEnd type="none" w="med" len="med"/>
                    </a:lnB>
                    <a:noFill/>
                  </a:tcPr>
                </a:tc>
                <a:tc>
                  <a:txBody>
                    <a:bodyPr/>
                    <a:lstStyle/>
                    <a:p>
                      <a:endParaRPr lang="en-GB" sz="600"/>
                    </a:p>
                  </a:txBody>
                  <a:tcPr marT="0" marB="0">
                    <a:lnB w="12700" cap="flat" cmpd="sng" algn="ctr">
                      <a:noFill/>
                      <a:prstDash val="solid"/>
                      <a:round/>
                      <a:headEnd type="none" w="med" len="med"/>
                      <a:tailEnd type="none" w="med" len="med"/>
                    </a:lnB>
                    <a:noFill/>
                  </a:tcPr>
                </a:tc>
                <a:tc>
                  <a:txBody>
                    <a:bodyPr/>
                    <a:lstStyle/>
                    <a:p>
                      <a:endParaRPr lang="en-GB" sz="600"/>
                    </a:p>
                  </a:txBody>
                  <a:tcPr marT="0" marB="0">
                    <a:lnB w="12700" cap="flat" cmpd="sng" algn="ctr">
                      <a:noFill/>
                      <a:prstDash val="solid"/>
                      <a:round/>
                      <a:headEnd type="none" w="med" len="med"/>
                      <a:tailEnd type="none" w="med" len="med"/>
                    </a:lnB>
                    <a:noFill/>
                  </a:tcPr>
                </a:tc>
                <a:tc>
                  <a:txBody>
                    <a:bodyPr/>
                    <a:lstStyle/>
                    <a:p>
                      <a:endParaRPr lang="en-GB" sz="600"/>
                    </a:p>
                  </a:txBody>
                  <a:tcPr marT="0" marB="0">
                    <a:lnB w="12700" cap="flat" cmpd="sng" algn="ctr">
                      <a:noFill/>
                      <a:prstDash val="solid"/>
                      <a:round/>
                      <a:headEnd type="none" w="med" len="med"/>
                      <a:tailEnd type="none" w="med" len="med"/>
                    </a:lnB>
                    <a:noFill/>
                  </a:tcPr>
                </a:tc>
                <a:tc>
                  <a:txBody>
                    <a:bodyPr/>
                    <a:lstStyle/>
                    <a:p>
                      <a:endParaRPr lang="en-GB" sz="600"/>
                    </a:p>
                  </a:txBody>
                  <a:tcPr marT="0" marB="0">
                    <a:lnR w="19050" cap="flat" cmpd="sng" algn="ctr">
                      <a:noFill/>
                      <a:prstDash val="solid"/>
                      <a:round/>
                      <a:headEnd type="none" w="med" len="med"/>
                      <a:tailEnd type="none" w="med" len="med"/>
                    </a:lnR>
                    <a:lnB w="12700" cap="flat" cmpd="sng" algn="ctr">
                      <a:noFill/>
                      <a:prstDash val="solid"/>
                      <a:round/>
                      <a:headEnd type="none" w="med" len="med"/>
                      <a:tailEnd type="none" w="med" len="med"/>
                    </a:lnB>
                    <a:noFill/>
                  </a:tcPr>
                </a:tc>
                <a:extLst>
                  <a:ext uri="{0D108BD9-81ED-4DB2-BD59-A6C34878D82A}">
                    <a16:rowId xmlns:a16="http://schemas.microsoft.com/office/drawing/2014/main" val="1898155237"/>
                  </a:ext>
                </a:extLst>
              </a:tr>
              <a:tr h="177012">
                <a:tc rowSpan="2">
                  <a:txBody>
                    <a:bodyPr/>
                    <a:lstStyle/>
                    <a:p>
                      <a:pPr marL="85725" marR="0" lvl="0" indent="0" algn="l" defTabSz="914400" rtl="0" eaLnBrk="1" fontAlgn="auto" latinLnBrk="0" hangingPunct="1">
                        <a:lnSpc>
                          <a:spcPct val="100000"/>
                        </a:lnSpc>
                        <a:spcBef>
                          <a:spcPts val="0"/>
                        </a:spcBef>
                        <a:spcAft>
                          <a:spcPts val="0"/>
                        </a:spcAft>
                        <a:buClrTx/>
                        <a:buSzTx/>
                        <a:buFontTx/>
                        <a:buNone/>
                        <a:tabLst/>
                        <a:defRPr/>
                      </a:pPr>
                      <a:r>
                        <a:rPr lang="en-GB" sz="1200" b="0">
                          <a:solidFill>
                            <a:schemeClr val="bg1"/>
                          </a:solidFill>
                        </a:rPr>
                        <a:t>Battery Costs</a:t>
                      </a:r>
                    </a:p>
                  </a:txBody>
                  <a:tcPr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600"/>
                    </a:p>
                  </a:txBody>
                  <a:tcPr marT="0" marB="0">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endParaRPr lang="en-GB" sz="600"/>
                    </a:p>
                  </a:txBody>
                  <a:tcPr marT="0" marB="0">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endParaRPr lang="en-GB" sz="600"/>
                    </a:p>
                  </a:txBody>
                  <a:tcPr marT="0" marB="0">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endParaRPr lang="en-GB" sz="600"/>
                    </a:p>
                  </a:txBody>
                  <a:tcPr marT="0" marB="0">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endParaRPr lang="en-GB" sz="600"/>
                    </a:p>
                  </a:txBody>
                  <a:tcPr marT="0" marB="0">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04948277"/>
                  </a:ext>
                </a:extLst>
              </a:tr>
              <a:tr h="177012">
                <a:tc vMerge="1">
                  <a:txBody>
                    <a:bodyPr/>
                    <a:lstStyle/>
                    <a:p>
                      <a:pPr marL="85725" marR="0" lvl="0" indent="0" algn="l" defTabSz="914400" rtl="0" eaLnBrk="1" fontAlgn="auto" latinLnBrk="0" hangingPunct="1">
                        <a:lnSpc>
                          <a:spcPct val="100000"/>
                        </a:lnSpc>
                        <a:spcBef>
                          <a:spcPts val="0"/>
                        </a:spcBef>
                        <a:spcAft>
                          <a:spcPts val="0"/>
                        </a:spcAft>
                        <a:buClrTx/>
                        <a:buSzTx/>
                        <a:buFontTx/>
                        <a:buNone/>
                        <a:tabLst/>
                        <a:defRPr/>
                      </a:pPr>
                      <a:endParaRPr lang="en-GB" sz="1200" b="0">
                        <a:solidFill>
                          <a:schemeClr val="bg1"/>
                        </a:solidFill>
                      </a:endParaRPr>
                    </a:p>
                  </a:txBody>
                  <a:tcPr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600"/>
                    </a:p>
                  </a:txBody>
                  <a:tcPr marT="0" marB="0">
                    <a:lnL w="12700" cap="flat" cmpd="sng" algn="ctr">
                      <a:no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600"/>
                    </a:p>
                  </a:txBody>
                  <a:tcPr marT="0" marB="0">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600"/>
                    </a:p>
                  </a:txBody>
                  <a:tcPr marT="0" marB="0">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600"/>
                    </a:p>
                  </a:txBody>
                  <a:tcPr marT="0" marB="0">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600"/>
                    </a:p>
                  </a:txBody>
                  <a:tcPr marT="0" marB="0">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135176677"/>
                  </a:ext>
                </a:extLst>
              </a:tr>
              <a:tr h="177012">
                <a:tc rowSpan="2">
                  <a:txBody>
                    <a:bodyPr/>
                    <a:lstStyle/>
                    <a:p>
                      <a:pPr marL="85725" marR="0" lvl="0" indent="0" algn="l" defTabSz="914400" rtl="0" eaLnBrk="1" fontAlgn="auto" latinLnBrk="0" hangingPunct="1">
                        <a:lnSpc>
                          <a:spcPct val="100000"/>
                        </a:lnSpc>
                        <a:spcBef>
                          <a:spcPts val="0"/>
                        </a:spcBef>
                        <a:spcAft>
                          <a:spcPts val="0"/>
                        </a:spcAft>
                        <a:buClrTx/>
                        <a:buSzTx/>
                        <a:buFontTx/>
                        <a:buNone/>
                        <a:tabLst/>
                        <a:defRPr/>
                      </a:pPr>
                      <a:r>
                        <a:rPr lang="en-GB" sz="1200" b="0">
                          <a:solidFill>
                            <a:schemeClr val="bg1"/>
                          </a:solidFill>
                        </a:rPr>
                        <a:t>Energy Storage Technology Costs</a:t>
                      </a:r>
                    </a:p>
                  </a:txBody>
                  <a:tcPr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600"/>
                    </a:p>
                  </a:txBody>
                  <a:tcPr marT="0" marB="0">
                    <a:lnL w="12700" cap="flat" cmpd="sng" algn="ctr">
                      <a:noFill/>
                      <a:prstDash val="solid"/>
                      <a:round/>
                      <a:headEnd type="none" w="med" len="med"/>
                      <a:tailEnd type="none" w="med" len="med"/>
                    </a:lnL>
                    <a:lnT w="12700" cap="flat" cmpd="sng" algn="ctr">
                      <a:noFill/>
                      <a:prstDash val="solid"/>
                      <a:round/>
                      <a:headEnd type="none" w="med" len="med"/>
                      <a:tailEnd type="none" w="med" len="med"/>
                    </a:lnT>
                    <a:noFill/>
                  </a:tcPr>
                </a:tc>
                <a:tc>
                  <a:txBody>
                    <a:bodyPr/>
                    <a:lstStyle/>
                    <a:p>
                      <a:endParaRPr lang="en-GB" sz="600"/>
                    </a:p>
                  </a:txBody>
                  <a:tcPr marT="0" marB="0">
                    <a:lnT w="12700" cap="flat" cmpd="sng" algn="ctr">
                      <a:noFill/>
                      <a:prstDash val="solid"/>
                      <a:round/>
                      <a:headEnd type="none" w="med" len="med"/>
                      <a:tailEnd type="none" w="med" len="med"/>
                    </a:lnT>
                    <a:noFill/>
                  </a:tcPr>
                </a:tc>
                <a:tc>
                  <a:txBody>
                    <a:bodyPr/>
                    <a:lstStyle/>
                    <a:p>
                      <a:endParaRPr lang="en-GB" sz="600"/>
                    </a:p>
                  </a:txBody>
                  <a:tcPr marT="0" marB="0">
                    <a:lnT w="12700" cap="flat" cmpd="sng" algn="ctr">
                      <a:noFill/>
                      <a:prstDash val="solid"/>
                      <a:round/>
                      <a:headEnd type="none" w="med" len="med"/>
                      <a:tailEnd type="none" w="med" len="med"/>
                    </a:lnT>
                    <a:noFill/>
                  </a:tcPr>
                </a:tc>
                <a:tc>
                  <a:txBody>
                    <a:bodyPr/>
                    <a:lstStyle/>
                    <a:p>
                      <a:endParaRPr lang="en-GB" sz="600"/>
                    </a:p>
                  </a:txBody>
                  <a:tcPr marT="0" marB="0">
                    <a:lnT w="12700" cap="flat" cmpd="sng" algn="ctr">
                      <a:noFill/>
                      <a:prstDash val="solid"/>
                      <a:round/>
                      <a:headEnd type="none" w="med" len="med"/>
                      <a:tailEnd type="none" w="med" len="med"/>
                    </a:lnT>
                    <a:noFill/>
                  </a:tcPr>
                </a:tc>
                <a:tc>
                  <a:txBody>
                    <a:bodyPr/>
                    <a:lstStyle/>
                    <a:p>
                      <a:endParaRPr lang="en-GB" sz="600"/>
                    </a:p>
                  </a:txBody>
                  <a:tcPr marT="0" marB="0">
                    <a:lnR w="19050" cap="flat" cmpd="sng" algn="ctr">
                      <a:noFill/>
                      <a:prstDash val="solid"/>
                      <a:round/>
                      <a:headEnd type="none" w="med" len="med"/>
                      <a:tailEnd type="none" w="med" len="med"/>
                    </a:lnR>
                    <a:lnT w="12700" cap="flat" cmpd="sng" algn="ctr">
                      <a:noFill/>
                      <a:prstDash val="solid"/>
                      <a:round/>
                      <a:headEnd type="none" w="med" len="med"/>
                      <a:tailEnd type="none" w="med" len="med"/>
                    </a:lnT>
                    <a:noFill/>
                  </a:tcPr>
                </a:tc>
                <a:extLst>
                  <a:ext uri="{0D108BD9-81ED-4DB2-BD59-A6C34878D82A}">
                    <a16:rowId xmlns:a16="http://schemas.microsoft.com/office/drawing/2014/main" val="2598596450"/>
                  </a:ext>
                </a:extLst>
              </a:tr>
              <a:tr h="177012">
                <a:tc vMerge="1">
                  <a:txBody>
                    <a:bodyPr/>
                    <a:lstStyle/>
                    <a:p>
                      <a:pPr marL="85725" marR="0" lvl="0" indent="0" algn="l" defTabSz="914400" rtl="0" eaLnBrk="1" fontAlgn="auto" latinLnBrk="0" hangingPunct="1">
                        <a:lnSpc>
                          <a:spcPct val="100000"/>
                        </a:lnSpc>
                        <a:spcBef>
                          <a:spcPts val="0"/>
                        </a:spcBef>
                        <a:spcAft>
                          <a:spcPts val="0"/>
                        </a:spcAft>
                        <a:buClrTx/>
                        <a:buSzTx/>
                        <a:buFontTx/>
                        <a:buNone/>
                        <a:tabLst/>
                        <a:defRPr/>
                      </a:pPr>
                      <a:endParaRPr lang="en-GB" sz="1200" b="0">
                        <a:solidFill>
                          <a:schemeClr val="bg1"/>
                        </a:solidFill>
                      </a:endParaRPr>
                    </a:p>
                  </a:txBody>
                  <a:tcPr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600"/>
                    </a:p>
                  </a:txBody>
                  <a:tcPr marT="0" marB="0">
                    <a:lnL w="12700" cap="flat" cmpd="sng" algn="ctr">
                      <a:noFill/>
                      <a:prstDash val="solid"/>
                      <a:round/>
                      <a:headEnd type="none" w="med" len="med"/>
                      <a:tailEnd type="none" w="med" len="med"/>
                    </a:lnL>
                    <a:lnB w="12700" cap="flat" cmpd="sng" algn="ctr">
                      <a:noFill/>
                      <a:prstDash val="solid"/>
                      <a:round/>
                      <a:headEnd type="none" w="med" len="med"/>
                      <a:tailEnd type="none" w="med" len="med"/>
                    </a:lnB>
                    <a:noFill/>
                  </a:tcPr>
                </a:tc>
                <a:tc>
                  <a:txBody>
                    <a:bodyPr/>
                    <a:lstStyle/>
                    <a:p>
                      <a:endParaRPr lang="en-GB" sz="600"/>
                    </a:p>
                  </a:txBody>
                  <a:tcPr marT="0" marB="0">
                    <a:lnB w="12700" cap="flat" cmpd="sng" algn="ctr">
                      <a:noFill/>
                      <a:prstDash val="solid"/>
                      <a:round/>
                      <a:headEnd type="none" w="med" len="med"/>
                      <a:tailEnd type="none" w="med" len="med"/>
                    </a:lnB>
                    <a:noFill/>
                  </a:tcPr>
                </a:tc>
                <a:tc>
                  <a:txBody>
                    <a:bodyPr/>
                    <a:lstStyle/>
                    <a:p>
                      <a:endParaRPr lang="en-GB" sz="600"/>
                    </a:p>
                  </a:txBody>
                  <a:tcPr marT="0" marB="0">
                    <a:lnB w="12700" cap="flat" cmpd="sng" algn="ctr">
                      <a:noFill/>
                      <a:prstDash val="solid"/>
                      <a:round/>
                      <a:headEnd type="none" w="med" len="med"/>
                      <a:tailEnd type="none" w="med" len="med"/>
                    </a:lnB>
                    <a:noFill/>
                  </a:tcPr>
                </a:tc>
                <a:tc>
                  <a:txBody>
                    <a:bodyPr/>
                    <a:lstStyle/>
                    <a:p>
                      <a:endParaRPr lang="en-GB" sz="600"/>
                    </a:p>
                  </a:txBody>
                  <a:tcPr marT="0" marB="0">
                    <a:lnB w="12700" cap="flat" cmpd="sng" algn="ctr">
                      <a:noFill/>
                      <a:prstDash val="solid"/>
                      <a:round/>
                      <a:headEnd type="none" w="med" len="med"/>
                      <a:tailEnd type="none" w="med" len="med"/>
                    </a:lnB>
                    <a:noFill/>
                  </a:tcPr>
                </a:tc>
                <a:tc>
                  <a:txBody>
                    <a:bodyPr/>
                    <a:lstStyle/>
                    <a:p>
                      <a:endParaRPr lang="en-GB" sz="600"/>
                    </a:p>
                  </a:txBody>
                  <a:tcPr marT="0" marB="0">
                    <a:lnR w="19050" cap="flat" cmpd="sng" algn="ctr">
                      <a:noFill/>
                      <a:prstDash val="solid"/>
                      <a:round/>
                      <a:headEnd type="none" w="med" len="med"/>
                      <a:tailEnd type="none" w="med" len="med"/>
                    </a:lnR>
                    <a:lnB w="12700" cap="flat" cmpd="sng" algn="ctr">
                      <a:noFill/>
                      <a:prstDash val="solid"/>
                      <a:round/>
                      <a:headEnd type="none" w="med" len="med"/>
                      <a:tailEnd type="none" w="med" len="med"/>
                    </a:lnB>
                    <a:noFill/>
                  </a:tcPr>
                </a:tc>
                <a:extLst>
                  <a:ext uri="{0D108BD9-81ED-4DB2-BD59-A6C34878D82A}">
                    <a16:rowId xmlns:a16="http://schemas.microsoft.com/office/drawing/2014/main" val="4000696708"/>
                  </a:ext>
                </a:extLst>
              </a:tr>
              <a:tr h="187868">
                <a:tc rowSpan="2">
                  <a:txBody>
                    <a:bodyPr/>
                    <a:lstStyle/>
                    <a:p>
                      <a:pPr marL="85725" marR="0" lvl="0" indent="0" algn="l" defTabSz="914400" rtl="0" eaLnBrk="1" fontAlgn="auto" latinLnBrk="0" hangingPunct="1">
                        <a:lnSpc>
                          <a:spcPct val="100000"/>
                        </a:lnSpc>
                        <a:spcBef>
                          <a:spcPts val="0"/>
                        </a:spcBef>
                        <a:spcAft>
                          <a:spcPts val="0"/>
                        </a:spcAft>
                        <a:buClrTx/>
                        <a:buSzTx/>
                        <a:buFontTx/>
                        <a:buNone/>
                        <a:tabLst/>
                        <a:defRPr/>
                      </a:pPr>
                      <a:r>
                        <a:rPr lang="en-GB" sz="1200" b="0">
                          <a:solidFill>
                            <a:schemeClr val="bg1"/>
                          </a:solidFill>
                        </a:rPr>
                        <a:t>Solar Technology Costs</a:t>
                      </a:r>
                    </a:p>
                  </a:txBody>
                  <a:tcPr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600"/>
                    </a:p>
                  </a:txBody>
                  <a:tcPr marT="0" marB="0">
                    <a:lnL w="12700" cap="flat" cmpd="sng" algn="ctr">
                      <a:noFill/>
                      <a:prstDash val="solid"/>
                      <a:round/>
                      <a:headEnd type="none" w="med" len="med"/>
                      <a:tailEnd type="none" w="med" len="med"/>
                    </a:lnL>
                    <a:lnT w="12700" cap="flat" cmpd="sng" algn="ctr">
                      <a:noFill/>
                      <a:prstDash val="solid"/>
                      <a:round/>
                      <a:headEnd type="none" w="med" len="med"/>
                      <a:tailEnd type="none" w="med" len="med"/>
                    </a:lnT>
                    <a:noFill/>
                  </a:tcPr>
                </a:tc>
                <a:tc>
                  <a:txBody>
                    <a:bodyPr/>
                    <a:lstStyle/>
                    <a:p>
                      <a:endParaRPr lang="en-GB" sz="600"/>
                    </a:p>
                  </a:txBody>
                  <a:tcPr marT="0" marB="0">
                    <a:lnT w="12700" cap="flat" cmpd="sng" algn="ctr">
                      <a:noFill/>
                      <a:prstDash val="solid"/>
                      <a:round/>
                      <a:headEnd type="none" w="med" len="med"/>
                      <a:tailEnd type="none" w="med" len="med"/>
                    </a:lnT>
                    <a:noFill/>
                  </a:tcPr>
                </a:tc>
                <a:tc>
                  <a:txBody>
                    <a:bodyPr/>
                    <a:lstStyle/>
                    <a:p>
                      <a:endParaRPr lang="en-GB" sz="600"/>
                    </a:p>
                  </a:txBody>
                  <a:tcPr marT="0" marB="0">
                    <a:lnT w="12700" cap="flat" cmpd="sng" algn="ctr">
                      <a:noFill/>
                      <a:prstDash val="solid"/>
                      <a:round/>
                      <a:headEnd type="none" w="med" len="med"/>
                      <a:tailEnd type="none" w="med" len="med"/>
                    </a:lnT>
                    <a:noFill/>
                  </a:tcPr>
                </a:tc>
                <a:tc>
                  <a:txBody>
                    <a:bodyPr/>
                    <a:lstStyle/>
                    <a:p>
                      <a:endParaRPr lang="en-GB" sz="600"/>
                    </a:p>
                  </a:txBody>
                  <a:tcPr marT="0" marB="0">
                    <a:lnT w="12700" cap="flat" cmpd="sng" algn="ctr">
                      <a:noFill/>
                      <a:prstDash val="solid"/>
                      <a:round/>
                      <a:headEnd type="none" w="med" len="med"/>
                      <a:tailEnd type="none" w="med" len="med"/>
                    </a:lnT>
                    <a:noFill/>
                  </a:tcPr>
                </a:tc>
                <a:tc>
                  <a:txBody>
                    <a:bodyPr/>
                    <a:lstStyle/>
                    <a:p>
                      <a:endParaRPr lang="en-GB" sz="600"/>
                    </a:p>
                  </a:txBody>
                  <a:tcPr marT="0" marB="0">
                    <a:lnR w="19050" cap="flat" cmpd="sng" algn="ctr">
                      <a:noFill/>
                      <a:prstDash val="solid"/>
                      <a:round/>
                      <a:headEnd type="none" w="med" len="med"/>
                      <a:tailEnd type="none" w="med" len="med"/>
                    </a:lnR>
                    <a:lnT w="12700" cap="flat" cmpd="sng" algn="ctr">
                      <a:noFill/>
                      <a:prstDash val="solid"/>
                      <a:round/>
                      <a:headEnd type="none" w="med" len="med"/>
                      <a:tailEnd type="none" w="med" len="med"/>
                    </a:lnT>
                    <a:noFill/>
                  </a:tcPr>
                </a:tc>
                <a:extLst>
                  <a:ext uri="{0D108BD9-81ED-4DB2-BD59-A6C34878D82A}">
                    <a16:rowId xmlns:a16="http://schemas.microsoft.com/office/drawing/2014/main" val="875318409"/>
                  </a:ext>
                </a:extLst>
              </a:tr>
              <a:tr h="177012">
                <a:tc vMerge="1">
                  <a:txBody>
                    <a:bodyPr/>
                    <a:lstStyle/>
                    <a:p>
                      <a:pPr marL="85725" marR="0" lvl="0" indent="0" algn="l" defTabSz="914400" rtl="0" eaLnBrk="1" fontAlgn="auto" latinLnBrk="0" hangingPunct="1">
                        <a:lnSpc>
                          <a:spcPct val="100000"/>
                        </a:lnSpc>
                        <a:spcBef>
                          <a:spcPts val="0"/>
                        </a:spcBef>
                        <a:spcAft>
                          <a:spcPts val="0"/>
                        </a:spcAft>
                        <a:buClrTx/>
                        <a:buSzTx/>
                        <a:buFontTx/>
                        <a:buNone/>
                        <a:tabLst/>
                        <a:defRPr/>
                      </a:pPr>
                      <a:endParaRPr lang="en-GB" sz="1200" b="0">
                        <a:solidFill>
                          <a:schemeClr val="bg1"/>
                        </a:solidFill>
                      </a:endParaRPr>
                    </a:p>
                  </a:txBody>
                  <a:tcPr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600"/>
                    </a:p>
                  </a:txBody>
                  <a:tcPr marT="0" marB="0">
                    <a:lnL w="12700" cap="flat" cmpd="sng" algn="ctr">
                      <a:noFill/>
                      <a:prstDash val="solid"/>
                      <a:round/>
                      <a:headEnd type="none" w="med" len="med"/>
                      <a:tailEnd type="none" w="med" len="med"/>
                    </a:lnL>
                    <a:lnB w="12700" cap="flat" cmpd="sng" algn="ctr">
                      <a:noFill/>
                      <a:prstDash val="solid"/>
                      <a:round/>
                      <a:headEnd type="none" w="med" len="med"/>
                      <a:tailEnd type="none" w="med" len="med"/>
                    </a:lnB>
                    <a:noFill/>
                  </a:tcPr>
                </a:tc>
                <a:tc>
                  <a:txBody>
                    <a:bodyPr/>
                    <a:lstStyle/>
                    <a:p>
                      <a:endParaRPr lang="en-GB" sz="600"/>
                    </a:p>
                  </a:txBody>
                  <a:tcPr marT="0" marB="0">
                    <a:lnB w="12700" cap="flat" cmpd="sng" algn="ctr">
                      <a:noFill/>
                      <a:prstDash val="solid"/>
                      <a:round/>
                      <a:headEnd type="none" w="med" len="med"/>
                      <a:tailEnd type="none" w="med" len="med"/>
                    </a:lnB>
                    <a:noFill/>
                  </a:tcPr>
                </a:tc>
                <a:tc>
                  <a:txBody>
                    <a:bodyPr/>
                    <a:lstStyle/>
                    <a:p>
                      <a:endParaRPr lang="en-GB" sz="600"/>
                    </a:p>
                  </a:txBody>
                  <a:tcPr marT="0" marB="0">
                    <a:lnB w="12700" cap="flat" cmpd="sng" algn="ctr">
                      <a:noFill/>
                      <a:prstDash val="solid"/>
                      <a:round/>
                      <a:headEnd type="none" w="med" len="med"/>
                      <a:tailEnd type="none" w="med" len="med"/>
                    </a:lnB>
                    <a:noFill/>
                  </a:tcPr>
                </a:tc>
                <a:tc>
                  <a:txBody>
                    <a:bodyPr/>
                    <a:lstStyle/>
                    <a:p>
                      <a:endParaRPr lang="en-GB" sz="600"/>
                    </a:p>
                  </a:txBody>
                  <a:tcPr marT="0" marB="0">
                    <a:lnB w="12700" cap="flat" cmpd="sng" algn="ctr">
                      <a:noFill/>
                      <a:prstDash val="solid"/>
                      <a:round/>
                      <a:headEnd type="none" w="med" len="med"/>
                      <a:tailEnd type="none" w="med" len="med"/>
                    </a:lnB>
                    <a:noFill/>
                  </a:tcPr>
                </a:tc>
                <a:tc>
                  <a:txBody>
                    <a:bodyPr/>
                    <a:lstStyle/>
                    <a:p>
                      <a:endParaRPr lang="en-GB" sz="600"/>
                    </a:p>
                  </a:txBody>
                  <a:tcPr marT="0" marB="0">
                    <a:lnR w="19050" cap="flat" cmpd="sng" algn="ctr">
                      <a:noFill/>
                      <a:prstDash val="solid"/>
                      <a:round/>
                      <a:headEnd type="none" w="med" len="med"/>
                      <a:tailEnd type="none" w="med" len="med"/>
                    </a:lnR>
                    <a:lnB w="12700" cap="flat" cmpd="sng" algn="ctr">
                      <a:noFill/>
                      <a:prstDash val="solid"/>
                      <a:round/>
                      <a:headEnd type="none" w="med" len="med"/>
                      <a:tailEnd type="none" w="med" len="med"/>
                    </a:lnB>
                    <a:noFill/>
                  </a:tcPr>
                </a:tc>
                <a:extLst>
                  <a:ext uri="{0D108BD9-81ED-4DB2-BD59-A6C34878D82A}">
                    <a16:rowId xmlns:a16="http://schemas.microsoft.com/office/drawing/2014/main" val="1238436859"/>
                  </a:ext>
                </a:extLst>
              </a:tr>
              <a:tr h="177012">
                <a:tc rowSpan="2">
                  <a:txBody>
                    <a:bodyPr/>
                    <a:lstStyle/>
                    <a:p>
                      <a:pPr marL="85725" marR="0" lvl="0" indent="0" algn="l" defTabSz="914400" rtl="0" eaLnBrk="1" fontAlgn="auto" latinLnBrk="0" hangingPunct="1">
                        <a:lnSpc>
                          <a:spcPct val="100000"/>
                        </a:lnSpc>
                        <a:spcBef>
                          <a:spcPts val="0"/>
                        </a:spcBef>
                        <a:spcAft>
                          <a:spcPts val="0"/>
                        </a:spcAft>
                        <a:buClrTx/>
                        <a:buSzTx/>
                        <a:buFontTx/>
                        <a:buNone/>
                        <a:tabLst/>
                        <a:defRPr/>
                      </a:pPr>
                      <a:r>
                        <a:rPr lang="en-GB" sz="1200" b="0">
                          <a:solidFill>
                            <a:schemeClr val="bg1"/>
                          </a:solidFill>
                        </a:rPr>
                        <a:t>Power Transition</a:t>
                      </a:r>
                    </a:p>
                  </a:txBody>
                  <a:tcPr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600"/>
                    </a:p>
                  </a:txBody>
                  <a:tcPr marT="0" marB="0">
                    <a:lnL w="12700" cap="flat" cmpd="sng" algn="ctr">
                      <a:noFill/>
                      <a:prstDash val="solid"/>
                      <a:round/>
                      <a:headEnd type="none" w="med" len="med"/>
                      <a:tailEnd type="none" w="med" len="med"/>
                    </a:lnL>
                    <a:lnT w="12700" cap="flat" cmpd="sng" algn="ctr">
                      <a:noFill/>
                      <a:prstDash val="solid"/>
                      <a:round/>
                      <a:headEnd type="none" w="med" len="med"/>
                      <a:tailEnd type="none" w="med" len="med"/>
                    </a:lnT>
                    <a:noFill/>
                  </a:tcPr>
                </a:tc>
                <a:tc>
                  <a:txBody>
                    <a:bodyPr/>
                    <a:lstStyle/>
                    <a:p>
                      <a:endParaRPr lang="en-GB" sz="600"/>
                    </a:p>
                  </a:txBody>
                  <a:tcPr marT="0" marB="0">
                    <a:lnT w="12700" cap="flat" cmpd="sng" algn="ctr">
                      <a:noFill/>
                      <a:prstDash val="solid"/>
                      <a:round/>
                      <a:headEnd type="none" w="med" len="med"/>
                      <a:tailEnd type="none" w="med" len="med"/>
                    </a:lnT>
                    <a:noFill/>
                  </a:tcPr>
                </a:tc>
                <a:tc>
                  <a:txBody>
                    <a:bodyPr/>
                    <a:lstStyle/>
                    <a:p>
                      <a:endParaRPr lang="en-GB" sz="600"/>
                    </a:p>
                  </a:txBody>
                  <a:tcPr marT="0" marB="0">
                    <a:lnT w="12700" cap="flat" cmpd="sng" algn="ctr">
                      <a:noFill/>
                      <a:prstDash val="solid"/>
                      <a:round/>
                      <a:headEnd type="none" w="med" len="med"/>
                      <a:tailEnd type="none" w="med" len="med"/>
                    </a:lnT>
                    <a:noFill/>
                  </a:tcPr>
                </a:tc>
                <a:tc>
                  <a:txBody>
                    <a:bodyPr/>
                    <a:lstStyle/>
                    <a:p>
                      <a:endParaRPr lang="en-GB" sz="600"/>
                    </a:p>
                  </a:txBody>
                  <a:tcPr marT="0" marB="0">
                    <a:lnT w="12700" cap="flat" cmpd="sng" algn="ctr">
                      <a:noFill/>
                      <a:prstDash val="solid"/>
                      <a:round/>
                      <a:headEnd type="none" w="med" len="med"/>
                      <a:tailEnd type="none" w="med" len="med"/>
                    </a:lnT>
                    <a:noFill/>
                  </a:tcPr>
                </a:tc>
                <a:tc>
                  <a:txBody>
                    <a:bodyPr/>
                    <a:lstStyle/>
                    <a:p>
                      <a:endParaRPr lang="en-GB" sz="600"/>
                    </a:p>
                  </a:txBody>
                  <a:tcPr marT="0" marB="0">
                    <a:lnR w="19050" cap="flat" cmpd="sng" algn="ctr">
                      <a:noFill/>
                      <a:prstDash val="solid"/>
                      <a:round/>
                      <a:headEnd type="none" w="med" len="med"/>
                      <a:tailEnd type="none" w="med" len="med"/>
                    </a:lnR>
                    <a:lnT w="12700" cap="flat" cmpd="sng" algn="ctr">
                      <a:noFill/>
                      <a:prstDash val="solid"/>
                      <a:round/>
                      <a:headEnd type="none" w="med" len="med"/>
                      <a:tailEnd type="none" w="med" len="med"/>
                    </a:lnT>
                    <a:noFill/>
                  </a:tcPr>
                </a:tc>
                <a:extLst>
                  <a:ext uri="{0D108BD9-81ED-4DB2-BD59-A6C34878D82A}">
                    <a16:rowId xmlns:a16="http://schemas.microsoft.com/office/drawing/2014/main" val="3084327020"/>
                  </a:ext>
                </a:extLst>
              </a:tr>
              <a:tr h="177012">
                <a:tc vMerge="1">
                  <a:txBody>
                    <a:bodyPr/>
                    <a:lstStyle/>
                    <a:p>
                      <a:pPr marL="85725" marR="0" lvl="0" indent="0" algn="l" defTabSz="914400" rtl="0" eaLnBrk="1" fontAlgn="auto" latinLnBrk="0" hangingPunct="1">
                        <a:lnSpc>
                          <a:spcPct val="100000"/>
                        </a:lnSpc>
                        <a:spcBef>
                          <a:spcPts val="0"/>
                        </a:spcBef>
                        <a:spcAft>
                          <a:spcPts val="0"/>
                        </a:spcAft>
                        <a:buClrTx/>
                        <a:buSzTx/>
                        <a:buFontTx/>
                        <a:buNone/>
                        <a:tabLst/>
                        <a:defRPr/>
                      </a:pPr>
                      <a:endParaRPr lang="en-GB" sz="1200" b="0">
                        <a:solidFill>
                          <a:schemeClr val="bg1"/>
                        </a:solidFill>
                      </a:endParaRPr>
                    </a:p>
                  </a:txBody>
                  <a:tcPr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600"/>
                    </a:p>
                  </a:txBody>
                  <a:tcPr marT="0" marB="0">
                    <a:lnL w="12700" cap="flat" cmpd="sng" algn="ctr">
                      <a:noFill/>
                      <a:prstDash val="solid"/>
                      <a:round/>
                      <a:headEnd type="none" w="med" len="med"/>
                      <a:tailEnd type="none" w="med" len="med"/>
                    </a:lnL>
                    <a:lnB w="12700" cap="flat" cmpd="sng" algn="ctr">
                      <a:noFill/>
                      <a:prstDash val="solid"/>
                      <a:round/>
                      <a:headEnd type="none" w="med" len="med"/>
                      <a:tailEnd type="none" w="med" len="med"/>
                    </a:lnB>
                    <a:noFill/>
                  </a:tcPr>
                </a:tc>
                <a:tc>
                  <a:txBody>
                    <a:bodyPr/>
                    <a:lstStyle/>
                    <a:p>
                      <a:endParaRPr lang="en-GB" sz="600"/>
                    </a:p>
                  </a:txBody>
                  <a:tcPr marT="0" marB="0">
                    <a:lnB w="12700" cap="flat" cmpd="sng" algn="ctr">
                      <a:noFill/>
                      <a:prstDash val="solid"/>
                      <a:round/>
                      <a:headEnd type="none" w="med" len="med"/>
                      <a:tailEnd type="none" w="med" len="med"/>
                    </a:lnB>
                    <a:noFill/>
                  </a:tcPr>
                </a:tc>
                <a:tc>
                  <a:txBody>
                    <a:bodyPr/>
                    <a:lstStyle/>
                    <a:p>
                      <a:endParaRPr lang="en-GB" sz="600"/>
                    </a:p>
                  </a:txBody>
                  <a:tcPr marT="0" marB="0">
                    <a:lnB w="12700" cap="flat" cmpd="sng" algn="ctr">
                      <a:noFill/>
                      <a:prstDash val="solid"/>
                      <a:round/>
                      <a:headEnd type="none" w="med" len="med"/>
                      <a:tailEnd type="none" w="med" len="med"/>
                    </a:lnB>
                    <a:noFill/>
                  </a:tcPr>
                </a:tc>
                <a:tc>
                  <a:txBody>
                    <a:bodyPr/>
                    <a:lstStyle/>
                    <a:p>
                      <a:endParaRPr lang="en-GB" sz="600"/>
                    </a:p>
                  </a:txBody>
                  <a:tcPr marT="0" marB="0">
                    <a:lnB w="12700" cap="flat" cmpd="sng" algn="ctr">
                      <a:noFill/>
                      <a:prstDash val="solid"/>
                      <a:round/>
                      <a:headEnd type="none" w="med" len="med"/>
                      <a:tailEnd type="none" w="med" len="med"/>
                    </a:lnB>
                    <a:noFill/>
                  </a:tcPr>
                </a:tc>
                <a:tc>
                  <a:txBody>
                    <a:bodyPr/>
                    <a:lstStyle/>
                    <a:p>
                      <a:endParaRPr lang="en-GB" sz="600"/>
                    </a:p>
                  </a:txBody>
                  <a:tcPr marT="0" marB="0">
                    <a:lnR w="19050" cap="flat" cmpd="sng" algn="ctr">
                      <a:noFill/>
                      <a:prstDash val="solid"/>
                      <a:round/>
                      <a:headEnd type="none" w="med" len="med"/>
                      <a:tailEnd type="none" w="med" len="med"/>
                    </a:lnR>
                    <a:lnB w="12700" cap="flat" cmpd="sng" algn="ctr">
                      <a:noFill/>
                      <a:prstDash val="solid"/>
                      <a:round/>
                      <a:headEnd type="none" w="med" len="med"/>
                      <a:tailEnd type="none" w="med" len="med"/>
                    </a:lnB>
                    <a:noFill/>
                  </a:tcPr>
                </a:tc>
                <a:extLst>
                  <a:ext uri="{0D108BD9-81ED-4DB2-BD59-A6C34878D82A}">
                    <a16:rowId xmlns:a16="http://schemas.microsoft.com/office/drawing/2014/main" val="1595632458"/>
                  </a:ext>
                </a:extLst>
              </a:tr>
            </a:tbl>
          </a:graphicData>
        </a:graphic>
      </p:graphicFrame>
      <p:sp>
        <p:nvSpPr>
          <p:cNvPr id="49" name="Oval 48">
            <a:extLst>
              <a:ext uri="{FF2B5EF4-FFF2-40B4-BE49-F238E27FC236}">
                <a16:creationId xmlns:a16="http://schemas.microsoft.com/office/drawing/2014/main" id="{F3BAC64B-3C80-DCAF-6F31-927C9B51148E}"/>
              </a:ext>
            </a:extLst>
          </p:cNvPr>
          <p:cNvSpPr/>
          <p:nvPr/>
        </p:nvSpPr>
        <p:spPr>
          <a:xfrm>
            <a:off x="3839500" y="1983487"/>
            <a:ext cx="252000" cy="252000"/>
          </a:xfrm>
          <a:prstGeom prst="ellipse">
            <a:avLst/>
          </a:prstGeom>
          <a:solidFill>
            <a:schemeClr val="bg1"/>
          </a:solidFill>
          <a:ln w="28575">
            <a:solidFill>
              <a:srgbClr val="003764"/>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800">
                <a:solidFill>
                  <a:schemeClr val="tx1"/>
                </a:solidFill>
                <a:sym typeface="Wingdings" panose="05000000000000000000" pitchFamily="2" charset="2"/>
              </a:rPr>
              <a:t></a:t>
            </a:r>
            <a:endParaRPr lang="en-GB" sz="800">
              <a:solidFill>
                <a:schemeClr val="tx1"/>
              </a:solidFill>
            </a:endParaRPr>
          </a:p>
        </p:txBody>
      </p:sp>
      <p:sp>
        <p:nvSpPr>
          <p:cNvPr id="53" name="Oval 52">
            <a:extLst>
              <a:ext uri="{FF2B5EF4-FFF2-40B4-BE49-F238E27FC236}">
                <a16:creationId xmlns:a16="http://schemas.microsoft.com/office/drawing/2014/main" id="{434FA493-6410-B9D7-99D4-BD19B3687F71}"/>
              </a:ext>
            </a:extLst>
          </p:cNvPr>
          <p:cNvSpPr/>
          <p:nvPr/>
        </p:nvSpPr>
        <p:spPr>
          <a:xfrm>
            <a:off x="3839500" y="2694113"/>
            <a:ext cx="252000" cy="252000"/>
          </a:xfrm>
          <a:prstGeom prst="ellipse">
            <a:avLst/>
          </a:prstGeom>
          <a:solidFill>
            <a:schemeClr val="bg1"/>
          </a:solidFill>
          <a:ln w="28575">
            <a:solidFill>
              <a:srgbClr val="003764"/>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800">
                <a:solidFill>
                  <a:schemeClr val="tx1"/>
                </a:solidFill>
                <a:sym typeface="Wingdings" panose="05000000000000000000" pitchFamily="2" charset="2"/>
              </a:rPr>
              <a:t></a:t>
            </a:r>
            <a:endParaRPr lang="en-GB" sz="800">
              <a:solidFill>
                <a:schemeClr val="tx1"/>
              </a:solidFill>
            </a:endParaRPr>
          </a:p>
        </p:txBody>
      </p:sp>
      <p:sp>
        <p:nvSpPr>
          <p:cNvPr id="56" name="Oval 55">
            <a:extLst>
              <a:ext uri="{FF2B5EF4-FFF2-40B4-BE49-F238E27FC236}">
                <a16:creationId xmlns:a16="http://schemas.microsoft.com/office/drawing/2014/main" id="{E854CBB9-5E4D-D679-288C-03F738FA8654}"/>
              </a:ext>
            </a:extLst>
          </p:cNvPr>
          <p:cNvSpPr/>
          <p:nvPr/>
        </p:nvSpPr>
        <p:spPr>
          <a:xfrm>
            <a:off x="3839500" y="3404739"/>
            <a:ext cx="252000" cy="252000"/>
          </a:xfrm>
          <a:prstGeom prst="ellipse">
            <a:avLst/>
          </a:prstGeom>
          <a:solidFill>
            <a:schemeClr val="bg1"/>
          </a:solidFill>
          <a:ln w="28575">
            <a:solidFill>
              <a:srgbClr val="003764"/>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800">
                <a:solidFill>
                  <a:schemeClr val="tx1"/>
                </a:solidFill>
                <a:sym typeface="Wingdings" panose="05000000000000000000" pitchFamily="2" charset="2"/>
              </a:rPr>
              <a:t></a:t>
            </a:r>
            <a:endParaRPr lang="en-GB" sz="800">
              <a:solidFill>
                <a:schemeClr val="tx1"/>
              </a:solidFill>
            </a:endParaRPr>
          </a:p>
        </p:txBody>
      </p:sp>
      <p:sp>
        <p:nvSpPr>
          <p:cNvPr id="58" name="Oval 57">
            <a:extLst>
              <a:ext uri="{FF2B5EF4-FFF2-40B4-BE49-F238E27FC236}">
                <a16:creationId xmlns:a16="http://schemas.microsoft.com/office/drawing/2014/main" id="{73A4D023-410E-B101-4A7C-5D2EEBA44867}"/>
              </a:ext>
            </a:extLst>
          </p:cNvPr>
          <p:cNvSpPr/>
          <p:nvPr/>
        </p:nvSpPr>
        <p:spPr>
          <a:xfrm>
            <a:off x="5972774" y="1983487"/>
            <a:ext cx="252000" cy="252000"/>
          </a:xfrm>
          <a:prstGeom prst="ellipse">
            <a:avLst/>
          </a:prstGeom>
          <a:solidFill>
            <a:schemeClr val="bg1"/>
          </a:solidFill>
          <a:ln w="28575">
            <a:solidFill>
              <a:srgbClr val="003764"/>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800">
                <a:solidFill>
                  <a:schemeClr val="tx1"/>
                </a:solidFill>
                <a:sym typeface="Wingdings" panose="05000000000000000000" pitchFamily="2" charset="2"/>
              </a:rPr>
              <a:t></a:t>
            </a:r>
            <a:endParaRPr lang="en-GB" sz="800">
              <a:solidFill>
                <a:schemeClr val="tx1"/>
              </a:solidFill>
            </a:endParaRPr>
          </a:p>
        </p:txBody>
      </p:sp>
      <p:sp>
        <p:nvSpPr>
          <p:cNvPr id="63" name="Oval 62">
            <a:extLst>
              <a:ext uri="{FF2B5EF4-FFF2-40B4-BE49-F238E27FC236}">
                <a16:creationId xmlns:a16="http://schemas.microsoft.com/office/drawing/2014/main" id="{989FDC34-0FB0-CEE3-FF3C-610B3A4B18E2}"/>
              </a:ext>
            </a:extLst>
          </p:cNvPr>
          <p:cNvSpPr/>
          <p:nvPr/>
        </p:nvSpPr>
        <p:spPr>
          <a:xfrm>
            <a:off x="3839500" y="3049426"/>
            <a:ext cx="252000" cy="252000"/>
          </a:xfrm>
          <a:prstGeom prst="ellipse">
            <a:avLst/>
          </a:prstGeom>
          <a:solidFill>
            <a:schemeClr val="bg1"/>
          </a:solidFill>
          <a:ln w="28575">
            <a:solidFill>
              <a:srgbClr val="003764"/>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800">
                <a:solidFill>
                  <a:schemeClr val="tx1"/>
                </a:solidFill>
                <a:sym typeface="Wingdings" panose="05000000000000000000" pitchFamily="2" charset="2"/>
              </a:rPr>
              <a:t></a:t>
            </a:r>
            <a:endParaRPr lang="en-GB" sz="800">
              <a:solidFill>
                <a:schemeClr val="tx1"/>
              </a:solidFill>
            </a:endParaRPr>
          </a:p>
        </p:txBody>
      </p:sp>
      <p:sp>
        <p:nvSpPr>
          <p:cNvPr id="1025" name="Oval 1024">
            <a:extLst>
              <a:ext uri="{FF2B5EF4-FFF2-40B4-BE49-F238E27FC236}">
                <a16:creationId xmlns:a16="http://schemas.microsoft.com/office/drawing/2014/main" id="{F35D21FF-C91D-102C-F659-FE73AACFC09B}"/>
              </a:ext>
            </a:extLst>
          </p:cNvPr>
          <p:cNvSpPr/>
          <p:nvPr/>
        </p:nvSpPr>
        <p:spPr>
          <a:xfrm>
            <a:off x="3839500" y="2338800"/>
            <a:ext cx="252000" cy="252000"/>
          </a:xfrm>
          <a:prstGeom prst="ellipse">
            <a:avLst/>
          </a:prstGeom>
          <a:solidFill>
            <a:schemeClr val="bg1"/>
          </a:solidFill>
          <a:ln w="28575">
            <a:solidFill>
              <a:srgbClr val="003764"/>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800">
                <a:solidFill>
                  <a:schemeClr val="tx1"/>
                </a:solidFill>
                <a:sym typeface="Wingdings" panose="05000000000000000000" pitchFamily="2" charset="2"/>
              </a:rPr>
              <a:t></a:t>
            </a:r>
            <a:endParaRPr lang="en-GB" sz="800">
              <a:solidFill>
                <a:schemeClr val="tx1"/>
              </a:solidFill>
            </a:endParaRPr>
          </a:p>
        </p:txBody>
      </p:sp>
      <p:sp>
        <p:nvSpPr>
          <p:cNvPr id="1033" name="TextBox 1032">
            <a:extLst>
              <a:ext uri="{FF2B5EF4-FFF2-40B4-BE49-F238E27FC236}">
                <a16:creationId xmlns:a16="http://schemas.microsoft.com/office/drawing/2014/main" id="{3D3DE0AE-7F2E-C790-A2D7-20149B6676B1}"/>
              </a:ext>
            </a:extLst>
          </p:cNvPr>
          <p:cNvSpPr txBox="1"/>
          <p:nvPr/>
        </p:nvSpPr>
        <p:spPr>
          <a:xfrm>
            <a:off x="172479" y="1618197"/>
            <a:ext cx="611028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sng" strike="noStrike" kern="1200" cap="none" spc="0" normalizeH="0" baseline="0" noProof="0">
                <a:ln>
                  <a:noFill/>
                </a:ln>
                <a:solidFill>
                  <a:srgbClr val="FFFFFF"/>
                </a:solidFill>
                <a:effectLst/>
                <a:uLnTx/>
                <a:uFillTx/>
                <a:latin typeface="Aptos" panose="02110004020202020204"/>
                <a:ea typeface="+mn-ea"/>
                <a:cs typeface="+mn-cs"/>
              </a:rPr>
              <a:t>Primary Services</a:t>
            </a:r>
          </a:p>
        </p:txBody>
      </p:sp>
      <p:sp>
        <p:nvSpPr>
          <p:cNvPr id="11" name="Oval 10">
            <a:extLst>
              <a:ext uri="{FF2B5EF4-FFF2-40B4-BE49-F238E27FC236}">
                <a16:creationId xmlns:a16="http://schemas.microsoft.com/office/drawing/2014/main" id="{FC17ED21-B739-35ED-8D35-2325F4D78404}"/>
              </a:ext>
            </a:extLst>
          </p:cNvPr>
          <p:cNvSpPr/>
          <p:nvPr/>
        </p:nvSpPr>
        <p:spPr>
          <a:xfrm>
            <a:off x="8119474" y="4462000"/>
            <a:ext cx="252000" cy="252000"/>
          </a:xfrm>
          <a:prstGeom prst="ellipse">
            <a:avLst/>
          </a:prstGeom>
          <a:solidFill>
            <a:schemeClr val="bg1"/>
          </a:solidFill>
          <a:ln w="28575">
            <a:solidFill>
              <a:srgbClr val="003764"/>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800">
                <a:solidFill>
                  <a:schemeClr val="tx1"/>
                </a:solidFill>
                <a:sym typeface="Wingdings" panose="05000000000000000000" pitchFamily="2" charset="2"/>
              </a:rPr>
              <a:t></a:t>
            </a:r>
            <a:endParaRPr lang="en-GB" sz="800">
              <a:solidFill>
                <a:schemeClr val="tx1"/>
              </a:solidFill>
            </a:endParaRPr>
          </a:p>
        </p:txBody>
      </p:sp>
      <p:sp>
        <p:nvSpPr>
          <p:cNvPr id="21" name="Arrow: Right 20">
            <a:extLst>
              <a:ext uri="{FF2B5EF4-FFF2-40B4-BE49-F238E27FC236}">
                <a16:creationId xmlns:a16="http://schemas.microsoft.com/office/drawing/2014/main" id="{4029F7AC-226E-A424-D52D-18F313C4BC70}"/>
              </a:ext>
            </a:extLst>
          </p:cNvPr>
          <p:cNvSpPr/>
          <p:nvPr/>
        </p:nvSpPr>
        <p:spPr>
          <a:xfrm>
            <a:off x="8663405" y="1445461"/>
            <a:ext cx="1284844" cy="324000"/>
          </a:xfrm>
          <a:prstGeom prst="rightArrow">
            <a:avLst>
              <a:gd name="adj1" fmla="val 64147"/>
              <a:gd name="adj2" fmla="val 139633"/>
            </a:avLst>
          </a:prstGeom>
          <a:solidFill>
            <a:schemeClr val="bg1"/>
          </a:solidFill>
          <a:ln w="12700">
            <a:solidFill>
              <a:schemeClr val="bg1">
                <a:lumMod val="8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400"/>
          </a:p>
        </p:txBody>
      </p:sp>
      <p:sp>
        <p:nvSpPr>
          <p:cNvPr id="22" name="TextBox 21">
            <a:extLst>
              <a:ext uri="{FF2B5EF4-FFF2-40B4-BE49-F238E27FC236}">
                <a16:creationId xmlns:a16="http://schemas.microsoft.com/office/drawing/2014/main" id="{25BA69A1-0355-1FD6-E83C-3C34786B28D7}"/>
              </a:ext>
            </a:extLst>
          </p:cNvPr>
          <p:cNvSpPr txBox="1"/>
          <p:nvPr/>
        </p:nvSpPr>
        <p:spPr>
          <a:xfrm>
            <a:off x="7439069" y="1013514"/>
            <a:ext cx="1602581" cy="307777"/>
          </a:xfrm>
          <a:prstGeom prst="rect">
            <a:avLst/>
          </a:prstGeom>
          <a:noFill/>
        </p:spPr>
        <p:txBody>
          <a:bodyPr wrap="square">
            <a:spAutoFit/>
          </a:bodyPr>
          <a:lstStyle/>
          <a:p>
            <a:pPr algn="ctr"/>
            <a:r>
              <a:rPr lang="en-GB" sz="1400" b="1">
                <a:solidFill>
                  <a:schemeClr val="bg1"/>
                </a:solidFill>
              </a:rPr>
              <a:t>Manufacturing</a:t>
            </a:r>
          </a:p>
        </p:txBody>
      </p:sp>
      <p:sp>
        <p:nvSpPr>
          <p:cNvPr id="25" name="Oval 24">
            <a:extLst>
              <a:ext uri="{FF2B5EF4-FFF2-40B4-BE49-F238E27FC236}">
                <a16:creationId xmlns:a16="http://schemas.microsoft.com/office/drawing/2014/main" id="{FCCCF9D6-B989-4D2D-44D9-67772D2FF937}"/>
              </a:ext>
            </a:extLst>
          </p:cNvPr>
          <p:cNvSpPr/>
          <p:nvPr/>
        </p:nvSpPr>
        <p:spPr>
          <a:xfrm>
            <a:off x="10268193" y="4462000"/>
            <a:ext cx="252000" cy="252000"/>
          </a:xfrm>
          <a:prstGeom prst="ellipse">
            <a:avLst/>
          </a:prstGeom>
          <a:solidFill>
            <a:schemeClr val="bg1"/>
          </a:solidFill>
          <a:ln w="28575">
            <a:solidFill>
              <a:srgbClr val="003764"/>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800">
                <a:solidFill>
                  <a:schemeClr val="tx1"/>
                </a:solidFill>
                <a:sym typeface="Wingdings" panose="05000000000000000000" pitchFamily="2" charset="2"/>
              </a:rPr>
              <a:t></a:t>
            </a:r>
            <a:endParaRPr lang="en-GB" sz="800">
              <a:solidFill>
                <a:schemeClr val="tx1"/>
              </a:solidFill>
            </a:endParaRPr>
          </a:p>
        </p:txBody>
      </p:sp>
      <p:sp>
        <p:nvSpPr>
          <p:cNvPr id="26" name="Oval 25">
            <a:extLst>
              <a:ext uri="{FF2B5EF4-FFF2-40B4-BE49-F238E27FC236}">
                <a16:creationId xmlns:a16="http://schemas.microsoft.com/office/drawing/2014/main" id="{A8D77C8B-FAB1-6DFA-672E-12AA95E86B72}"/>
              </a:ext>
            </a:extLst>
          </p:cNvPr>
          <p:cNvSpPr/>
          <p:nvPr/>
        </p:nvSpPr>
        <p:spPr>
          <a:xfrm>
            <a:off x="3839500" y="3760052"/>
            <a:ext cx="252000" cy="252000"/>
          </a:xfrm>
          <a:prstGeom prst="ellipse">
            <a:avLst/>
          </a:prstGeom>
          <a:solidFill>
            <a:schemeClr val="bg1"/>
          </a:solidFill>
          <a:ln w="28575">
            <a:solidFill>
              <a:srgbClr val="003764"/>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800">
                <a:solidFill>
                  <a:schemeClr val="tx1"/>
                </a:solidFill>
                <a:sym typeface="Wingdings" panose="05000000000000000000" pitchFamily="2" charset="2"/>
              </a:rPr>
              <a:t></a:t>
            </a:r>
            <a:endParaRPr lang="en-GB" sz="800">
              <a:solidFill>
                <a:schemeClr val="tx1"/>
              </a:solidFill>
            </a:endParaRPr>
          </a:p>
        </p:txBody>
      </p:sp>
      <p:sp>
        <p:nvSpPr>
          <p:cNvPr id="27" name="Oval 26">
            <a:extLst>
              <a:ext uri="{FF2B5EF4-FFF2-40B4-BE49-F238E27FC236}">
                <a16:creationId xmlns:a16="http://schemas.microsoft.com/office/drawing/2014/main" id="{DD018D06-AA6B-1224-F555-503741244256}"/>
              </a:ext>
            </a:extLst>
          </p:cNvPr>
          <p:cNvSpPr/>
          <p:nvPr/>
        </p:nvSpPr>
        <p:spPr>
          <a:xfrm>
            <a:off x="5972774" y="1983487"/>
            <a:ext cx="252000" cy="252000"/>
          </a:xfrm>
          <a:prstGeom prst="ellipse">
            <a:avLst/>
          </a:prstGeom>
          <a:solidFill>
            <a:schemeClr val="bg1"/>
          </a:solidFill>
          <a:ln w="28575">
            <a:solidFill>
              <a:srgbClr val="003764"/>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800">
                <a:solidFill>
                  <a:schemeClr val="tx1"/>
                </a:solidFill>
                <a:sym typeface="Wingdings" panose="05000000000000000000" pitchFamily="2" charset="2"/>
              </a:rPr>
              <a:t></a:t>
            </a:r>
            <a:endParaRPr lang="en-GB" sz="800">
              <a:solidFill>
                <a:schemeClr val="tx1"/>
              </a:solidFill>
            </a:endParaRPr>
          </a:p>
        </p:txBody>
      </p:sp>
      <p:sp>
        <p:nvSpPr>
          <p:cNvPr id="28" name="Oval 27">
            <a:extLst>
              <a:ext uri="{FF2B5EF4-FFF2-40B4-BE49-F238E27FC236}">
                <a16:creationId xmlns:a16="http://schemas.microsoft.com/office/drawing/2014/main" id="{7001BB80-6011-4147-1433-802A4EAB69FF}"/>
              </a:ext>
            </a:extLst>
          </p:cNvPr>
          <p:cNvSpPr/>
          <p:nvPr/>
        </p:nvSpPr>
        <p:spPr>
          <a:xfrm>
            <a:off x="5972774" y="2694113"/>
            <a:ext cx="252000" cy="252000"/>
          </a:xfrm>
          <a:prstGeom prst="ellipse">
            <a:avLst/>
          </a:prstGeom>
          <a:solidFill>
            <a:schemeClr val="bg1"/>
          </a:solidFill>
          <a:ln w="28575">
            <a:solidFill>
              <a:srgbClr val="003764"/>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800">
                <a:solidFill>
                  <a:schemeClr val="tx1"/>
                </a:solidFill>
                <a:sym typeface="Wingdings" panose="05000000000000000000" pitchFamily="2" charset="2"/>
              </a:rPr>
              <a:t></a:t>
            </a:r>
            <a:endParaRPr lang="en-GB" sz="800">
              <a:solidFill>
                <a:schemeClr val="tx1"/>
              </a:solidFill>
            </a:endParaRPr>
          </a:p>
        </p:txBody>
      </p:sp>
      <p:sp>
        <p:nvSpPr>
          <p:cNvPr id="29" name="Oval 28">
            <a:extLst>
              <a:ext uri="{FF2B5EF4-FFF2-40B4-BE49-F238E27FC236}">
                <a16:creationId xmlns:a16="http://schemas.microsoft.com/office/drawing/2014/main" id="{19867C24-97B3-9B7D-AEDC-D4F41A53E967}"/>
              </a:ext>
            </a:extLst>
          </p:cNvPr>
          <p:cNvSpPr/>
          <p:nvPr/>
        </p:nvSpPr>
        <p:spPr>
          <a:xfrm>
            <a:off x="5972774" y="2338800"/>
            <a:ext cx="252000" cy="252000"/>
          </a:xfrm>
          <a:prstGeom prst="ellipse">
            <a:avLst/>
          </a:prstGeom>
          <a:solidFill>
            <a:schemeClr val="bg1"/>
          </a:solidFill>
          <a:ln w="28575">
            <a:solidFill>
              <a:srgbClr val="003764"/>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800">
                <a:solidFill>
                  <a:schemeClr val="tx1"/>
                </a:solidFill>
                <a:sym typeface="Wingdings" panose="05000000000000000000" pitchFamily="2" charset="2"/>
              </a:rPr>
              <a:t></a:t>
            </a:r>
            <a:endParaRPr lang="en-GB" sz="800">
              <a:solidFill>
                <a:schemeClr val="tx1"/>
              </a:solidFill>
            </a:endParaRPr>
          </a:p>
        </p:txBody>
      </p:sp>
      <p:sp>
        <p:nvSpPr>
          <p:cNvPr id="5" name="Oval 4">
            <a:extLst>
              <a:ext uri="{FF2B5EF4-FFF2-40B4-BE49-F238E27FC236}">
                <a16:creationId xmlns:a16="http://schemas.microsoft.com/office/drawing/2014/main" id="{073EE672-3CA8-B8BC-E85C-EE41D4553EE4}"/>
              </a:ext>
            </a:extLst>
          </p:cNvPr>
          <p:cNvSpPr/>
          <p:nvPr/>
        </p:nvSpPr>
        <p:spPr>
          <a:xfrm>
            <a:off x="3839500" y="4111026"/>
            <a:ext cx="252000" cy="252000"/>
          </a:xfrm>
          <a:prstGeom prst="ellipse">
            <a:avLst/>
          </a:prstGeom>
          <a:solidFill>
            <a:schemeClr val="bg1"/>
          </a:solidFill>
          <a:ln w="28575">
            <a:solidFill>
              <a:srgbClr val="003764"/>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800">
                <a:solidFill>
                  <a:schemeClr val="tx1"/>
                </a:solidFill>
                <a:sym typeface="Wingdings" panose="05000000000000000000" pitchFamily="2" charset="2"/>
              </a:rPr>
              <a:t></a:t>
            </a:r>
            <a:endParaRPr lang="en-GB" sz="800">
              <a:solidFill>
                <a:schemeClr val="tx1"/>
              </a:solidFill>
            </a:endParaRPr>
          </a:p>
        </p:txBody>
      </p:sp>
      <p:sp>
        <p:nvSpPr>
          <p:cNvPr id="7" name="Oval 6">
            <a:extLst>
              <a:ext uri="{FF2B5EF4-FFF2-40B4-BE49-F238E27FC236}">
                <a16:creationId xmlns:a16="http://schemas.microsoft.com/office/drawing/2014/main" id="{90F12703-6088-3E9E-1BC9-1F796FE66190}"/>
              </a:ext>
            </a:extLst>
          </p:cNvPr>
          <p:cNvSpPr/>
          <p:nvPr/>
        </p:nvSpPr>
        <p:spPr>
          <a:xfrm>
            <a:off x="3839500" y="4462000"/>
            <a:ext cx="252000" cy="252000"/>
          </a:xfrm>
          <a:prstGeom prst="ellipse">
            <a:avLst/>
          </a:prstGeom>
          <a:solidFill>
            <a:schemeClr val="bg1"/>
          </a:solidFill>
          <a:ln w="28575">
            <a:solidFill>
              <a:srgbClr val="003764"/>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800">
                <a:solidFill>
                  <a:schemeClr val="tx1"/>
                </a:solidFill>
                <a:sym typeface="Wingdings" panose="05000000000000000000" pitchFamily="2" charset="2"/>
              </a:rPr>
              <a:t></a:t>
            </a:r>
            <a:endParaRPr lang="en-GB" sz="800">
              <a:solidFill>
                <a:schemeClr val="tx1"/>
              </a:solidFill>
            </a:endParaRPr>
          </a:p>
        </p:txBody>
      </p:sp>
      <p:sp>
        <p:nvSpPr>
          <p:cNvPr id="9" name="Oval 8">
            <a:extLst>
              <a:ext uri="{FF2B5EF4-FFF2-40B4-BE49-F238E27FC236}">
                <a16:creationId xmlns:a16="http://schemas.microsoft.com/office/drawing/2014/main" id="{9BA4E420-CAF7-434F-E145-B280936C5C3E}"/>
              </a:ext>
            </a:extLst>
          </p:cNvPr>
          <p:cNvSpPr/>
          <p:nvPr/>
        </p:nvSpPr>
        <p:spPr>
          <a:xfrm>
            <a:off x="5972774" y="3404739"/>
            <a:ext cx="252000" cy="252000"/>
          </a:xfrm>
          <a:prstGeom prst="ellipse">
            <a:avLst/>
          </a:prstGeom>
          <a:solidFill>
            <a:schemeClr val="bg1"/>
          </a:solidFill>
          <a:ln w="28575">
            <a:solidFill>
              <a:srgbClr val="003764"/>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800">
                <a:solidFill>
                  <a:schemeClr val="tx1"/>
                </a:solidFill>
                <a:sym typeface="Wingdings" panose="05000000000000000000" pitchFamily="2" charset="2"/>
              </a:rPr>
              <a:t></a:t>
            </a:r>
            <a:endParaRPr lang="en-GB" sz="800">
              <a:solidFill>
                <a:schemeClr val="tx1"/>
              </a:solidFill>
            </a:endParaRPr>
          </a:p>
        </p:txBody>
      </p:sp>
      <p:sp>
        <p:nvSpPr>
          <p:cNvPr id="13" name="Oval 12">
            <a:extLst>
              <a:ext uri="{FF2B5EF4-FFF2-40B4-BE49-F238E27FC236}">
                <a16:creationId xmlns:a16="http://schemas.microsoft.com/office/drawing/2014/main" id="{2785A11B-6D75-B614-BB37-6AD36F5E5477}"/>
              </a:ext>
            </a:extLst>
          </p:cNvPr>
          <p:cNvSpPr/>
          <p:nvPr/>
        </p:nvSpPr>
        <p:spPr>
          <a:xfrm>
            <a:off x="5972774" y="4462000"/>
            <a:ext cx="252000" cy="252000"/>
          </a:xfrm>
          <a:prstGeom prst="ellipse">
            <a:avLst/>
          </a:prstGeom>
          <a:solidFill>
            <a:schemeClr val="bg1"/>
          </a:solidFill>
          <a:ln w="28575">
            <a:solidFill>
              <a:srgbClr val="003764"/>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800">
                <a:solidFill>
                  <a:schemeClr val="tx1"/>
                </a:solidFill>
                <a:sym typeface="Wingdings" panose="05000000000000000000" pitchFamily="2" charset="2"/>
              </a:rPr>
              <a:t></a:t>
            </a:r>
            <a:endParaRPr lang="en-GB" sz="800">
              <a:solidFill>
                <a:schemeClr val="tx1"/>
              </a:solidFill>
            </a:endParaRPr>
          </a:p>
        </p:txBody>
      </p:sp>
      <p:sp>
        <p:nvSpPr>
          <p:cNvPr id="18" name="Oval 17">
            <a:extLst>
              <a:ext uri="{FF2B5EF4-FFF2-40B4-BE49-F238E27FC236}">
                <a16:creationId xmlns:a16="http://schemas.microsoft.com/office/drawing/2014/main" id="{475802D2-4C86-6035-4837-044971768C44}"/>
              </a:ext>
            </a:extLst>
          </p:cNvPr>
          <p:cNvSpPr/>
          <p:nvPr/>
        </p:nvSpPr>
        <p:spPr>
          <a:xfrm>
            <a:off x="8119474" y="4825055"/>
            <a:ext cx="252000" cy="252000"/>
          </a:xfrm>
          <a:prstGeom prst="ellipse">
            <a:avLst/>
          </a:prstGeom>
          <a:solidFill>
            <a:schemeClr val="bg1"/>
          </a:solidFill>
          <a:ln w="28575">
            <a:solidFill>
              <a:srgbClr val="003764"/>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800">
                <a:solidFill>
                  <a:schemeClr val="tx1"/>
                </a:solidFill>
                <a:sym typeface="Wingdings" panose="05000000000000000000" pitchFamily="2" charset="2"/>
              </a:rPr>
              <a:t></a:t>
            </a:r>
            <a:endParaRPr lang="en-GB" sz="800">
              <a:solidFill>
                <a:schemeClr val="tx1"/>
              </a:solidFill>
            </a:endParaRPr>
          </a:p>
        </p:txBody>
      </p:sp>
      <p:sp>
        <p:nvSpPr>
          <p:cNvPr id="19" name="Oval 18">
            <a:extLst>
              <a:ext uri="{FF2B5EF4-FFF2-40B4-BE49-F238E27FC236}">
                <a16:creationId xmlns:a16="http://schemas.microsoft.com/office/drawing/2014/main" id="{0E1D12E5-4C4E-9B23-DA65-D656312AB60B}"/>
              </a:ext>
            </a:extLst>
          </p:cNvPr>
          <p:cNvSpPr/>
          <p:nvPr/>
        </p:nvSpPr>
        <p:spPr>
          <a:xfrm>
            <a:off x="10268193" y="5173642"/>
            <a:ext cx="252000" cy="252000"/>
          </a:xfrm>
          <a:prstGeom prst="ellipse">
            <a:avLst/>
          </a:prstGeom>
          <a:solidFill>
            <a:schemeClr val="bg1"/>
          </a:solidFill>
          <a:ln w="28575">
            <a:solidFill>
              <a:srgbClr val="003764"/>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800">
                <a:solidFill>
                  <a:schemeClr val="tx1"/>
                </a:solidFill>
                <a:sym typeface="Wingdings" panose="05000000000000000000" pitchFamily="2" charset="2"/>
              </a:rPr>
              <a:t></a:t>
            </a:r>
            <a:endParaRPr lang="en-GB" sz="800">
              <a:solidFill>
                <a:schemeClr val="tx1"/>
              </a:solidFill>
            </a:endParaRPr>
          </a:p>
        </p:txBody>
      </p:sp>
      <p:sp>
        <p:nvSpPr>
          <p:cNvPr id="20" name="Oval 19">
            <a:extLst>
              <a:ext uri="{FF2B5EF4-FFF2-40B4-BE49-F238E27FC236}">
                <a16:creationId xmlns:a16="http://schemas.microsoft.com/office/drawing/2014/main" id="{E854A0DF-843A-1762-5CD7-6735D0A558CF}"/>
              </a:ext>
            </a:extLst>
          </p:cNvPr>
          <p:cNvSpPr/>
          <p:nvPr/>
        </p:nvSpPr>
        <p:spPr>
          <a:xfrm>
            <a:off x="10268193" y="5536371"/>
            <a:ext cx="252000" cy="252000"/>
          </a:xfrm>
          <a:prstGeom prst="ellipse">
            <a:avLst/>
          </a:prstGeom>
          <a:solidFill>
            <a:schemeClr val="bg1"/>
          </a:solidFill>
          <a:ln w="28575">
            <a:solidFill>
              <a:srgbClr val="003764"/>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800">
                <a:solidFill>
                  <a:schemeClr val="tx1"/>
                </a:solidFill>
                <a:sym typeface="Wingdings" panose="05000000000000000000" pitchFamily="2" charset="2"/>
              </a:rPr>
              <a:t></a:t>
            </a:r>
            <a:endParaRPr lang="en-GB" sz="800">
              <a:solidFill>
                <a:schemeClr val="tx1"/>
              </a:solidFill>
            </a:endParaRPr>
          </a:p>
        </p:txBody>
      </p:sp>
      <p:sp>
        <p:nvSpPr>
          <p:cNvPr id="23" name="Oval 22">
            <a:extLst>
              <a:ext uri="{FF2B5EF4-FFF2-40B4-BE49-F238E27FC236}">
                <a16:creationId xmlns:a16="http://schemas.microsoft.com/office/drawing/2014/main" id="{C45D4464-0915-E349-5C5F-6413A5D1E9F8}"/>
              </a:ext>
            </a:extLst>
          </p:cNvPr>
          <p:cNvSpPr/>
          <p:nvPr/>
        </p:nvSpPr>
        <p:spPr>
          <a:xfrm>
            <a:off x="10268193" y="5890792"/>
            <a:ext cx="252000" cy="252000"/>
          </a:xfrm>
          <a:prstGeom prst="ellipse">
            <a:avLst/>
          </a:prstGeom>
          <a:solidFill>
            <a:schemeClr val="bg1"/>
          </a:solidFill>
          <a:ln w="28575">
            <a:solidFill>
              <a:srgbClr val="003764"/>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800">
                <a:solidFill>
                  <a:schemeClr val="tx1"/>
                </a:solidFill>
                <a:sym typeface="Wingdings" panose="05000000000000000000" pitchFamily="2" charset="2"/>
              </a:rPr>
              <a:t></a:t>
            </a:r>
            <a:endParaRPr lang="en-GB" sz="800">
              <a:solidFill>
                <a:schemeClr val="tx1"/>
              </a:solidFill>
            </a:endParaRPr>
          </a:p>
        </p:txBody>
      </p:sp>
      <p:pic>
        <p:nvPicPr>
          <p:cNvPr id="33" name="Graphic 32" descr="Chemicals with solid fill">
            <a:extLst>
              <a:ext uri="{FF2B5EF4-FFF2-40B4-BE49-F238E27FC236}">
                <a16:creationId xmlns:a16="http://schemas.microsoft.com/office/drawing/2014/main" id="{75CCA1D0-6490-2F5B-0A4A-ACB8F09B644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7903498" y="1235303"/>
            <a:ext cx="682897" cy="682897"/>
          </a:xfrm>
          <a:prstGeom prst="rect">
            <a:avLst/>
          </a:prstGeom>
        </p:spPr>
      </p:pic>
      <p:sp>
        <p:nvSpPr>
          <p:cNvPr id="12" name="Oval 11">
            <a:extLst>
              <a:ext uri="{FF2B5EF4-FFF2-40B4-BE49-F238E27FC236}">
                <a16:creationId xmlns:a16="http://schemas.microsoft.com/office/drawing/2014/main" id="{45E17DF6-E7E7-1CC0-CB97-DAFAE574E048}"/>
              </a:ext>
            </a:extLst>
          </p:cNvPr>
          <p:cNvSpPr/>
          <p:nvPr/>
        </p:nvSpPr>
        <p:spPr>
          <a:xfrm>
            <a:off x="10268193" y="4825055"/>
            <a:ext cx="252000" cy="252000"/>
          </a:xfrm>
          <a:prstGeom prst="ellipse">
            <a:avLst/>
          </a:prstGeom>
          <a:solidFill>
            <a:schemeClr val="bg1"/>
          </a:solidFill>
          <a:ln w="28575">
            <a:solidFill>
              <a:srgbClr val="003764"/>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800">
                <a:solidFill>
                  <a:schemeClr val="tx1"/>
                </a:solidFill>
                <a:sym typeface="Wingdings" panose="05000000000000000000" pitchFamily="2" charset="2"/>
              </a:rPr>
              <a:t></a:t>
            </a:r>
            <a:endParaRPr lang="en-GB" sz="800">
              <a:solidFill>
                <a:schemeClr val="tx1"/>
              </a:solidFill>
            </a:endParaRPr>
          </a:p>
        </p:txBody>
      </p:sp>
      <p:sp>
        <p:nvSpPr>
          <p:cNvPr id="38" name="Oval 37">
            <a:extLst>
              <a:ext uri="{FF2B5EF4-FFF2-40B4-BE49-F238E27FC236}">
                <a16:creationId xmlns:a16="http://schemas.microsoft.com/office/drawing/2014/main" id="{B0092F8C-C1EF-FCC7-5C29-6FA28753C083}"/>
              </a:ext>
            </a:extLst>
          </p:cNvPr>
          <p:cNvSpPr/>
          <p:nvPr/>
        </p:nvSpPr>
        <p:spPr>
          <a:xfrm>
            <a:off x="5969999" y="3760052"/>
            <a:ext cx="252000" cy="252000"/>
          </a:xfrm>
          <a:prstGeom prst="ellipse">
            <a:avLst/>
          </a:prstGeom>
          <a:solidFill>
            <a:schemeClr val="bg1"/>
          </a:solidFill>
          <a:ln w="28575">
            <a:solidFill>
              <a:srgbClr val="003764"/>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800">
                <a:solidFill>
                  <a:schemeClr val="tx1"/>
                </a:solidFill>
                <a:sym typeface="Wingdings" panose="05000000000000000000" pitchFamily="2" charset="2"/>
              </a:rPr>
              <a:t></a:t>
            </a:r>
            <a:endParaRPr lang="en-GB" sz="800">
              <a:solidFill>
                <a:schemeClr val="tx1"/>
              </a:solidFill>
            </a:endParaRPr>
          </a:p>
        </p:txBody>
      </p:sp>
      <p:sp>
        <p:nvSpPr>
          <p:cNvPr id="42" name="TextBox 41">
            <a:extLst>
              <a:ext uri="{FF2B5EF4-FFF2-40B4-BE49-F238E27FC236}">
                <a16:creationId xmlns:a16="http://schemas.microsoft.com/office/drawing/2014/main" id="{6568A6A1-5AF7-44D8-F008-4979B2FE5102}"/>
              </a:ext>
            </a:extLst>
          </p:cNvPr>
          <p:cNvSpPr txBox="1"/>
          <p:nvPr/>
        </p:nvSpPr>
        <p:spPr>
          <a:xfrm>
            <a:off x="85504" y="6383798"/>
            <a:ext cx="1752821" cy="400110"/>
          </a:xfrm>
          <a:prstGeom prst="rect">
            <a:avLst/>
          </a:prstGeom>
          <a:noFill/>
        </p:spPr>
        <p:txBody>
          <a:bodyPr wrap="square">
            <a:spAutoFit/>
          </a:bodyPr>
          <a:lstStyle/>
          <a:p>
            <a:r>
              <a:rPr lang="en-GB" sz="1000" b="0" i="1">
                <a:solidFill>
                  <a:schemeClr val="bg1"/>
                </a:solidFill>
              </a:rPr>
              <a:t>C = Classic available</a:t>
            </a:r>
          </a:p>
          <a:p>
            <a:r>
              <a:rPr lang="en-GB" sz="1000" i="1">
                <a:solidFill>
                  <a:schemeClr val="bg1"/>
                </a:solidFill>
              </a:rPr>
              <a:t>P = Premium </a:t>
            </a:r>
            <a:r>
              <a:rPr lang="en-GB" sz="1000" b="0" i="1">
                <a:solidFill>
                  <a:schemeClr val="bg1"/>
                </a:solidFill>
              </a:rPr>
              <a:t>available</a:t>
            </a:r>
            <a:endParaRPr lang="en-GB" sz="1000" i="1"/>
          </a:p>
        </p:txBody>
      </p:sp>
      <p:sp>
        <p:nvSpPr>
          <p:cNvPr id="2" name="Date Placeholder 3">
            <a:extLst>
              <a:ext uri="{FF2B5EF4-FFF2-40B4-BE49-F238E27FC236}">
                <a16:creationId xmlns:a16="http://schemas.microsoft.com/office/drawing/2014/main" id="{1FB9B1DB-8727-04A4-188D-33EAEFBB7BAA}"/>
              </a:ext>
            </a:extLst>
          </p:cNvPr>
          <p:cNvSpPr txBox="1">
            <a:spLocks/>
          </p:cNvSpPr>
          <p:nvPr/>
        </p:nvSpPr>
        <p:spPr>
          <a:xfrm>
            <a:off x="5406888" y="6429965"/>
            <a:ext cx="1759021" cy="30777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i="1">
                <a:solidFill>
                  <a:schemeClr val="bg1"/>
                </a:solidFill>
                <a:latin typeface="Garamond" panose="02020404030301010803" pitchFamily="18" charset="0"/>
              </a:rPr>
              <a:t>October 2025</a:t>
            </a:r>
            <a:endParaRPr lang="en-GB" sz="1200" i="1">
              <a:solidFill>
                <a:schemeClr val="bg1"/>
              </a:solidFill>
              <a:latin typeface="Garamond" panose="02020404030301010803" pitchFamily="18" charset="0"/>
            </a:endParaRPr>
          </a:p>
        </p:txBody>
      </p:sp>
      <p:sp>
        <p:nvSpPr>
          <p:cNvPr id="3" name="Footer Placeholder 4">
            <a:extLst>
              <a:ext uri="{FF2B5EF4-FFF2-40B4-BE49-F238E27FC236}">
                <a16:creationId xmlns:a16="http://schemas.microsoft.com/office/drawing/2014/main" id="{BC620C9C-2579-423E-2DC6-316FDF4F8F28}"/>
              </a:ext>
            </a:extLst>
          </p:cNvPr>
          <p:cNvSpPr txBox="1">
            <a:spLocks/>
          </p:cNvSpPr>
          <p:nvPr/>
        </p:nvSpPr>
        <p:spPr>
          <a:xfrm>
            <a:off x="7350369" y="6429965"/>
            <a:ext cx="3176758" cy="30777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50" b="1">
                <a:solidFill>
                  <a:schemeClr val="bg1"/>
                </a:solidFill>
                <a:latin typeface="Arial" panose="020B0604020202020204" pitchFamily="34" charset="0"/>
                <a:cs typeface="Arial" panose="020B0604020202020204" pitchFamily="34" charset="0"/>
              </a:rPr>
              <a:t>Co &amp; Li supply: </a:t>
            </a:r>
            <a:r>
              <a:rPr lang="en-US" sz="1050">
                <a:solidFill>
                  <a:schemeClr val="bg1"/>
                </a:solidFill>
                <a:latin typeface="Arial" panose="020B0604020202020204" pitchFamily="34" charset="0"/>
                <a:cs typeface="Arial" panose="020B0604020202020204" pitchFamily="34" charset="0"/>
              </a:rPr>
              <a:t>stopgap or structural shift?</a:t>
            </a:r>
            <a:endParaRPr lang="en-GB" sz="1050">
              <a:solidFill>
                <a:schemeClr val="bg1"/>
              </a:solidFill>
              <a:latin typeface="Arial" panose="020B0604020202020204" pitchFamily="34" charset="0"/>
              <a:cs typeface="Arial" panose="020B0604020202020204" pitchFamily="34" charset="0"/>
            </a:endParaRPr>
          </a:p>
        </p:txBody>
      </p:sp>
      <p:sp>
        <p:nvSpPr>
          <p:cNvPr id="24" name="Slide Number Placeholder 23">
            <a:extLst>
              <a:ext uri="{FF2B5EF4-FFF2-40B4-BE49-F238E27FC236}">
                <a16:creationId xmlns:a16="http://schemas.microsoft.com/office/drawing/2014/main" id="{BBC12D28-A7B5-E58D-6972-9374A66B0B76}"/>
              </a:ext>
            </a:extLst>
          </p:cNvPr>
          <p:cNvSpPr>
            <a:spLocks noGrp="1"/>
          </p:cNvSpPr>
          <p:nvPr>
            <p:ph type="sldNum" sz="quarter" idx="12"/>
          </p:nvPr>
        </p:nvSpPr>
        <p:spPr/>
        <p:txBody>
          <a:bodyPr/>
          <a:lstStyle/>
          <a:p>
            <a:fld id="{562BA7E0-5F5E-EE41-AE8D-BD30ED9E17AD}" type="slidenum">
              <a:rPr lang="en-GB" smtClean="0"/>
              <a:pPr/>
              <a:t>4</a:t>
            </a:fld>
            <a:endParaRPr lang="en-GB"/>
          </a:p>
        </p:txBody>
      </p:sp>
    </p:spTree>
    <p:extLst>
      <p:ext uri="{BB962C8B-B14F-4D97-AF65-F5344CB8AC3E}">
        <p14:creationId xmlns:p14="http://schemas.microsoft.com/office/powerpoint/2010/main" val="40504634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C003B3-A935-72E0-B493-C76A8498E37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E62B82E-5B47-EA8D-87BB-6521F0D69316}"/>
              </a:ext>
            </a:extLst>
          </p:cNvPr>
          <p:cNvSpPr>
            <a:spLocks noGrp="1"/>
          </p:cNvSpPr>
          <p:nvPr>
            <p:ph type="title"/>
          </p:nvPr>
        </p:nvSpPr>
        <p:spPr/>
        <p:txBody>
          <a:bodyPr/>
          <a:lstStyle/>
          <a:p>
            <a:r>
              <a:rPr lang="en-US" b="1"/>
              <a:t>Co: </a:t>
            </a:r>
            <a:r>
              <a:rPr lang="en-US"/>
              <a:t>Slump to spike in 2025</a:t>
            </a:r>
          </a:p>
        </p:txBody>
      </p:sp>
      <p:sp>
        <p:nvSpPr>
          <p:cNvPr id="3" name="Date Placeholder 2">
            <a:extLst>
              <a:ext uri="{FF2B5EF4-FFF2-40B4-BE49-F238E27FC236}">
                <a16:creationId xmlns:a16="http://schemas.microsoft.com/office/drawing/2014/main" id="{4CD432CC-387E-2F62-CEA4-C0AEBBFE8445}"/>
              </a:ext>
            </a:extLst>
          </p:cNvPr>
          <p:cNvSpPr>
            <a:spLocks noGrp="1"/>
          </p:cNvSpPr>
          <p:nvPr>
            <p:ph type="dt" sz="half" idx="10"/>
          </p:nvPr>
        </p:nvSpPr>
        <p:spPr/>
        <p:txBody>
          <a:bodyPr/>
          <a:lstStyle/>
          <a:p>
            <a:r>
              <a:rPr lang="en-US"/>
              <a:t>October 2025</a:t>
            </a:r>
            <a:endParaRPr lang="en-GB"/>
          </a:p>
        </p:txBody>
      </p:sp>
      <p:sp>
        <p:nvSpPr>
          <p:cNvPr id="4" name="Footer Placeholder 3">
            <a:extLst>
              <a:ext uri="{FF2B5EF4-FFF2-40B4-BE49-F238E27FC236}">
                <a16:creationId xmlns:a16="http://schemas.microsoft.com/office/drawing/2014/main" id="{A0B595FA-5458-F2A7-66D9-61B4ECF5551D}"/>
              </a:ext>
            </a:extLst>
          </p:cNvPr>
          <p:cNvSpPr>
            <a:spLocks noGrp="1"/>
          </p:cNvSpPr>
          <p:nvPr>
            <p:ph type="ftr" sz="quarter" idx="11"/>
          </p:nvPr>
        </p:nvSpPr>
        <p:spPr/>
        <p:txBody>
          <a:bodyPr/>
          <a:lstStyle/>
          <a:p>
            <a:r>
              <a:rPr lang="en-US" sz="1050" b="1">
                <a:solidFill>
                  <a:schemeClr val="bg1"/>
                </a:solidFill>
                <a:latin typeface="Arial" panose="020B0604020202020204" pitchFamily="34" charset="0"/>
                <a:cs typeface="Arial" panose="020B0604020202020204" pitchFamily="34" charset="0"/>
              </a:rPr>
              <a:t>Co &amp; Li supply: </a:t>
            </a:r>
            <a:r>
              <a:rPr lang="en-US" sz="1050">
                <a:solidFill>
                  <a:schemeClr val="bg1"/>
                </a:solidFill>
                <a:latin typeface="Arial" panose="020B0604020202020204" pitchFamily="34" charset="0"/>
                <a:cs typeface="Arial" panose="020B0604020202020204" pitchFamily="34" charset="0"/>
              </a:rPr>
              <a:t>stopgap or structural shift?</a:t>
            </a:r>
            <a:endParaRPr lang="en-GB" sz="1050">
              <a:solidFill>
                <a:schemeClr val="bg1"/>
              </a:solidFill>
              <a:latin typeface="Arial" panose="020B0604020202020204" pitchFamily="34" charset="0"/>
              <a:cs typeface="Arial" panose="020B0604020202020204" pitchFamily="34" charset="0"/>
            </a:endParaRPr>
          </a:p>
        </p:txBody>
      </p:sp>
      <p:sp>
        <p:nvSpPr>
          <p:cNvPr id="5" name="Slide Number Placeholder 4">
            <a:extLst>
              <a:ext uri="{FF2B5EF4-FFF2-40B4-BE49-F238E27FC236}">
                <a16:creationId xmlns:a16="http://schemas.microsoft.com/office/drawing/2014/main" id="{6B444809-49C2-1AA3-EF83-817B5ABD608F}"/>
              </a:ext>
            </a:extLst>
          </p:cNvPr>
          <p:cNvSpPr>
            <a:spLocks noGrp="1"/>
          </p:cNvSpPr>
          <p:nvPr>
            <p:ph type="sldNum" sz="quarter" idx="12"/>
          </p:nvPr>
        </p:nvSpPr>
        <p:spPr/>
        <p:txBody>
          <a:bodyPr/>
          <a:lstStyle/>
          <a:p>
            <a:fld id="{562BA7E0-5F5E-EE41-AE8D-BD30ED9E17AD}" type="slidenum">
              <a:rPr lang="en-GB" smtClean="0"/>
              <a:pPr/>
              <a:t>5</a:t>
            </a:fld>
            <a:endParaRPr lang="en-GB"/>
          </a:p>
        </p:txBody>
      </p:sp>
      <p:graphicFrame>
        <p:nvGraphicFramePr>
          <p:cNvPr id="15" name="Content Placeholder 12">
            <a:extLst>
              <a:ext uri="{FF2B5EF4-FFF2-40B4-BE49-F238E27FC236}">
                <a16:creationId xmlns:a16="http://schemas.microsoft.com/office/drawing/2014/main" id="{25C820C9-AE11-885C-F2F4-8C065958863A}"/>
              </a:ext>
            </a:extLst>
          </p:cNvPr>
          <p:cNvGraphicFramePr>
            <a:graphicFrameLocks noGrp="1"/>
          </p:cNvGraphicFramePr>
          <p:nvPr>
            <p:ph sz="quarter" idx="13"/>
            <p:extLst>
              <p:ext uri="{D42A27DB-BD31-4B8C-83A1-F6EECF244321}">
                <p14:modId xmlns:p14="http://schemas.microsoft.com/office/powerpoint/2010/main" val="1358113935"/>
              </p:ext>
            </p:extLst>
          </p:nvPr>
        </p:nvGraphicFramePr>
        <p:xfrm>
          <a:off x="366713" y="1481138"/>
          <a:ext cx="5219700" cy="461803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 name="Content Placeholder 18">
            <a:extLst>
              <a:ext uri="{FF2B5EF4-FFF2-40B4-BE49-F238E27FC236}">
                <a16:creationId xmlns:a16="http://schemas.microsoft.com/office/drawing/2014/main" id="{37F26B1A-57C1-90A0-160D-01E04EECEFB9}"/>
              </a:ext>
            </a:extLst>
          </p:cNvPr>
          <p:cNvGraphicFramePr>
            <a:graphicFrameLocks noGrp="1"/>
          </p:cNvGraphicFramePr>
          <p:nvPr>
            <p:ph sz="quarter" idx="14"/>
            <p:extLst>
              <p:ext uri="{D42A27DB-BD31-4B8C-83A1-F6EECF244321}">
                <p14:modId xmlns:p14="http://schemas.microsoft.com/office/powerpoint/2010/main" val="2946907532"/>
              </p:ext>
            </p:extLst>
          </p:nvPr>
        </p:nvGraphicFramePr>
        <p:xfrm>
          <a:off x="6240463" y="1481138"/>
          <a:ext cx="5219700" cy="4618037"/>
        </p:xfrm>
        <a:graphic>
          <a:graphicData uri="http://schemas.openxmlformats.org/drawingml/2006/chart">
            <c:chart xmlns:c="http://schemas.openxmlformats.org/drawingml/2006/chart" xmlns:r="http://schemas.openxmlformats.org/officeDocument/2006/relationships" r:id="rId4"/>
          </a:graphicData>
        </a:graphic>
      </p:graphicFrame>
      <p:sp>
        <p:nvSpPr>
          <p:cNvPr id="20" name="Oval 19">
            <a:extLst>
              <a:ext uri="{FF2B5EF4-FFF2-40B4-BE49-F238E27FC236}">
                <a16:creationId xmlns:a16="http://schemas.microsoft.com/office/drawing/2014/main" id="{0070AB74-58F9-0CC6-1364-90EDB0C0430E}"/>
              </a:ext>
            </a:extLst>
          </p:cNvPr>
          <p:cNvSpPr/>
          <p:nvPr/>
        </p:nvSpPr>
        <p:spPr>
          <a:xfrm>
            <a:off x="5262889" y="5180648"/>
            <a:ext cx="144000" cy="144780"/>
          </a:xfrm>
          <a:prstGeom prst="ellipse">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3281848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AD39D6-E7FF-21D5-6AD1-9BAC6F66C1C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3D53C33-8BA7-7653-3FB1-FD0B261B10C6}"/>
              </a:ext>
            </a:extLst>
          </p:cNvPr>
          <p:cNvSpPr>
            <a:spLocks noGrp="1"/>
          </p:cNvSpPr>
          <p:nvPr>
            <p:ph type="title"/>
          </p:nvPr>
        </p:nvSpPr>
        <p:spPr>
          <a:xfrm>
            <a:off x="1505777" y="319266"/>
            <a:ext cx="10162347" cy="803053"/>
          </a:xfrm>
        </p:spPr>
        <p:txBody>
          <a:bodyPr/>
          <a:lstStyle/>
          <a:p>
            <a:r>
              <a:rPr lang="en-US" b="1"/>
              <a:t>Co:</a:t>
            </a:r>
            <a:r>
              <a:rPr lang="en-US"/>
              <a:t> Quotas to effectively halve DRC supply</a:t>
            </a:r>
          </a:p>
        </p:txBody>
      </p:sp>
      <p:sp>
        <p:nvSpPr>
          <p:cNvPr id="3" name="Date Placeholder 2">
            <a:extLst>
              <a:ext uri="{FF2B5EF4-FFF2-40B4-BE49-F238E27FC236}">
                <a16:creationId xmlns:a16="http://schemas.microsoft.com/office/drawing/2014/main" id="{F9AAFEC5-E137-132E-81B3-49D7BD5111ED}"/>
              </a:ext>
            </a:extLst>
          </p:cNvPr>
          <p:cNvSpPr>
            <a:spLocks noGrp="1"/>
          </p:cNvSpPr>
          <p:nvPr>
            <p:ph type="dt" sz="half" idx="10"/>
          </p:nvPr>
        </p:nvSpPr>
        <p:spPr/>
        <p:txBody>
          <a:bodyPr/>
          <a:lstStyle/>
          <a:p>
            <a:r>
              <a:rPr lang="en-US"/>
              <a:t>October 2025</a:t>
            </a:r>
            <a:endParaRPr lang="en-GB"/>
          </a:p>
        </p:txBody>
      </p:sp>
      <p:sp>
        <p:nvSpPr>
          <p:cNvPr id="4" name="Footer Placeholder 3">
            <a:extLst>
              <a:ext uri="{FF2B5EF4-FFF2-40B4-BE49-F238E27FC236}">
                <a16:creationId xmlns:a16="http://schemas.microsoft.com/office/drawing/2014/main" id="{D156B6EA-0566-34B9-A2B3-E4DA829918EC}"/>
              </a:ext>
            </a:extLst>
          </p:cNvPr>
          <p:cNvSpPr>
            <a:spLocks noGrp="1"/>
          </p:cNvSpPr>
          <p:nvPr>
            <p:ph type="ftr" sz="quarter" idx="11"/>
          </p:nvPr>
        </p:nvSpPr>
        <p:spPr/>
        <p:txBody>
          <a:bodyPr/>
          <a:lstStyle/>
          <a:p>
            <a:r>
              <a:rPr lang="en-US" sz="1050" b="1">
                <a:solidFill>
                  <a:schemeClr val="bg1"/>
                </a:solidFill>
                <a:latin typeface="Arial" panose="020B0604020202020204" pitchFamily="34" charset="0"/>
                <a:cs typeface="Arial" panose="020B0604020202020204" pitchFamily="34" charset="0"/>
              </a:rPr>
              <a:t>Co &amp; Li supply: </a:t>
            </a:r>
            <a:r>
              <a:rPr lang="en-US" sz="1050">
                <a:solidFill>
                  <a:schemeClr val="bg1"/>
                </a:solidFill>
                <a:latin typeface="Arial" panose="020B0604020202020204" pitchFamily="34" charset="0"/>
                <a:cs typeface="Arial" panose="020B0604020202020204" pitchFamily="34" charset="0"/>
              </a:rPr>
              <a:t>stopgap or structural shift?</a:t>
            </a:r>
            <a:endParaRPr lang="en-GB" sz="1050">
              <a:solidFill>
                <a:schemeClr val="bg1"/>
              </a:solidFill>
              <a:latin typeface="Arial" panose="020B0604020202020204" pitchFamily="34" charset="0"/>
              <a:cs typeface="Arial" panose="020B0604020202020204" pitchFamily="34" charset="0"/>
            </a:endParaRPr>
          </a:p>
        </p:txBody>
      </p:sp>
      <p:sp>
        <p:nvSpPr>
          <p:cNvPr id="5" name="Slide Number Placeholder 4">
            <a:extLst>
              <a:ext uri="{FF2B5EF4-FFF2-40B4-BE49-F238E27FC236}">
                <a16:creationId xmlns:a16="http://schemas.microsoft.com/office/drawing/2014/main" id="{35A802D4-CCDE-6CBB-4B68-9D8FA7477EE2}"/>
              </a:ext>
            </a:extLst>
          </p:cNvPr>
          <p:cNvSpPr>
            <a:spLocks noGrp="1"/>
          </p:cNvSpPr>
          <p:nvPr>
            <p:ph type="sldNum" sz="quarter" idx="12"/>
          </p:nvPr>
        </p:nvSpPr>
        <p:spPr/>
        <p:txBody>
          <a:bodyPr/>
          <a:lstStyle/>
          <a:p>
            <a:fld id="{562BA7E0-5F5E-EE41-AE8D-BD30ED9E17AD}" type="slidenum">
              <a:rPr lang="en-GB" smtClean="0"/>
              <a:pPr/>
              <a:t>6</a:t>
            </a:fld>
            <a:endParaRPr lang="en-GB"/>
          </a:p>
        </p:txBody>
      </p:sp>
      <p:graphicFrame>
        <p:nvGraphicFramePr>
          <p:cNvPr id="21" name="Content Placeholder 14">
            <a:extLst>
              <a:ext uri="{FF2B5EF4-FFF2-40B4-BE49-F238E27FC236}">
                <a16:creationId xmlns:a16="http://schemas.microsoft.com/office/drawing/2014/main" id="{1BAD8B28-F1BF-3AAC-1CC3-78A071A6463A}"/>
              </a:ext>
            </a:extLst>
          </p:cNvPr>
          <p:cNvGraphicFramePr>
            <a:graphicFrameLocks noGrp="1"/>
          </p:cNvGraphicFramePr>
          <p:nvPr>
            <p:ph sz="quarter" idx="13"/>
            <p:extLst>
              <p:ext uri="{D42A27DB-BD31-4B8C-83A1-F6EECF244321}">
                <p14:modId xmlns:p14="http://schemas.microsoft.com/office/powerpoint/2010/main" val="1825304783"/>
              </p:ext>
            </p:extLst>
          </p:nvPr>
        </p:nvGraphicFramePr>
        <p:xfrm>
          <a:off x="366713" y="1481138"/>
          <a:ext cx="5219700" cy="461803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ontent Placeholder 10">
            <a:extLst>
              <a:ext uri="{FF2B5EF4-FFF2-40B4-BE49-F238E27FC236}">
                <a16:creationId xmlns:a16="http://schemas.microsoft.com/office/drawing/2014/main" id="{5C5C497F-BB9D-5A6D-5392-82A16DA7E2A7}"/>
              </a:ext>
            </a:extLst>
          </p:cNvPr>
          <p:cNvGraphicFramePr>
            <a:graphicFrameLocks noGrp="1"/>
          </p:cNvGraphicFramePr>
          <p:nvPr>
            <p:ph sz="quarter" idx="14"/>
            <p:extLst>
              <p:ext uri="{D42A27DB-BD31-4B8C-83A1-F6EECF244321}">
                <p14:modId xmlns:p14="http://schemas.microsoft.com/office/powerpoint/2010/main" val="1047648994"/>
              </p:ext>
            </p:extLst>
          </p:nvPr>
        </p:nvGraphicFramePr>
        <p:xfrm>
          <a:off x="6240463" y="1481138"/>
          <a:ext cx="5219700" cy="461803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426889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EDCAB9-B987-772D-9B0D-0BF4A6A3932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AA2485F-88DB-FE06-1A84-491A65348E0D}"/>
              </a:ext>
            </a:extLst>
          </p:cNvPr>
          <p:cNvSpPr>
            <a:spLocks noGrp="1"/>
          </p:cNvSpPr>
          <p:nvPr>
            <p:ph type="title"/>
          </p:nvPr>
        </p:nvSpPr>
        <p:spPr/>
        <p:txBody>
          <a:bodyPr/>
          <a:lstStyle/>
          <a:p>
            <a:r>
              <a:rPr lang="en-US" b="1"/>
              <a:t>Co:</a:t>
            </a:r>
            <a:r>
              <a:rPr lang="en-US"/>
              <a:t> Stopgap or structural shift?</a:t>
            </a:r>
          </a:p>
        </p:txBody>
      </p:sp>
      <p:sp>
        <p:nvSpPr>
          <p:cNvPr id="3" name="Date Placeholder 2">
            <a:extLst>
              <a:ext uri="{FF2B5EF4-FFF2-40B4-BE49-F238E27FC236}">
                <a16:creationId xmlns:a16="http://schemas.microsoft.com/office/drawing/2014/main" id="{D5CF80AD-4C7F-0626-1E8A-AC2D3586EB13}"/>
              </a:ext>
            </a:extLst>
          </p:cNvPr>
          <p:cNvSpPr>
            <a:spLocks noGrp="1"/>
          </p:cNvSpPr>
          <p:nvPr>
            <p:ph type="dt" sz="half" idx="10"/>
          </p:nvPr>
        </p:nvSpPr>
        <p:spPr/>
        <p:txBody>
          <a:bodyPr/>
          <a:lstStyle/>
          <a:p>
            <a:r>
              <a:rPr lang="en-US"/>
              <a:t>October 2025</a:t>
            </a:r>
            <a:endParaRPr lang="en-GB"/>
          </a:p>
        </p:txBody>
      </p:sp>
      <p:sp>
        <p:nvSpPr>
          <p:cNvPr id="4" name="Footer Placeholder 3">
            <a:extLst>
              <a:ext uri="{FF2B5EF4-FFF2-40B4-BE49-F238E27FC236}">
                <a16:creationId xmlns:a16="http://schemas.microsoft.com/office/drawing/2014/main" id="{E33121B3-6C88-4339-562E-01FE7CEA8CCA}"/>
              </a:ext>
            </a:extLst>
          </p:cNvPr>
          <p:cNvSpPr>
            <a:spLocks noGrp="1"/>
          </p:cNvSpPr>
          <p:nvPr>
            <p:ph type="ftr" sz="quarter" idx="11"/>
          </p:nvPr>
        </p:nvSpPr>
        <p:spPr/>
        <p:txBody>
          <a:bodyPr/>
          <a:lstStyle/>
          <a:p>
            <a:r>
              <a:rPr lang="en-US" sz="1050" b="1">
                <a:solidFill>
                  <a:schemeClr val="bg1"/>
                </a:solidFill>
                <a:latin typeface="Arial" panose="020B0604020202020204" pitchFamily="34" charset="0"/>
                <a:cs typeface="Arial" panose="020B0604020202020204" pitchFamily="34" charset="0"/>
              </a:rPr>
              <a:t>Co &amp; Li supply: </a:t>
            </a:r>
            <a:r>
              <a:rPr lang="en-US" sz="1050">
                <a:solidFill>
                  <a:schemeClr val="bg1"/>
                </a:solidFill>
                <a:latin typeface="Arial" panose="020B0604020202020204" pitchFamily="34" charset="0"/>
                <a:cs typeface="Arial" panose="020B0604020202020204" pitchFamily="34" charset="0"/>
              </a:rPr>
              <a:t>stopgap or structural shift?</a:t>
            </a:r>
            <a:endParaRPr lang="en-GB" sz="1050">
              <a:solidFill>
                <a:schemeClr val="bg1"/>
              </a:solidFill>
              <a:latin typeface="Arial" panose="020B0604020202020204" pitchFamily="34" charset="0"/>
              <a:cs typeface="Arial" panose="020B0604020202020204" pitchFamily="34" charset="0"/>
            </a:endParaRPr>
          </a:p>
        </p:txBody>
      </p:sp>
      <p:sp>
        <p:nvSpPr>
          <p:cNvPr id="5" name="Slide Number Placeholder 4">
            <a:extLst>
              <a:ext uri="{FF2B5EF4-FFF2-40B4-BE49-F238E27FC236}">
                <a16:creationId xmlns:a16="http://schemas.microsoft.com/office/drawing/2014/main" id="{16C6609A-E87B-3DE7-5327-5317258DE7FD}"/>
              </a:ext>
            </a:extLst>
          </p:cNvPr>
          <p:cNvSpPr>
            <a:spLocks noGrp="1"/>
          </p:cNvSpPr>
          <p:nvPr>
            <p:ph type="sldNum" sz="quarter" idx="12"/>
          </p:nvPr>
        </p:nvSpPr>
        <p:spPr/>
        <p:txBody>
          <a:bodyPr/>
          <a:lstStyle/>
          <a:p>
            <a:fld id="{562BA7E0-5F5E-EE41-AE8D-BD30ED9E17AD}" type="slidenum">
              <a:rPr lang="en-GB" smtClean="0"/>
              <a:pPr/>
              <a:t>7</a:t>
            </a:fld>
            <a:endParaRPr lang="en-GB"/>
          </a:p>
        </p:txBody>
      </p:sp>
      <p:graphicFrame>
        <p:nvGraphicFramePr>
          <p:cNvPr id="11" name="Content Placeholder 10">
            <a:extLst>
              <a:ext uri="{FF2B5EF4-FFF2-40B4-BE49-F238E27FC236}">
                <a16:creationId xmlns:a16="http://schemas.microsoft.com/office/drawing/2014/main" id="{E366BB77-4205-4E91-8E7F-D850476C0E8F}"/>
              </a:ext>
            </a:extLst>
          </p:cNvPr>
          <p:cNvGraphicFramePr>
            <a:graphicFrameLocks noGrp="1"/>
          </p:cNvGraphicFramePr>
          <p:nvPr>
            <p:ph sz="quarter" idx="13"/>
            <p:extLst>
              <p:ext uri="{D42A27DB-BD31-4B8C-83A1-F6EECF244321}">
                <p14:modId xmlns:p14="http://schemas.microsoft.com/office/powerpoint/2010/main" val="926790176"/>
              </p:ext>
            </p:extLst>
          </p:nvPr>
        </p:nvGraphicFramePr>
        <p:xfrm>
          <a:off x="366713" y="1481138"/>
          <a:ext cx="5219700" cy="461803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6" name="Content Placeholder 15">
            <a:extLst>
              <a:ext uri="{FF2B5EF4-FFF2-40B4-BE49-F238E27FC236}">
                <a16:creationId xmlns:a16="http://schemas.microsoft.com/office/drawing/2014/main" id="{B18B85BA-8C44-B2C9-8B12-13D25D2CCABB}"/>
              </a:ext>
            </a:extLst>
          </p:cNvPr>
          <p:cNvGraphicFramePr>
            <a:graphicFrameLocks noGrp="1"/>
          </p:cNvGraphicFramePr>
          <p:nvPr>
            <p:ph sz="quarter" idx="14"/>
            <p:extLst>
              <p:ext uri="{D42A27DB-BD31-4B8C-83A1-F6EECF244321}">
                <p14:modId xmlns:p14="http://schemas.microsoft.com/office/powerpoint/2010/main" val="2900935222"/>
              </p:ext>
            </p:extLst>
          </p:nvPr>
        </p:nvGraphicFramePr>
        <p:xfrm>
          <a:off x="6240463" y="1481138"/>
          <a:ext cx="5219700" cy="461803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063568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349FA-A970-E455-77B4-AA3F7C62F04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06F6A3E-E07A-06AC-6178-328FBC7E3144}"/>
              </a:ext>
            </a:extLst>
          </p:cNvPr>
          <p:cNvSpPr>
            <a:spLocks noGrp="1"/>
          </p:cNvSpPr>
          <p:nvPr>
            <p:ph type="title"/>
          </p:nvPr>
        </p:nvSpPr>
        <p:spPr/>
        <p:txBody>
          <a:bodyPr/>
          <a:lstStyle/>
          <a:p>
            <a:r>
              <a:rPr lang="en-US" b="1"/>
              <a:t>Co:</a:t>
            </a:r>
            <a:r>
              <a:rPr lang="en-US"/>
              <a:t> Supply and demand to nudge lower</a:t>
            </a:r>
          </a:p>
        </p:txBody>
      </p:sp>
      <p:sp>
        <p:nvSpPr>
          <p:cNvPr id="3" name="Date Placeholder 2">
            <a:extLst>
              <a:ext uri="{FF2B5EF4-FFF2-40B4-BE49-F238E27FC236}">
                <a16:creationId xmlns:a16="http://schemas.microsoft.com/office/drawing/2014/main" id="{F65AC397-892C-B72F-C3E5-3B6CCEDF5CEB}"/>
              </a:ext>
            </a:extLst>
          </p:cNvPr>
          <p:cNvSpPr>
            <a:spLocks noGrp="1"/>
          </p:cNvSpPr>
          <p:nvPr>
            <p:ph type="dt" sz="half" idx="10"/>
          </p:nvPr>
        </p:nvSpPr>
        <p:spPr/>
        <p:txBody>
          <a:bodyPr/>
          <a:lstStyle/>
          <a:p>
            <a:r>
              <a:rPr lang="en-US"/>
              <a:t>October 2025</a:t>
            </a:r>
            <a:endParaRPr lang="en-GB"/>
          </a:p>
        </p:txBody>
      </p:sp>
      <p:sp>
        <p:nvSpPr>
          <p:cNvPr id="4" name="Footer Placeholder 3">
            <a:extLst>
              <a:ext uri="{FF2B5EF4-FFF2-40B4-BE49-F238E27FC236}">
                <a16:creationId xmlns:a16="http://schemas.microsoft.com/office/drawing/2014/main" id="{DF203E5A-118B-3378-F7C8-E3DEF120E680}"/>
              </a:ext>
            </a:extLst>
          </p:cNvPr>
          <p:cNvSpPr>
            <a:spLocks noGrp="1"/>
          </p:cNvSpPr>
          <p:nvPr>
            <p:ph type="ftr" sz="quarter" idx="11"/>
          </p:nvPr>
        </p:nvSpPr>
        <p:spPr/>
        <p:txBody>
          <a:bodyPr/>
          <a:lstStyle/>
          <a:p>
            <a:r>
              <a:rPr lang="en-US" sz="1050" b="1">
                <a:solidFill>
                  <a:schemeClr val="bg1"/>
                </a:solidFill>
                <a:latin typeface="Arial" panose="020B0604020202020204" pitchFamily="34" charset="0"/>
                <a:cs typeface="Arial" panose="020B0604020202020204" pitchFamily="34" charset="0"/>
              </a:rPr>
              <a:t>Co &amp; Li supply: </a:t>
            </a:r>
            <a:r>
              <a:rPr lang="en-US" sz="1050">
                <a:solidFill>
                  <a:schemeClr val="bg1"/>
                </a:solidFill>
                <a:latin typeface="Arial" panose="020B0604020202020204" pitchFamily="34" charset="0"/>
                <a:cs typeface="Arial" panose="020B0604020202020204" pitchFamily="34" charset="0"/>
              </a:rPr>
              <a:t>stopgap or structural shift?</a:t>
            </a:r>
            <a:endParaRPr lang="en-GB" sz="1050">
              <a:solidFill>
                <a:schemeClr val="bg1"/>
              </a:solidFill>
              <a:latin typeface="Arial" panose="020B0604020202020204" pitchFamily="34" charset="0"/>
              <a:cs typeface="Arial" panose="020B0604020202020204" pitchFamily="34" charset="0"/>
            </a:endParaRPr>
          </a:p>
        </p:txBody>
      </p:sp>
      <p:sp>
        <p:nvSpPr>
          <p:cNvPr id="5" name="Slide Number Placeholder 4">
            <a:extLst>
              <a:ext uri="{FF2B5EF4-FFF2-40B4-BE49-F238E27FC236}">
                <a16:creationId xmlns:a16="http://schemas.microsoft.com/office/drawing/2014/main" id="{8B259B43-1C64-9491-520A-C5AEE4F1A454}"/>
              </a:ext>
            </a:extLst>
          </p:cNvPr>
          <p:cNvSpPr>
            <a:spLocks noGrp="1"/>
          </p:cNvSpPr>
          <p:nvPr>
            <p:ph type="sldNum" sz="quarter" idx="12"/>
          </p:nvPr>
        </p:nvSpPr>
        <p:spPr/>
        <p:txBody>
          <a:bodyPr/>
          <a:lstStyle/>
          <a:p>
            <a:fld id="{562BA7E0-5F5E-EE41-AE8D-BD30ED9E17AD}" type="slidenum">
              <a:rPr lang="en-GB" smtClean="0"/>
              <a:pPr/>
              <a:t>8</a:t>
            </a:fld>
            <a:endParaRPr lang="en-GB"/>
          </a:p>
        </p:txBody>
      </p:sp>
      <p:graphicFrame>
        <p:nvGraphicFramePr>
          <p:cNvPr id="13" name="Content Placeholder 12">
            <a:extLst>
              <a:ext uri="{FF2B5EF4-FFF2-40B4-BE49-F238E27FC236}">
                <a16:creationId xmlns:a16="http://schemas.microsoft.com/office/drawing/2014/main" id="{FB4870BE-1C6C-43BC-86BE-D5CCAA4F9EA9}"/>
              </a:ext>
            </a:extLst>
          </p:cNvPr>
          <p:cNvGraphicFramePr>
            <a:graphicFrameLocks noGrp="1"/>
          </p:cNvGraphicFramePr>
          <p:nvPr>
            <p:ph sz="quarter" idx="14"/>
            <p:extLst>
              <p:ext uri="{D42A27DB-BD31-4B8C-83A1-F6EECF244321}">
                <p14:modId xmlns:p14="http://schemas.microsoft.com/office/powerpoint/2010/main" val="1863497717"/>
              </p:ext>
            </p:extLst>
          </p:nvPr>
        </p:nvGraphicFramePr>
        <p:xfrm>
          <a:off x="6240463" y="1481138"/>
          <a:ext cx="5219700" cy="461803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ontent Placeholder 7">
            <a:extLst>
              <a:ext uri="{FF2B5EF4-FFF2-40B4-BE49-F238E27FC236}">
                <a16:creationId xmlns:a16="http://schemas.microsoft.com/office/drawing/2014/main" id="{D5CD4CF0-D234-43BC-A782-9C45B36B7466}"/>
              </a:ext>
            </a:extLst>
          </p:cNvPr>
          <p:cNvGraphicFramePr>
            <a:graphicFrameLocks noGrp="1"/>
          </p:cNvGraphicFramePr>
          <p:nvPr>
            <p:ph sz="quarter" idx="13"/>
            <p:extLst>
              <p:ext uri="{D42A27DB-BD31-4B8C-83A1-F6EECF244321}">
                <p14:modId xmlns:p14="http://schemas.microsoft.com/office/powerpoint/2010/main" val="674133029"/>
              </p:ext>
            </p:extLst>
          </p:nvPr>
        </p:nvGraphicFramePr>
        <p:xfrm>
          <a:off x="366713" y="1481138"/>
          <a:ext cx="5219700" cy="461803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6688985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F539B7-258D-D95B-2201-1EBAFB2BD03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1AC729A-5FD9-EDAA-FF47-43EE78A4CFA0}"/>
              </a:ext>
            </a:extLst>
          </p:cNvPr>
          <p:cNvSpPr>
            <a:spLocks noGrp="1"/>
          </p:cNvSpPr>
          <p:nvPr>
            <p:ph type="title"/>
          </p:nvPr>
        </p:nvSpPr>
        <p:spPr/>
        <p:txBody>
          <a:bodyPr/>
          <a:lstStyle/>
          <a:p>
            <a:r>
              <a:rPr lang="en-US" b="1"/>
              <a:t>Li:</a:t>
            </a:r>
            <a:r>
              <a:rPr lang="en-US"/>
              <a:t> Policy driven price spike</a:t>
            </a:r>
          </a:p>
        </p:txBody>
      </p:sp>
      <p:sp>
        <p:nvSpPr>
          <p:cNvPr id="3" name="Date Placeholder 2">
            <a:extLst>
              <a:ext uri="{FF2B5EF4-FFF2-40B4-BE49-F238E27FC236}">
                <a16:creationId xmlns:a16="http://schemas.microsoft.com/office/drawing/2014/main" id="{FDFE08CA-1B95-3833-4EDA-EE6C6AA0F704}"/>
              </a:ext>
            </a:extLst>
          </p:cNvPr>
          <p:cNvSpPr>
            <a:spLocks noGrp="1"/>
          </p:cNvSpPr>
          <p:nvPr>
            <p:ph type="dt" sz="half" idx="10"/>
          </p:nvPr>
        </p:nvSpPr>
        <p:spPr/>
        <p:txBody>
          <a:bodyPr/>
          <a:lstStyle/>
          <a:p>
            <a:r>
              <a:rPr lang="en-US"/>
              <a:t>October 2025</a:t>
            </a:r>
            <a:endParaRPr lang="en-GB"/>
          </a:p>
        </p:txBody>
      </p:sp>
      <p:sp>
        <p:nvSpPr>
          <p:cNvPr id="4" name="Footer Placeholder 3">
            <a:extLst>
              <a:ext uri="{FF2B5EF4-FFF2-40B4-BE49-F238E27FC236}">
                <a16:creationId xmlns:a16="http://schemas.microsoft.com/office/drawing/2014/main" id="{C2471D5A-AB4B-7682-E81F-FA8B73B77092}"/>
              </a:ext>
            </a:extLst>
          </p:cNvPr>
          <p:cNvSpPr>
            <a:spLocks noGrp="1"/>
          </p:cNvSpPr>
          <p:nvPr>
            <p:ph type="ftr" sz="quarter" idx="11"/>
          </p:nvPr>
        </p:nvSpPr>
        <p:spPr/>
        <p:txBody>
          <a:bodyPr/>
          <a:lstStyle/>
          <a:p>
            <a:r>
              <a:rPr lang="en-US" sz="1050" b="1">
                <a:solidFill>
                  <a:schemeClr val="bg1"/>
                </a:solidFill>
                <a:latin typeface="Arial" panose="020B0604020202020204" pitchFamily="34" charset="0"/>
                <a:cs typeface="Arial" panose="020B0604020202020204" pitchFamily="34" charset="0"/>
              </a:rPr>
              <a:t>Co &amp; Li supply: </a:t>
            </a:r>
            <a:r>
              <a:rPr lang="en-US" sz="1050">
                <a:solidFill>
                  <a:schemeClr val="bg1"/>
                </a:solidFill>
                <a:latin typeface="Arial" panose="020B0604020202020204" pitchFamily="34" charset="0"/>
                <a:cs typeface="Arial" panose="020B0604020202020204" pitchFamily="34" charset="0"/>
              </a:rPr>
              <a:t>stopgap or structural shift?</a:t>
            </a:r>
            <a:endParaRPr lang="en-GB" sz="1050">
              <a:solidFill>
                <a:schemeClr val="bg1"/>
              </a:solidFill>
              <a:latin typeface="Arial" panose="020B0604020202020204" pitchFamily="34" charset="0"/>
              <a:cs typeface="Arial" panose="020B0604020202020204" pitchFamily="34" charset="0"/>
            </a:endParaRPr>
          </a:p>
        </p:txBody>
      </p:sp>
      <p:sp>
        <p:nvSpPr>
          <p:cNvPr id="5" name="Slide Number Placeholder 4">
            <a:extLst>
              <a:ext uri="{FF2B5EF4-FFF2-40B4-BE49-F238E27FC236}">
                <a16:creationId xmlns:a16="http://schemas.microsoft.com/office/drawing/2014/main" id="{DC18A60C-437B-FBE7-4033-BBEA9BC722E7}"/>
              </a:ext>
            </a:extLst>
          </p:cNvPr>
          <p:cNvSpPr>
            <a:spLocks noGrp="1"/>
          </p:cNvSpPr>
          <p:nvPr>
            <p:ph type="sldNum" sz="quarter" idx="12"/>
          </p:nvPr>
        </p:nvSpPr>
        <p:spPr/>
        <p:txBody>
          <a:bodyPr/>
          <a:lstStyle/>
          <a:p>
            <a:fld id="{562BA7E0-5F5E-EE41-AE8D-BD30ED9E17AD}" type="slidenum">
              <a:rPr lang="en-GB" smtClean="0"/>
              <a:pPr/>
              <a:t>9</a:t>
            </a:fld>
            <a:endParaRPr lang="en-GB"/>
          </a:p>
        </p:txBody>
      </p:sp>
      <p:graphicFrame>
        <p:nvGraphicFramePr>
          <p:cNvPr id="19" name="Content Placeholder 3">
            <a:extLst>
              <a:ext uri="{FF2B5EF4-FFF2-40B4-BE49-F238E27FC236}">
                <a16:creationId xmlns:a16="http://schemas.microsoft.com/office/drawing/2014/main" id="{5D2AEC9C-77B3-71A0-E6DA-06641D49D322}"/>
              </a:ext>
            </a:extLst>
          </p:cNvPr>
          <p:cNvGraphicFramePr>
            <a:graphicFrameLocks noGrp="1"/>
          </p:cNvGraphicFramePr>
          <p:nvPr>
            <p:ph sz="quarter" idx="13"/>
            <p:extLst>
              <p:ext uri="{D42A27DB-BD31-4B8C-83A1-F6EECF244321}">
                <p14:modId xmlns:p14="http://schemas.microsoft.com/office/powerpoint/2010/main" val="3012070240"/>
              </p:ext>
            </p:extLst>
          </p:nvPr>
        </p:nvGraphicFramePr>
        <p:xfrm>
          <a:off x="366713" y="1481138"/>
          <a:ext cx="5219700" cy="461803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0" name="Content Placeholder 21">
            <a:extLst>
              <a:ext uri="{FF2B5EF4-FFF2-40B4-BE49-F238E27FC236}">
                <a16:creationId xmlns:a16="http://schemas.microsoft.com/office/drawing/2014/main" id="{CD9A0391-C51C-4977-EF2C-580CD93F023E}"/>
              </a:ext>
            </a:extLst>
          </p:cNvPr>
          <p:cNvGraphicFramePr>
            <a:graphicFrameLocks noGrp="1"/>
          </p:cNvGraphicFramePr>
          <p:nvPr>
            <p:ph sz="quarter" idx="14"/>
            <p:extLst>
              <p:ext uri="{D42A27DB-BD31-4B8C-83A1-F6EECF244321}">
                <p14:modId xmlns:p14="http://schemas.microsoft.com/office/powerpoint/2010/main" val="1404195260"/>
              </p:ext>
            </p:extLst>
          </p:nvPr>
        </p:nvGraphicFramePr>
        <p:xfrm>
          <a:off x="6240118" y="1467123"/>
          <a:ext cx="5219700" cy="461803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9385965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 val="7e29489c09c3c63187c2677341ee6319b0e3d0"/>
  <p:tag name="OFFISYNC_CONTAIN_GUIDS"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Insight Master CRU Dark">
  <a:themeElements>
    <a:clrScheme name="Brand Template">
      <a:dk1>
        <a:srgbClr val="000E24"/>
      </a:dk1>
      <a:lt1>
        <a:srgbClr val="FFFFFF"/>
      </a:lt1>
      <a:dk2>
        <a:srgbClr val="30A3FD"/>
      </a:dk2>
      <a:lt2>
        <a:srgbClr val="E8E8E8"/>
      </a:lt2>
      <a:accent1>
        <a:srgbClr val="18517F"/>
      </a:accent1>
      <a:accent2>
        <a:srgbClr val="61C0BA"/>
      </a:accent2>
      <a:accent3>
        <a:srgbClr val="BF59A6"/>
      </a:accent3>
      <a:accent4>
        <a:srgbClr val="F07169"/>
      </a:accent4>
      <a:accent5>
        <a:srgbClr val="8159A6"/>
      </a:accent5>
      <a:accent6>
        <a:srgbClr val="260936"/>
      </a:accent6>
      <a:hlink>
        <a:srgbClr val="46B3AD"/>
      </a:hlink>
      <a:folHlink>
        <a:srgbClr val="46B3A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nalysis_Report BRAND_V1" id="{98FB814E-43A5-4C19-B5FB-C5EF1F5E2CB7}" vid="{BE2A4D47-3423-4BBA-8EC4-6685677478C5}"/>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Insight Master">
  <a:themeElements>
    <a:clrScheme name="Brand Template">
      <a:dk1>
        <a:srgbClr val="000E24"/>
      </a:dk1>
      <a:lt1>
        <a:srgbClr val="FFFFFF"/>
      </a:lt1>
      <a:dk2>
        <a:srgbClr val="30A3FD"/>
      </a:dk2>
      <a:lt2>
        <a:srgbClr val="E8E8E8"/>
      </a:lt2>
      <a:accent1>
        <a:srgbClr val="18517F"/>
      </a:accent1>
      <a:accent2>
        <a:srgbClr val="61C0BA"/>
      </a:accent2>
      <a:accent3>
        <a:srgbClr val="BF59A6"/>
      </a:accent3>
      <a:accent4>
        <a:srgbClr val="F07169"/>
      </a:accent4>
      <a:accent5>
        <a:srgbClr val="8159A6"/>
      </a:accent5>
      <a:accent6>
        <a:srgbClr val="260936"/>
      </a:accent6>
      <a:hlink>
        <a:srgbClr val="46B3AD"/>
      </a:hlink>
      <a:folHlink>
        <a:srgbClr val="46B3A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nalysis_Report BRAND_V1" id="{98FB814E-43A5-4C19-B5FB-C5EF1F5E2CB7}" vid="{18783A5F-A54E-443C-A024-899F09255CFA}"/>
    </a:ext>
  </a:extLst>
</a:theme>
</file>

<file path=ppt/theme/theme3.xml><?xml version="1.0" encoding="utf-8"?>
<a:theme xmlns:a="http://schemas.openxmlformats.org/drawingml/2006/main" name="3_Insight Master">
  <a:themeElements>
    <a:clrScheme name="Brand Template">
      <a:dk1>
        <a:srgbClr val="000E24"/>
      </a:dk1>
      <a:lt1>
        <a:srgbClr val="FFFFFF"/>
      </a:lt1>
      <a:dk2>
        <a:srgbClr val="30A3FD"/>
      </a:dk2>
      <a:lt2>
        <a:srgbClr val="E8E8E8"/>
      </a:lt2>
      <a:accent1>
        <a:srgbClr val="18517F"/>
      </a:accent1>
      <a:accent2>
        <a:srgbClr val="61C0BA"/>
      </a:accent2>
      <a:accent3>
        <a:srgbClr val="BF59A6"/>
      </a:accent3>
      <a:accent4>
        <a:srgbClr val="F07169"/>
      </a:accent4>
      <a:accent5>
        <a:srgbClr val="8159A6"/>
      </a:accent5>
      <a:accent6>
        <a:srgbClr val="260936"/>
      </a:accent6>
      <a:hlink>
        <a:srgbClr val="46B3AD"/>
      </a:hlink>
      <a:folHlink>
        <a:srgbClr val="46B3A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nalysis_Report BRAND_V1" id="{98FB814E-43A5-4C19-B5FB-C5EF1F5E2CB7}" vid="{18783A5F-A54E-443C-A024-899F09255CFA}"/>
    </a:ext>
  </a:extLst>
</a:theme>
</file>

<file path=ppt/theme/theme4.xml><?xml version="1.0" encoding="utf-8"?>
<a:theme xmlns:a="http://schemas.openxmlformats.org/drawingml/2006/main" name="1_Insight Master">
  <a:themeElements>
    <a:clrScheme name="Brand Template">
      <a:dk1>
        <a:srgbClr val="000E24"/>
      </a:dk1>
      <a:lt1>
        <a:srgbClr val="FFFFFF"/>
      </a:lt1>
      <a:dk2>
        <a:srgbClr val="30A3FD"/>
      </a:dk2>
      <a:lt2>
        <a:srgbClr val="E8E8E8"/>
      </a:lt2>
      <a:accent1>
        <a:srgbClr val="18517F"/>
      </a:accent1>
      <a:accent2>
        <a:srgbClr val="61C0BA"/>
      </a:accent2>
      <a:accent3>
        <a:srgbClr val="BF59A6"/>
      </a:accent3>
      <a:accent4>
        <a:srgbClr val="F07169"/>
      </a:accent4>
      <a:accent5>
        <a:srgbClr val="8159A6"/>
      </a:accent5>
      <a:accent6>
        <a:srgbClr val="260936"/>
      </a:accent6>
      <a:hlink>
        <a:srgbClr val="46B3AD"/>
      </a:hlink>
      <a:folHlink>
        <a:srgbClr val="46B3A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nalysis_Report BRAND_V1" id="{B6BED2F5-5B4A-4AF3-BBC7-76ACAEC628F4}" vid="{93D96FF7-9174-4CCF-A5B5-776E91D2B319}"/>
    </a:ext>
  </a:extLst>
</a:theme>
</file>

<file path=ppt/theme/theme5.xml><?xml version="1.0" encoding="utf-8"?>
<a:theme xmlns:a="http://schemas.openxmlformats.org/drawingml/2006/main" name="7_Insight Master">
  <a:themeElements>
    <a:clrScheme name="Brand Template">
      <a:dk1>
        <a:srgbClr val="000E24"/>
      </a:dk1>
      <a:lt1>
        <a:srgbClr val="FFFFFF"/>
      </a:lt1>
      <a:dk2>
        <a:srgbClr val="30A3FD"/>
      </a:dk2>
      <a:lt2>
        <a:srgbClr val="E8E8E8"/>
      </a:lt2>
      <a:accent1>
        <a:srgbClr val="18517F"/>
      </a:accent1>
      <a:accent2>
        <a:srgbClr val="61C0BA"/>
      </a:accent2>
      <a:accent3>
        <a:srgbClr val="BF59A6"/>
      </a:accent3>
      <a:accent4>
        <a:srgbClr val="F07169"/>
      </a:accent4>
      <a:accent5>
        <a:srgbClr val="8159A6"/>
      </a:accent5>
      <a:accent6>
        <a:srgbClr val="260936"/>
      </a:accent6>
      <a:hlink>
        <a:srgbClr val="46B3AD"/>
      </a:hlink>
      <a:folHlink>
        <a:srgbClr val="46B3A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nalysis_Report BRAND_V1" id="{98FB814E-43A5-4C19-B5FB-C5EF1F5E2CB7}" vid="{18783A5F-A54E-443C-A024-899F09255CFA}"/>
    </a:ext>
  </a:extLst>
</a:theme>
</file>

<file path=ppt/theme/theme6.xml><?xml version="1.0" encoding="utf-8"?>
<a:theme xmlns:a="http://schemas.openxmlformats.org/drawingml/2006/main" name="12_Insight Master">
  <a:themeElements>
    <a:clrScheme name="Brand Template">
      <a:dk1>
        <a:srgbClr val="000E24"/>
      </a:dk1>
      <a:lt1>
        <a:srgbClr val="FFFFFF"/>
      </a:lt1>
      <a:dk2>
        <a:srgbClr val="30A3FD"/>
      </a:dk2>
      <a:lt2>
        <a:srgbClr val="E8E8E8"/>
      </a:lt2>
      <a:accent1>
        <a:srgbClr val="18517F"/>
      </a:accent1>
      <a:accent2>
        <a:srgbClr val="61C0BA"/>
      </a:accent2>
      <a:accent3>
        <a:srgbClr val="BF59A6"/>
      </a:accent3>
      <a:accent4>
        <a:srgbClr val="F07169"/>
      </a:accent4>
      <a:accent5>
        <a:srgbClr val="8159A6"/>
      </a:accent5>
      <a:accent6>
        <a:srgbClr val="260936"/>
      </a:accent6>
      <a:hlink>
        <a:srgbClr val="46B3AD"/>
      </a:hlink>
      <a:folHlink>
        <a:srgbClr val="46B3A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nalysis_Report BRAND_V1" id="{98FB814E-43A5-4C19-B5FB-C5EF1F5E2CB7}" vid="{18783A5F-A54E-443C-A024-899F09255CFA}"/>
    </a:ext>
  </a:extLst>
</a:theme>
</file>

<file path=ppt/theme/theme7.xml><?xml version="1.0" encoding="utf-8"?>
<a:theme xmlns:a="http://schemas.openxmlformats.org/drawingml/2006/main" name="8_Insight Master">
  <a:themeElements>
    <a:clrScheme name="Brand Template">
      <a:dk1>
        <a:srgbClr val="000E24"/>
      </a:dk1>
      <a:lt1>
        <a:srgbClr val="FFFFFF"/>
      </a:lt1>
      <a:dk2>
        <a:srgbClr val="30A3FD"/>
      </a:dk2>
      <a:lt2>
        <a:srgbClr val="E8E8E8"/>
      </a:lt2>
      <a:accent1>
        <a:srgbClr val="18517F"/>
      </a:accent1>
      <a:accent2>
        <a:srgbClr val="61C0BA"/>
      </a:accent2>
      <a:accent3>
        <a:srgbClr val="BF59A6"/>
      </a:accent3>
      <a:accent4>
        <a:srgbClr val="F07169"/>
      </a:accent4>
      <a:accent5>
        <a:srgbClr val="8159A6"/>
      </a:accent5>
      <a:accent6>
        <a:srgbClr val="260936"/>
      </a:accent6>
      <a:hlink>
        <a:srgbClr val="46B3AD"/>
      </a:hlink>
      <a:folHlink>
        <a:srgbClr val="46B3A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nalysis_Report BRAND_V1" id="{98FB814E-43A5-4C19-B5FB-C5EF1F5E2CB7}" vid="{18783A5F-A54E-443C-A024-899F09255CFA}"/>
    </a:ext>
  </a:extLst>
</a:theme>
</file>

<file path=ppt/theme/theme8.xml><?xml version="1.0" encoding="utf-8"?>
<a:theme xmlns:a="http://schemas.openxmlformats.org/drawingml/2006/main" name="Dividers">
  <a:themeElements>
    <a:clrScheme name="Brand Template">
      <a:dk1>
        <a:srgbClr val="000E24"/>
      </a:dk1>
      <a:lt1>
        <a:srgbClr val="FFFFFF"/>
      </a:lt1>
      <a:dk2>
        <a:srgbClr val="30A3FD"/>
      </a:dk2>
      <a:lt2>
        <a:srgbClr val="E8E8E8"/>
      </a:lt2>
      <a:accent1>
        <a:srgbClr val="18517F"/>
      </a:accent1>
      <a:accent2>
        <a:srgbClr val="61C0BA"/>
      </a:accent2>
      <a:accent3>
        <a:srgbClr val="BF59A6"/>
      </a:accent3>
      <a:accent4>
        <a:srgbClr val="F07169"/>
      </a:accent4>
      <a:accent5>
        <a:srgbClr val="8159A6"/>
      </a:accent5>
      <a:accent6>
        <a:srgbClr val="260936"/>
      </a:accent6>
      <a:hlink>
        <a:srgbClr val="46B3AD"/>
      </a:hlink>
      <a:folHlink>
        <a:srgbClr val="46B3A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1" id="{91DD073D-070D-47E8-B573-04D0918518FA}" vid="{568BB948-701E-44DA-970B-9BEE066A97BD}"/>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RU NEW COLOUR THEME">
    <a:dk1>
      <a:srgbClr val="4B4B4B"/>
    </a:dk1>
    <a:lt1>
      <a:sysClr val="window" lastClr="FFFFFF"/>
    </a:lt1>
    <a:dk2>
      <a:srgbClr val="323232"/>
    </a:dk2>
    <a:lt2>
      <a:srgbClr val="A9A9A9"/>
    </a:lt2>
    <a:accent1>
      <a:srgbClr val="201747"/>
    </a:accent1>
    <a:accent2>
      <a:srgbClr val="00519E"/>
    </a:accent2>
    <a:accent3>
      <a:srgbClr val="009BDC"/>
    </a:accent3>
    <a:accent4>
      <a:srgbClr val="48A9C5"/>
    </a:accent4>
    <a:accent5>
      <a:srgbClr val="509098"/>
    </a:accent5>
    <a:accent6>
      <a:srgbClr val="D6A716"/>
    </a:accent6>
    <a:hlink>
      <a:srgbClr val="00519E"/>
    </a:hlink>
    <a:folHlink>
      <a:srgbClr val="009BD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RU NEW COLOUR THEME">
    <a:dk1>
      <a:srgbClr val="4B4B4B"/>
    </a:dk1>
    <a:lt1>
      <a:sysClr val="window" lastClr="FFFFFF"/>
    </a:lt1>
    <a:dk2>
      <a:srgbClr val="323232"/>
    </a:dk2>
    <a:lt2>
      <a:srgbClr val="A9A9A9"/>
    </a:lt2>
    <a:accent1>
      <a:srgbClr val="201747"/>
    </a:accent1>
    <a:accent2>
      <a:srgbClr val="00519E"/>
    </a:accent2>
    <a:accent3>
      <a:srgbClr val="009BDC"/>
    </a:accent3>
    <a:accent4>
      <a:srgbClr val="48A9C5"/>
    </a:accent4>
    <a:accent5>
      <a:srgbClr val="509098"/>
    </a:accent5>
    <a:accent6>
      <a:srgbClr val="D6A716"/>
    </a:accent6>
    <a:hlink>
      <a:srgbClr val="00519E"/>
    </a:hlink>
    <a:folHlink>
      <a:srgbClr val="009BD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CRU NEW COLOUR THEME">
    <a:dk1>
      <a:srgbClr val="4B4B4B"/>
    </a:dk1>
    <a:lt1>
      <a:sysClr val="window" lastClr="FFFFFF"/>
    </a:lt1>
    <a:dk2>
      <a:srgbClr val="323232"/>
    </a:dk2>
    <a:lt2>
      <a:srgbClr val="A9A9A9"/>
    </a:lt2>
    <a:accent1>
      <a:srgbClr val="201747"/>
    </a:accent1>
    <a:accent2>
      <a:srgbClr val="00519E"/>
    </a:accent2>
    <a:accent3>
      <a:srgbClr val="009BDC"/>
    </a:accent3>
    <a:accent4>
      <a:srgbClr val="48A9C5"/>
    </a:accent4>
    <a:accent5>
      <a:srgbClr val="509098"/>
    </a:accent5>
    <a:accent6>
      <a:srgbClr val="D6A716"/>
    </a:accent6>
    <a:hlink>
      <a:srgbClr val="00519E"/>
    </a:hlink>
    <a:folHlink>
      <a:srgbClr val="009BD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CRU NEW COLOUR THEME">
    <a:dk1>
      <a:srgbClr val="4B4B4B"/>
    </a:dk1>
    <a:lt1>
      <a:sysClr val="window" lastClr="FFFFFF"/>
    </a:lt1>
    <a:dk2>
      <a:srgbClr val="323232"/>
    </a:dk2>
    <a:lt2>
      <a:srgbClr val="A9A9A9"/>
    </a:lt2>
    <a:accent1>
      <a:srgbClr val="201747"/>
    </a:accent1>
    <a:accent2>
      <a:srgbClr val="00519E"/>
    </a:accent2>
    <a:accent3>
      <a:srgbClr val="009BDC"/>
    </a:accent3>
    <a:accent4>
      <a:srgbClr val="48A9C5"/>
    </a:accent4>
    <a:accent5>
      <a:srgbClr val="509098"/>
    </a:accent5>
    <a:accent6>
      <a:srgbClr val="D6A716"/>
    </a:accent6>
    <a:hlink>
      <a:srgbClr val="00519E"/>
    </a:hlink>
    <a:folHlink>
      <a:srgbClr val="009BDC"/>
    </a:folHlink>
  </a:clrScheme>
  <a:fontScheme name="CRU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CRU NEW COLOUR THEME">
    <a:dk1>
      <a:srgbClr val="4B4B4B"/>
    </a:dk1>
    <a:lt1>
      <a:sysClr val="window" lastClr="FFFFFF"/>
    </a:lt1>
    <a:dk2>
      <a:srgbClr val="323232"/>
    </a:dk2>
    <a:lt2>
      <a:srgbClr val="A9A9A9"/>
    </a:lt2>
    <a:accent1>
      <a:srgbClr val="201747"/>
    </a:accent1>
    <a:accent2>
      <a:srgbClr val="00519E"/>
    </a:accent2>
    <a:accent3>
      <a:srgbClr val="009BDC"/>
    </a:accent3>
    <a:accent4>
      <a:srgbClr val="48A9C5"/>
    </a:accent4>
    <a:accent5>
      <a:srgbClr val="509098"/>
    </a:accent5>
    <a:accent6>
      <a:srgbClr val="D6A716"/>
    </a:accent6>
    <a:hlink>
      <a:srgbClr val="00519E"/>
    </a:hlink>
    <a:folHlink>
      <a:srgbClr val="009BD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CRU NEW COLOUR THEME">
    <a:dk1>
      <a:srgbClr val="4B4B4B"/>
    </a:dk1>
    <a:lt1>
      <a:sysClr val="window" lastClr="FFFFFF"/>
    </a:lt1>
    <a:dk2>
      <a:srgbClr val="323232"/>
    </a:dk2>
    <a:lt2>
      <a:srgbClr val="A9A9A9"/>
    </a:lt2>
    <a:accent1>
      <a:srgbClr val="201747"/>
    </a:accent1>
    <a:accent2>
      <a:srgbClr val="00519E"/>
    </a:accent2>
    <a:accent3>
      <a:srgbClr val="009BDC"/>
    </a:accent3>
    <a:accent4>
      <a:srgbClr val="48A9C5"/>
    </a:accent4>
    <a:accent5>
      <a:srgbClr val="509098"/>
    </a:accent5>
    <a:accent6>
      <a:srgbClr val="D6A716"/>
    </a:accent6>
    <a:hlink>
      <a:srgbClr val="00519E"/>
    </a:hlink>
    <a:folHlink>
      <a:srgbClr val="009BD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CRU NEW COLOUR THEME">
    <a:dk1>
      <a:srgbClr val="4B4B4B"/>
    </a:dk1>
    <a:lt1>
      <a:sysClr val="window" lastClr="FFFFFF"/>
    </a:lt1>
    <a:dk2>
      <a:srgbClr val="323232"/>
    </a:dk2>
    <a:lt2>
      <a:srgbClr val="A9A9A9"/>
    </a:lt2>
    <a:accent1>
      <a:srgbClr val="201747"/>
    </a:accent1>
    <a:accent2>
      <a:srgbClr val="00519E"/>
    </a:accent2>
    <a:accent3>
      <a:srgbClr val="009BDC"/>
    </a:accent3>
    <a:accent4>
      <a:srgbClr val="48A9C5"/>
    </a:accent4>
    <a:accent5>
      <a:srgbClr val="509098"/>
    </a:accent5>
    <a:accent6>
      <a:srgbClr val="D6A716"/>
    </a:accent6>
    <a:hlink>
      <a:srgbClr val="00519E"/>
    </a:hlink>
    <a:folHlink>
      <a:srgbClr val="009BD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Brand Template">
    <a:dk1>
      <a:srgbClr val="000E24"/>
    </a:dk1>
    <a:lt1>
      <a:srgbClr val="FFFFFF"/>
    </a:lt1>
    <a:dk2>
      <a:srgbClr val="30A3FD"/>
    </a:dk2>
    <a:lt2>
      <a:srgbClr val="E8E8E8"/>
    </a:lt2>
    <a:accent1>
      <a:srgbClr val="18517F"/>
    </a:accent1>
    <a:accent2>
      <a:srgbClr val="61C0BA"/>
    </a:accent2>
    <a:accent3>
      <a:srgbClr val="BF59A6"/>
    </a:accent3>
    <a:accent4>
      <a:srgbClr val="F07169"/>
    </a:accent4>
    <a:accent5>
      <a:srgbClr val="8159A6"/>
    </a:accent5>
    <a:accent6>
      <a:srgbClr val="260936"/>
    </a:accent6>
    <a:hlink>
      <a:srgbClr val="46B3AD"/>
    </a:hlink>
    <a:folHlink>
      <a:srgbClr val="46B3AD"/>
    </a:folHlink>
  </a:clrScheme>
  <a:fontScheme name="CRU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CRU NEW COLOUR THEME">
    <a:dk1>
      <a:srgbClr val="4B4B4B"/>
    </a:dk1>
    <a:lt1>
      <a:sysClr val="window" lastClr="FFFFFF"/>
    </a:lt1>
    <a:dk2>
      <a:srgbClr val="323232"/>
    </a:dk2>
    <a:lt2>
      <a:srgbClr val="A9A9A9"/>
    </a:lt2>
    <a:accent1>
      <a:srgbClr val="201747"/>
    </a:accent1>
    <a:accent2>
      <a:srgbClr val="00519E"/>
    </a:accent2>
    <a:accent3>
      <a:srgbClr val="009BDC"/>
    </a:accent3>
    <a:accent4>
      <a:srgbClr val="48A9C5"/>
    </a:accent4>
    <a:accent5>
      <a:srgbClr val="509098"/>
    </a:accent5>
    <a:accent6>
      <a:srgbClr val="D6A716"/>
    </a:accent6>
    <a:hlink>
      <a:srgbClr val="00519E"/>
    </a:hlink>
    <a:folHlink>
      <a:srgbClr val="009BD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ontributors xmlns="4cf6b5f1-3910-4168-8d7b-dcfbd8882c15">
      <UserInfo>
        <DisplayName>Cameron Hughes</DisplayName>
        <AccountId>1593</AccountId>
        <AccountType/>
      </UserInfo>
      <UserInfo>
        <DisplayName>Xiaowei Mei</DisplayName>
        <AccountId>1752</AccountId>
        <AccountType/>
      </UserInfo>
      <UserInfo>
        <DisplayName>Sam Adham</DisplayName>
        <AccountId>1241</AccountId>
        <AccountType/>
      </UserInfo>
      <UserInfo>
        <DisplayName>Ruiming Zhang</DisplayName>
        <AccountId>680</AccountId>
        <AccountType/>
      </UserInfo>
      <UserInfo>
        <DisplayName>Linda Zhang</DisplayName>
        <AccountId>1698</AccountId>
        <AccountType/>
      </UserInfo>
      <UserInfo>
        <DisplayName>Thomas Matthews</DisplayName>
        <AccountId>1541</AccountId>
        <AccountType/>
      </UserInfo>
      <UserInfo>
        <DisplayName>David Leah</DisplayName>
        <AccountId>2065</AccountId>
        <AccountType/>
      </UserInfo>
    </Contributors>
    <Deadline xmlns="4cf6b5f1-3910-4168-8d7b-dcfbd8882c15">2025-08-27T23:00:00+00:00</Deadline>
    <Approver xmlns="4cf6b5f1-3910-4168-8d7b-dcfbd8882c15">
      <UserInfo>
        <DisplayName>Martin Jackson</DisplayName>
        <AccountId>187</AccountId>
        <AccountType/>
      </UserInfo>
    </Approver>
    <PricesChecked xmlns="4cf6b5f1-3910-4168-8d7b-dcfbd8882c15" xsi:nil="true"/>
    <TaxCatchAll xmlns="484c8c59-755d-4516-b8d2-1621b38262b4" xsi:nil="true"/>
    <Status xmlns="4cf6b5f1-3910-4168-8d7b-dcfbd8882c15">For publication</Status>
    <Editor0 xmlns="4cf6b5f1-3910-4168-8d7b-dcfbd8882c15">
      <UserInfo>
        <DisplayName>Martin Jackson</DisplayName>
        <AccountId>187</AccountId>
        <AccountType/>
      </UserInfo>
    </Editor0>
    <lcf76f155ced4ddcb4097134ff3c332f xmlns="4cf6b5f1-3910-4168-8d7b-dcfbd8882c15">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806159409A3CA49878B20BAD2DB2BDC" ma:contentTypeVersion="28" ma:contentTypeDescription="Create a new document." ma:contentTypeScope="" ma:versionID="bb29018ca116db458deb2da5cd2a5c7b">
  <xsd:schema xmlns:xsd="http://www.w3.org/2001/XMLSchema" xmlns:xs="http://www.w3.org/2001/XMLSchema" xmlns:p="http://schemas.microsoft.com/office/2006/metadata/properties" xmlns:ns2="4cf6b5f1-3910-4168-8d7b-dcfbd8882c15" xmlns:ns3="7a0f724a-9d58-4b9f-a63b-14a2f05f5890" xmlns:ns4="484c8c59-755d-4516-b8d2-1621b38262b4" targetNamespace="http://schemas.microsoft.com/office/2006/metadata/properties" ma:root="true" ma:fieldsID="d74e1d9154a6d6564033503f0cb3fc43" ns2:_="" ns3:_="" ns4:_="">
    <xsd:import namespace="4cf6b5f1-3910-4168-8d7b-dcfbd8882c15"/>
    <xsd:import namespace="7a0f724a-9d58-4b9f-a63b-14a2f05f5890"/>
    <xsd:import namespace="484c8c59-755d-4516-b8d2-1621b38262b4"/>
    <xsd:element name="properties">
      <xsd:complexType>
        <xsd:sequence>
          <xsd:element name="documentManagement">
            <xsd:complexType>
              <xsd:all>
                <xsd:element ref="ns2:Contributors" minOccurs="0"/>
                <xsd:element ref="ns2:Editor0" minOccurs="0"/>
                <xsd:element ref="ns2:Approver" minOccurs="0"/>
                <xsd:element ref="ns2:Deadline" minOccurs="0"/>
                <xsd:element ref="ns2:Status" minOccurs="0"/>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OCR" minOccurs="0"/>
                <xsd:element ref="ns2:MediaServiceGenerationTime" minOccurs="0"/>
                <xsd:element ref="ns2:MediaServiceEventHashCode" minOccurs="0"/>
                <xsd:element ref="ns2:lcf76f155ced4ddcb4097134ff3c332f" minOccurs="0"/>
                <xsd:element ref="ns4:TaxCatchAll" minOccurs="0"/>
                <xsd:element ref="ns2:MediaServiceObjectDetectorVersions" minOccurs="0"/>
                <xsd:element ref="ns2:MediaLengthInSeconds" minOccurs="0"/>
                <xsd:element ref="ns2:MediaServiceDateTaken" minOccurs="0"/>
                <xsd:element ref="ns2:MediaServiceLocation" minOccurs="0"/>
                <xsd:element ref="ns2:MediaServiceSearchProperties" minOccurs="0"/>
                <xsd:element ref="ns2:PricesChecked"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cf6b5f1-3910-4168-8d7b-dcfbd8882c15" elementFormDefault="qualified">
    <xsd:import namespace="http://schemas.microsoft.com/office/2006/documentManagement/types"/>
    <xsd:import namespace="http://schemas.microsoft.com/office/infopath/2007/PartnerControls"/>
    <xsd:element name="Contributors" ma:index="2" nillable="true" ma:displayName="Contributors" ma:format="Dropdown" ma:list="UserInfo" ma:SharePointGroup="0" ma:internalName="Contributors" ma:readOnly="fals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ditor0" ma:index="3" nillable="true" ma:displayName="Editor" ma:format="Dropdown" ma:list="UserInfo" ma:SharePointGroup="0" ma:internalName="Editor0" ma:readOnly="fals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pprover" ma:index="4" nillable="true" ma:displayName="Approver" ma:format="Dropdown" ma:list="UserInfo" ma:SharePointGroup="0" ma:internalName="Approver" ma:readOnly="fals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Deadline" ma:index="5" nillable="true" ma:displayName="Deadline" ma:format="DateOnly" ma:internalName="Deadline" ma:readOnly="false">
      <xsd:simpleType>
        <xsd:restriction base="dms:DateTime"/>
      </xsd:simpleType>
    </xsd:element>
    <xsd:element name="Status" ma:index="6" nillable="true" ma:displayName="Status" ma:default="n/a" ma:format="Dropdown" ma:internalName="Status">
      <xsd:simpleType>
        <xsd:restriction base="dms:Choice">
          <xsd:enumeration value="In progress"/>
          <xsd:enumeration value="For sign-off"/>
          <xsd:enumeration value="For publication"/>
          <xsd:enumeration value="Published"/>
          <xsd:enumeration value="n/a"/>
        </xsd:restriction>
      </xsd:simpleType>
    </xsd:element>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hidden="true" ma:internalName="MediaServiceKeyPoints" ma:readOnly="true">
      <xsd:simpleType>
        <xsd:restriction base="dms:Note"/>
      </xsd:simpleType>
    </xsd:element>
    <xsd:element name="MediaServiceOCR" ma:index="14" nillable="true" ma:displayName="Extracted Text" ma:hidden="true" ma:internalName="MediaServiceOCR" ma:readOnly="true">
      <xsd:simpleType>
        <xsd:restriction base="dms:Note"/>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c9d45c8e-e82f-499a-a1f9-5295c84ee25c"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DateTaken" ma:index="22" nillable="true" ma:displayName="MediaServiceDateTaken" ma:hidden="true" ma:indexed="true" ma:internalName="MediaServiceDateTaken" ma:readOnly="true">
      <xsd:simpleType>
        <xsd:restriction base="dms:Text"/>
      </xsd:simpleType>
    </xsd:element>
    <xsd:element name="MediaServiceLocation" ma:index="23" nillable="true" ma:displayName="Location" ma:hidden="true" ma:indexed="true" ma:internalName="MediaServiceLocation" ma:readOnly="true">
      <xsd:simpleType>
        <xsd:restriction base="dms:Text"/>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PricesChecked" ma:index="30" nillable="true" ma:displayName="Have you checked your prices in CRU Online?" ma:format="Dropdown" ma:internalName="PricesChecked">
      <xsd:simpleType>
        <xsd:restriction base="dms:Choice">
          <xsd:enumeration value="Yes"/>
          <xsd:enumeration value="No"/>
        </xsd:restriction>
      </xsd:simpleType>
    </xsd:element>
    <xsd:element name="MediaServiceBillingMetadata" ma:index="3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a0f724a-9d58-4b9f-a63b-14a2f05f5890" elementFormDefault="qualified">
    <xsd:import namespace="http://schemas.microsoft.com/office/2006/documentManagement/types"/>
    <xsd:import namespace="http://schemas.microsoft.com/office/infopath/2007/PartnerControls"/>
    <xsd:element name="SharedWithUsers" ma:index="12"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hidden="true" ma:internalName="SharedWithDetail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4c8c59-755d-4516-b8d2-1621b38262b4"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03fd87ff-5354-4d45-9f07-d014f7681125}" ma:internalName="TaxCatchAll" ma:readOnly="false" ma:showField="CatchAllData" ma:web="7a0f724a-9d58-4b9f-a63b-14a2f05f589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DE018E1-21E4-4E42-8E28-619D556ACECE}">
  <ds:schemaRefs>
    <ds:schemaRef ds:uri="484c8c59-755d-4516-b8d2-1621b38262b4"/>
    <ds:schemaRef ds:uri="4cf6b5f1-3910-4168-8d7b-dcfbd8882c15"/>
    <ds:schemaRef ds:uri="7a0f724a-9d58-4b9f-a63b-14a2f05f589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CAB3C679-CD49-4439-BE09-CAEC3CF7A1FC}">
  <ds:schemaRefs>
    <ds:schemaRef ds:uri="http://schemas.microsoft.com/sharepoint/v3/contenttype/forms"/>
  </ds:schemaRefs>
</ds:datastoreItem>
</file>

<file path=customXml/itemProps3.xml><?xml version="1.0" encoding="utf-8"?>
<ds:datastoreItem xmlns:ds="http://schemas.openxmlformats.org/officeDocument/2006/customXml" ds:itemID="{69496B54-4878-4C81-B607-1F49BF4A817C}">
  <ds:schemaRefs>
    <ds:schemaRef ds:uri="484c8c59-755d-4516-b8d2-1621b38262b4"/>
    <ds:schemaRef ds:uri="4cf6b5f1-3910-4168-8d7b-dcfbd8882c15"/>
    <ds:schemaRef ds:uri="7a0f724a-9d58-4b9f-a63b-14a2f05f589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Analysis_Report BRAND_V1 (1)</Template>
  <TotalTime>0</TotalTime>
  <Words>3391</Words>
  <Application>Microsoft Office PowerPoint</Application>
  <PresentationFormat>Widescreen</PresentationFormat>
  <Paragraphs>184</Paragraphs>
  <Slides>11</Slides>
  <Notes>9</Notes>
  <HiddenSlides>0</HiddenSlides>
  <MMClips>0</MMClips>
  <ScaleCrop>false</ScaleCrop>
  <HeadingPairs>
    <vt:vector size="8" baseType="variant">
      <vt:variant>
        <vt:lpstr>Fonts Used</vt:lpstr>
      </vt:variant>
      <vt:variant>
        <vt:i4>12</vt:i4>
      </vt:variant>
      <vt:variant>
        <vt:lpstr>Theme</vt:lpstr>
      </vt:variant>
      <vt:variant>
        <vt:i4>8</vt:i4>
      </vt:variant>
      <vt:variant>
        <vt:lpstr>Embedded OLE Servers</vt:lpstr>
      </vt:variant>
      <vt:variant>
        <vt:i4>1</vt:i4>
      </vt:variant>
      <vt:variant>
        <vt:lpstr>Slide Titles</vt:lpstr>
      </vt:variant>
      <vt:variant>
        <vt:i4>11</vt:i4>
      </vt:variant>
    </vt:vector>
  </HeadingPairs>
  <TitlesOfParts>
    <vt:vector size="32" baseType="lpstr">
      <vt:lpstr>Adobe Garamond Pro Bold</vt:lpstr>
      <vt:lpstr>Aptos</vt:lpstr>
      <vt:lpstr>Arial</vt:lpstr>
      <vt:lpstr>Calibri</vt:lpstr>
      <vt:lpstr>Courier New</vt:lpstr>
      <vt:lpstr>DengXian</vt:lpstr>
      <vt:lpstr>Garamond</vt:lpstr>
      <vt:lpstr>Helvetica Neue</vt:lpstr>
      <vt:lpstr>Helvetica Neue Thin</vt:lpstr>
      <vt:lpstr>Helvetica Neue UltraLight</vt:lpstr>
      <vt:lpstr>Times New Roman</vt:lpstr>
      <vt:lpstr>Wingdings</vt:lpstr>
      <vt:lpstr>1_Insight Master CRU Dark</vt:lpstr>
      <vt:lpstr>2_Insight Master</vt:lpstr>
      <vt:lpstr>3_Insight Master</vt:lpstr>
      <vt:lpstr>1_Insight Master</vt:lpstr>
      <vt:lpstr>7_Insight Master</vt:lpstr>
      <vt:lpstr>12_Insight Master</vt:lpstr>
      <vt:lpstr>8_Insight Master</vt:lpstr>
      <vt:lpstr>Dividers</vt:lpstr>
      <vt:lpstr>think-cell Slide</vt:lpstr>
      <vt:lpstr>PowerPoint Presentation</vt:lpstr>
      <vt:lpstr> CRU Legal Notice</vt:lpstr>
      <vt:lpstr>PowerPoint Presentation</vt:lpstr>
      <vt:lpstr>CRU’s Battery Services network map</vt:lpstr>
      <vt:lpstr>Co: Slump to spike in 2025</vt:lpstr>
      <vt:lpstr>Co: Quotas to effectively halve DRC supply</vt:lpstr>
      <vt:lpstr>Co: Stopgap or structural shift?</vt:lpstr>
      <vt:lpstr>Co: Supply and demand to nudge lower</vt:lpstr>
      <vt:lpstr>Li: Policy driven price spike</vt:lpstr>
      <vt:lpstr>Li: Stopgap or structural shift?</vt:lpstr>
      <vt:lpstr>LFP webina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tin.jackson@crugroup.com;Cameron.Hughes@crugroup.com</dc:creator>
  <cp:keywords>CRU</cp:keywords>
  <cp:lastModifiedBy>eusvcs_pdf</cp:lastModifiedBy>
  <cp:revision>1</cp:revision>
  <dcterms:created xsi:type="dcterms:W3CDTF">2024-07-22T09:21:57Z</dcterms:created>
  <dcterms:modified xsi:type="dcterms:W3CDTF">2025-10-08T16:46: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806159409A3CA49878B20BAD2DB2BDC</vt:lpwstr>
  </property>
  <property fmtid="{D5CDD505-2E9C-101B-9397-08002B2CF9AE}" pid="3" name="MediaServiceImageTags">
    <vt:lpwstr/>
  </property>
  <property fmtid="{D5CDD505-2E9C-101B-9397-08002B2CF9AE}" pid="4" name="ClassificationContentMarkingFooterText">
    <vt:lpwstr>THIS DOCUMENT IS CONFIDENTIAL TO CRU</vt:lpwstr>
  </property>
  <property fmtid="{D5CDD505-2E9C-101B-9397-08002B2CF9AE}" pid="5" name="ClassificationContentMarkingFooterLocations">
    <vt:lpwstr>2_Presentation1:61\Info (not content):8</vt:lpwstr>
  </property>
  <property fmtid="{D5CDD505-2E9C-101B-9397-08002B2CF9AE}" pid="6" name="MSIP_Label_2ba2672d-0f89-4131-a832-81ec170e1d4b_Enabled">
    <vt:lpwstr>true</vt:lpwstr>
  </property>
  <property fmtid="{D5CDD505-2E9C-101B-9397-08002B2CF9AE}" pid="7" name="MSIP_Label_2ba2672d-0f89-4131-a832-81ec170e1d4b_SetDate">
    <vt:lpwstr>2024-05-16T10:32:19Z</vt:lpwstr>
  </property>
  <property fmtid="{D5CDD505-2E9C-101B-9397-08002B2CF9AE}" pid="8" name="MSIP_Label_2ba2672d-0f89-4131-a832-81ec170e1d4b_Method">
    <vt:lpwstr>Privileged</vt:lpwstr>
  </property>
  <property fmtid="{D5CDD505-2E9C-101B-9397-08002B2CF9AE}" pid="9" name="MSIP_Label_2ba2672d-0f89-4131-a832-81ec170e1d4b_Name">
    <vt:lpwstr>Non-Confidential</vt:lpwstr>
  </property>
  <property fmtid="{D5CDD505-2E9C-101B-9397-08002B2CF9AE}" pid="10" name="MSIP_Label_2ba2672d-0f89-4131-a832-81ec170e1d4b_SiteId">
    <vt:lpwstr>65358cd9-f346-46b5-a443-b729819852c5</vt:lpwstr>
  </property>
  <property fmtid="{D5CDD505-2E9C-101B-9397-08002B2CF9AE}" pid="11" name="MSIP_Label_2ba2672d-0f89-4131-a832-81ec170e1d4b_ActionId">
    <vt:lpwstr>0b4690a5-721c-4833-8ea0-83a0baee94e8</vt:lpwstr>
  </property>
  <property fmtid="{D5CDD505-2E9C-101B-9397-08002B2CF9AE}" pid="12" name="MSIP_Label_2ba2672d-0f89-4131-a832-81ec170e1d4b_ContentBits">
    <vt:lpwstr>0</vt:lpwstr>
  </property>
</Properties>
</file>